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4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2" r:id="rId3"/>
    <p:sldMasterId id="2147483731" r:id="rId4"/>
    <p:sldMasterId id="2147483752" r:id="rId5"/>
  </p:sldMasterIdLst>
  <p:notesMasterIdLst>
    <p:notesMasterId r:id="rId25"/>
  </p:notesMasterIdLst>
  <p:sldIdLst>
    <p:sldId id="258" r:id="rId6"/>
    <p:sldId id="259" r:id="rId7"/>
    <p:sldId id="3818" r:id="rId8"/>
    <p:sldId id="257" r:id="rId9"/>
    <p:sldId id="262" r:id="rId10"/>
    <p:sldId id="2035" r:id="rId11"/>
    <p:sldId id="2036" r:id="rId12"/>
    <p:sldId id="3821" r:id="rId13"/>
    <p:sldId id="273" r:id="rId14"/>
    <p:sldId id="2037" r:id="rId15"/>
    <p:sldId id="2040" r:id="rId16"/>
    <p:sldId id="2039" r:id="rId17"/>
    <p:sldId id="3822" r:id="rId18"/>
    <p:sldId id="3816" r:id="rId19"/>
    <p:sldId id="2041" r:id="rId20"/>
    <p:sldId id="3820" r:id="rId21"/>
    <p:sldId id="280" r:id="rId22"/>
    <p:sldId id="3817" r:id="rId23"/>
    <p:sldId id="3819" r:id="rId2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A000B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中度样式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浅色样式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中度样式 1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8034E78-7F5D-4C2E-B375-FC64B27BC917}" styleName="深色样式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24" autoAdjust="0"/>
    <p:restoredTop sz="86002" autoAdjust="0"/>
  </p:normalViewPr>
  <p:slideViewPr>
    <p:cSldViewPr snapToGrid="0">
      <p:cViewPr varScale="1">
        <p:scale>
          <a:sx n="79" d="100"/>
          <a:sy n="79" d="100"/>
        </p:scale>
        <p:origin x="656" y="-2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952253-8A9D-4609-BED8-86638F6246C6}" type="datetimeFigureOut">
              <a:rPr lang="zh-CN" altLang="en-US" smtClean="0"/>
              <a:t>2025/3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180CAA-8DF7-4CAC-9055-B867D9CAD4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475530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180CAA-8DF7-4CAC-9055-B867D9CAD4C2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757026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A129AA-E941-42EB-9813-BC9209FD7C2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98025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b="0" i="0" dirty="0">
                <a:solidFill>
                  <a:srgbClr val="2B2B2B"/>
                </a:solidFill>
                <a:effectLst/>
                <a:latin typeface="PingFang SC"/>
              </a:rPr>
              <a:t>“鉴往事，知来者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180CAA-8DF7-4CAC-9055-B867D9CAD4C2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33124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180CAA-8DF7-4CAC-9055-B867D9CAD4C2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436075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A129AA-E941-42EB-9813-BC9209FD7C2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34278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A129AA-E941-42EB-9813-BC9209FD7C2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46563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兵民是胜利之本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180CAA-8DF7-4CAC-9055-B867D9CAD4C2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02958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180CAA-8DF7-4CAC-9055-B867D9CAD4C2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651815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0" i="0" dirty="0">
                <a:solidFill>
                  <a:srgbClr val="111111"/>
                </a:solidFill>
                <a:effectLst/>
                <a:latin typeface="Arial" panose="020B0604020202020204" pitchFamily="34" charset="0"/>
              </a:rPr>
              <a:t>促蒋介石坚持抗战并使中国在亚洲战场上发挥更大作用</a:t>
            </a:r>
            <a:endParaRPr lang="zh-CN" altLang="en-US" dirty="0"/>
          </a:p>
          <a:p>
            <a:r>
              <a:rPr lang="zh-CN" altLang="en-US" b="0" i="0" dirty="0">
                <a:solidFill>
                  <a:srgbClr val="18191C"/>
                </a:solidFill>
                <a:effectLst/>
                <a:latin typeface="PingFang SC"/>
              </a:rPr>
              <a:t>这也是自</a:t>
            </a:r>
            <a:r>
              <a:rPr lang="en-US" altLang="zh-CN" b="0" i="0" dirty="0">
                <a:solidFill>
                  <a:srgbClr val="18191C"/>
                </a:solidFill>
                <a:effectLst/>
                <a:latin typeface="PingFang SC"/>
              </a:rPr>
              <a:t>1931</a:t>
            </a:r>
            <a:r>
              <a:rPr lang="zh-CN" altLang="en-US" b="0" i="0" dirty="0">
                <a:solidFill>
                  <a:srgbClr val="18191C"/>
                </a:solidFill>
                <a:effectLst/>
                <a:latin typeface="PingFang SC"/>
              </a:rPr>
              <a:t>年中国人民率先举起世界反法西斯侵略义旗后，中国首次以大国身份参与签署的有关国际事务的重要文件，它初步确立了中国在国际社会中的重要地位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180CAA-8DF7-4CAC-9055-B867D9CAD4C2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753522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645501-B55E-FCEC-9305-9E3EE7B35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ED964E76-D50F-8520-D7C0-32BB555CA4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7F9476FF-52B1-26DD-872B-F317C20B2A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b="0" i="0" dirty="0">
                <a:solidFill>
                  <a:srgbClr val="18191C"/>
                </a:solidFill>
                <a:effectLst/>
                <a:latin typeface="PingFang SC"/>
              </a:rPr>
              <a:t>这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F5C18A1-FF05-F07B-73C4-6BBCF3F55E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180CAA-8DF7-4CAC-9055-B867D9CAD4C2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43009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180CAA-8DF7-4CAC-9055-B867D9CAD4C2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003868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国民党的片面抗战路线，并非单纯军事策略失误，而是其阶级属性的必然产物。代表大地主大资产阶级的国民党，害怕民众动员威胁其统治基础，宁可依赖政府军队打 “正规战”，也不愿发动群众。这种路线导致正面战场虽浴血奋战（如淞沪、台儿庄），却因缺乏民众支持而屡战屡败（如豫湘桂大溃败）。正如 </a:t>
            </a:r>
            <a:r>
              <a:rPr lang="en-US" altLang="zh-CN" dirty="0"/>
              <a:t>1938 </a:t>
            </a:r>
            <a:r>
              <a:rPr lang="zh-CN" altLang="en-US" dirty="0"/>
              <a:t>年</a:t>
            </a:r>
            <a:r>
              <a:rPr lang="en-US" altLang="zh-CN" dirty="0"/>
              <a:t>《</a:t>
            </a:r>
            <a:r>
              <a:rPr lang="zh-CN" altLang="en-US" dirty="0"/>
              <a:t>大公报</a:t>
            </a:r>
            <a:r>
              <a:rPr lang="en-US" altLang="zh-CN" dirty="0"/>
              <a:t>》</a:t>
            </a:r>
            <a:r>
              <a:rPr lang="zh-CN" altLang="en-US" dirty="0"/>
              <a:t>社论所言：“没有民众的军队，终究是沙滩上的堡垒”（</a:t>
            </a:r>
            <a:r>
              <a:rPr lang="en-US" altLang="zh-CN" dirty="0"/>
              <a:t>《</a:t>
            </a:r>
            <a:r>
              <a:rPr lang="zh-CN" altLang="en-US" dirty="0"/>
              <a:t>大公报</a:t>
            </a:r>
            <a:r>
              <a:rPr lang="en-US" altLang="zh-CN" dirty="0"/>
              <a:t>》1938 </a:t>
            </a:r>
            <a:r>
              <a:rPr lang="zh-CN" altLang="en-US" dirty="0"/>
              <a:t>年 </a:t>
            </a:r>
            <a:r>
              <a:rPr lang="en-US" altLang="zh-CN" dirty="0"/>
              <a:t>5 </a:t>
            </a:r>
            <a:r>
              <a:rPr lang="zh-CN" altLang="en-US" dirty="0"/>
              <a:t>月 </a:t>
            </a:r>
            <a:r>
              <a:rPr lang="en-US" altLang="zh-CN" dirty="0"/>
              <a:t>12 </a:t>
            </a:r>
            <a:r>
              <a:rPr lang="zh-CN" altLang="en-US" dirty="0"/>
              <a:t>日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180CAA-8DF7-4CAC-9055-B867D9CAD4C2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59613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6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svg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D39B0F-17EF-9F4A-F8CB-154DC0D6A4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30146A1B-E73E-A1D0-301A-D54608DC2FA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FBDCF46-BEDE-B93C-7137-9227972837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87C3D-0CD7-4DE8-8E20-3325E67BF882}" type="datetimeFigureOut">
              <a:rPr lang="zh-CN" altLang="en-US" smtClean="0"/>
              <a:t>2025/3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879C4A5-0A40-0002-D1EB-36D484F870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0428D61-1E53-9C69-F145-33F4541E3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6E31E1-2282-4FFC-841C-8BE00078B94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81980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2603B59-9108-E2D4-4E2F-2A0E35F10B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7C5EFF75-814B-B9DD-D1E5-A10D11EF4F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24C3DCB-658C-A6AA-C4E3-A62E80DDA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87C3D-0CD7-4DE8-8E20-3325E67BF882}" type="datetimeFigureOut">
              <a:rPr lang="zh-CN" altLang="en-US" smtClean="0"/>
              <a:t>2025/3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B3482AA-2E2A-2196-93F8-27AE7E3CD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72C1029-2493-CC71-4C7F-676B75A3E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6E31E1-2282-4FFC-841C-8BE00078B94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081356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00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213" y="5799727"/>
            <a:ext cx="2193276" cy="806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164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6094472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2974253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766637"/>
          </a:xfrm>
        </p:spPr>
        <p:txBody>
          <a:bodyPr>
            <a:spAutoFit/>
          </a:bodyPr>
          <a:lstStyle>
            <a:lvl1pPr>
              <a:defRPr sz="36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5358729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766637"/>
          </a:xfrm>
        </p:spPr>
        <p:txBody>
          <a:bodyPr>
            <a:spAutoFit/>
          </a:bodyPr>
          <a:lstStyle>
            <a:lvl1pPr>
              <a:defRPr sz="36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9428110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27209" indent="0">
              <a:buNone/>
              <a:tabLst/>
              <a:defRPr sz="2000"/>
            </a:lvl3pPr>
            <a:lvl4pPr marL="451306" indent="0">
              <a:buNone/>
              <a:defRPr sz="1800"/>
            </a:lvl4pPr>
            <a:lvl5pPr marL="672290" indent="0">
              <a:buNone/>
              <a:tabLst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27209" indent="0">
              <a:buNone/>
              <a:tabLst/>
              <a:defRPr sz="2000"/>
            </a:lvl3pPr>
            <a:lvl4pPr marL="451306" indent="0">
              <a:buNone/>
              <a:defRPr sz="1800"/>
            </a:lvl4pPr>
            <a:lvl5pPr marL="672290" indent="0">
              <a:buNone/>
              <a:tabLst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2820795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27209" indent="0">
              <a:buNone/>
              <a:tabLst/>
              <a:defRPr sz="2000"/>
            </a:lvl3pPr>
            <a:lvl4pPr marL="451306" indent="0">
              <a:buNone/>
              <a:defRPr sz="1800"/>
            </a:lvl4pPr>
            <a:lvl5pPr marL="672290" indent="0">
              <a:buNone/>
              <a:tabLst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27209" indent="0">
              <a:buNone/>
              <a:tabLst/>
              <a:defRPr sz="2000"/>
            </a:lvl3pPr>
            <a:lvl4pPr marL="451306" indent="0">
              <a:buNone/>
              <a:defRPr sz="1800"/>
            </a:lvl4pPr>
            <a:lvl5pPr marL="672290" indent="0">
              <a:buNone/>
              <a:tabLst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4645301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25279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400"/>
            </a:lvl2pPr>
            <a:lvl3pPr marL="685803" indent="-165101">
              <a:tabLst/>
              <a:defRPr sz="2000"/>
            </a:lvl3pPr>
            <a:lvl4pPr marL="863603" indent="-177801">
              <a:defRPr sz="1800"/>
            </a:lvl4pPr>
            <a:lvl5pPr marL="1028704" indent="-165101">
              <a:tabLst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25279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400"/>
            </a:lvl2pPr>
            <a:lvl3pPr marL="685803" indent="-165101">
              <a:tabLst/>
              <a:defRPr sz="2000"/>
            </a:lvl3pPr>
            <a:lvl4pPr marL="863603" indent="-177801">
              <a:defRPr sz="1800"/>
            </a:lvl4pPr>
            <a:lvl5pPr marL="1028704" indent="-165101">
              <a:tabLst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2346855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25279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20702" indent="-228601">
              <a:defRPr sz="2400"/>
            </a:lvl2pPr>
            <a:lvl3pPr marL="685803" indent="-165101">
              <a:tabLst/>
              <a:defRPr sz="2000"/>
            </a:lvl3pPr>
            <a:lvl4pPr marL="863603" indent="-177801">
              <a:defRPr sz="1800"/>
            </a:lvl4pPr>
            <a:lvl5pPr marL="1028704" indent="-165101">
              <a:tabLst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25279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20702" indent="-228601">
              <a:defRPr sz="2400"/>
            </a:lvl2pPr>
            <a:lvl3pPr marL="685803" indent="-165101">
              <a:tabLst/>
              <a:defRPr sz="2000"/>
            </a:lvl3pPr>
            <a:lvl4pPr marL="863603" indent="-177801">
              <a:defRPr sz="1800"/>
            </a:lvl4pPr>
            <a:lvl5pPr marL="1028704" indent="-165101">
              <a:tabLst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9468397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588799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089935DE-70E7-4888-0834-9EF8C619048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9D77C414-40C1-9081-E680-480A4B335E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1569F28-BCF5-5580-6202-EC84265B8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87C3D-0CD7-4DE8-8E20-3325E67BF882}" type="datetimeFigureOut">
              <a:rPr lang="zh-CN" altLang="en-US" smtClean="0"/>
              <a:t>2025/3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DFB4727-B61A-40B8-43E7-D7848C14C3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959B6C3-084C-3D0F-86F5-4986254818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6E31E1-2282-4FFC-841C-8BE00078B94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3443038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141106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MSIPCMba9a4355955522788914cc5d" descr="{&quot;HashCode&quot;:-1634785317,&quot;Placement&quot;:&quot;Footer&quot;,&quot;Top&quot;:530.093,&quot;Left&quot;:0.0,&quot;SlideWidth&quot;:979,&quot;SlideHeight&quot;:550}">
            <a:extLst>
              <a:ext uri="{FF2B5EF4-FFF2-40B4-BE49-F238E27FC236}">
                <a16:creationId xmlns:a16="http://schemas.microsoft.com/office/drawing/2014/main" id="{AF68C56F-5DF9-4AE4-B252-E7EBACEAF68B}"/>
              </a:ext>
            </a:extLst>
          </p:cNvPr>
          <p:cNvSpPr txBox="1"/>
          <p:nvPr userDrawn="1"/>
        </p:nvSpPr>
        <p:spPr>
          <a:xfrm>
            <a:off x="5054949" y="6640143"/>
            <a:ext cx="2082103" cy="13579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8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Calibri" panose="020F0502020204030204" pitchFamily="34" charset="0"/>
              </a:rPr>
              <a:t>Classified as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7156792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61024477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38494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038459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MSIPCMba9a4355955522788914cc5d" descr="{&quot;HashCode&quot;:-1634785317,&quot;Placement&quot;:&quot;Footer&quot;,&quot;Top&quot;:530.093,&quot;Left&quot;:0.0,&quot;SlideWidth&quot;:979,&quot;SlideHeight&quot;:550}">
            <a:extLst>
              <a:ext uri="{FF2B5EF4-FFF2-40B4-BE49-F238E27FC236}">
                <a16:creationId xmlns:a16="http://schemas.microsoft.com/office/drawing/2014/main" id="{879D606E-8F49-4FB3-9851-D3F80D0523CA}"/>
              </a:ext>
            </a:extLst>
          </p:cNvPr>
          <p:cNvSpPr txBox="1"/>
          <p:nvPr userDrawn="1"/>
        </p:nvSpPr>
        <p:spPr>
          <a:xfrm>
            <a:off x="5054949" y="6640143"/>
            <a:ext cx="2082103" cy="13579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8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Calibri" panose="020F0502020204030204" pitchFamily="34" charset="0"/>
              </a:rPr>
              <a:t>Classified as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33600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0582637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63849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ba9a4355955522788914cc5d" descr="{&quot;HashCode&quot;:-1634785317,&quot;Placement&quot;:&quot;Footer&quot;,&quot;Top&quot;:530.093,&quot;Left&quot;:0.0,&quot;SlideWidth&quot;:979,&quot;SlideHeight&quot;:550}">
            <a:extLst>
              <a:ext uri="{FF2B5EF4-FFF2-40B4-BE49-F238E27FC236}">
                <a16:creationId xmlns:a16="http://schemas.microsoft.com/office/drawing/2014/main" id="{5112B627-ABFC-423C-92FD-5CB76CDDBDA0}"/>
              </a:ext>
            </a:extLst>
          </p:cNvPr>
          <p:cNvSpPr txBox="1"/>
          <p:nvPr userDrawn="1"/>
        </p:nvSpPr>
        <p:spPr>
          <a:xfrm>
            <a:off x="5054949" y="6640143"/>
            <a:ext cx="2082103" cy="13579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8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Calibri" panose="020F0502020204030204" pitchFamily="34" charset="0"/>
              </a:rPr>
              <a:t>Classified as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610777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ba9a4355955522788914cc5d" descr="{&quot;HashCode&quot;:-1634785317,&quot;Placement&quot;:&quot;Footer&quot;,&quot;Top&quot;:530.093,&quot;Left&quot;:0.0,&quot;SlideWidth&quot;:979,&quot;SlideHeight&quot;:550}">
            <a:extLst>
              <a:ext uri="{FF2B5EF4-FFF2-40B4-BE49-F238E27FC236}">
                <a16:creationId xmlns:a16="http://schemas.microsoft.com/office/drawing/2014/main" id="{0DF95937-C832-40B9-AF53-10F3ABEB8B95}"/>
              </a:ext>
            </a:extLst>
          </p:cNvPr>
          <p:cNvSpPr txBox="1"/>
          <p:nvPr userDrawn="1"/>
        </p:nvSpPr>
        <p:spPr>
          <a:xfrm>
            <a:off x="5054949" y="6640143"/>
            <a:ext cx="2082103" cy="13579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8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Calibri" panose="020F0502020204030204" pitchFamily="34" charset="0"/>
              </a:rPr>
              <a:t>Classified as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492028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433981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812804"/>
          </a:xfrm>
        </p:spPr>
        <p:txBody>
          <a:bodyPr/>
          <a:lstStyle>
            <a:lvl1pPr marL="0" indent="0">
              <a:buNone/>
              <a:defRPr sz="32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2086858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3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3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7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111855896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185214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AFB08C-7CA3-410B-9E42-31CFC76510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20861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E51C949-1B36-4943-96CB-53F382CA7D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67" t="29204" r="28049" b="11060"/>
          <a:stretch/>
        </p:blipFill>
        <p:spPr>
          <a:xfrm>
            <a:off x="-66675" y="0"/>
            <a:ext cx="12258675" cy="6858000"/>
          </a:xfrm>
          <a:prstGeom prst="rect">
            <a:avLst/>
          </a:prstGeom>
        </p:spPr>
      </p:pic>
      <p:sp>
        <p:nvSpPr>
          <p:cNvPr id="10" name="Title 1"/>
          <p:cNvSpPr txBox="1">
            <a:spLocks/>
          </p:cNvSpPr>
          <p:nvPr userDrawn="1"/>
        </p:nvSpPr>
        <p:spPr>
          <a:xfrm>
            <a:off x="-66675" y="-42941"/>
            <a:ext cx="10781834" cy="6943882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 h 10000"/>
              <a:gd name="connsiteX0" fmla="*/ 0 w 10000"/>
              <a:gd name="connsiteY0" fmla="*/ 0 h 9997"/>
              <a:gd name="connsiteX1" fmla="*/ 5160 w 10000"/>
              <a:gd name="connsiteY1" fmla="*/ 24 h 9997"/>
              <a:gd name="connsiteX2" fmla="*/ 10000 w 10000"/>
              <a:gd name="connsiteY2" fmla="*/ 9997 h 9997"/>
              <a:gd name="connsiteX3" fmla="*/ 0 w 10000"/>
              <a:gd name="connsiteY3" fmla="*/ 9997 h 9997"/>
              <a:gd name="connsiteX4" fmla="*/ 0 w 10000"/>
              <a:gd name="connsiteY4" fmla="*/ 0 h 9997"/>
              <a:gd name="connsiteX0" fmla="*/ 0 w 9679"/>
              <a:gd name="connsiteY0" fmla="*/ 0 h 10027"/>
              <a:gd name="connsiteX1" fmla="*/ 5160 w 9679"/>
              <a:gd name="connsiteY1" fmla="*/ 24 h 10027"/>
              <a:gd name="connsiteX2" fmla="*/ 9679 w 9679"/>
              <a:gd name="connsiteY2" fmla="*/ 10027 h 10027"/>
              <a:gd name="connsiteX3" fmla="*/ 0 w 9679"/>
              <a:gd name="connsiteY3" fmla="*/ 10000 h 10027"/>
              <a:gd name="connsiteX4" fmla="*/ 0 w 9679"/>
              <a:gd name="connsiteY4" fmla="*/ 0 h 10027"/>
              <a:gd name="connsiteX0" fmla="*/ 0 w 10000"/>
              <a:gd name="connsiteY0" fmla="*/ 10 h 10010"/>
              <a:gd name="connsiteX1" fmla="*/ 5302 w 10000"/>
              <a:gd name="connsiteY1" fmla="*/ 0 h 10010"/>
              <a:gd name="connsiteX2" fmla="*/ 10000 w 10000"/>
              <a:gd name="connsiteY2" fmla="*/ 10010 h 10010"/>
              <a:gd name="connsiteX3" fmla="*/ 0 w 10000"/>
              <a:gd name="connsiteY3" fmla="*/ 9983 h 10010"/>
              <a:gd name="connsiteX4" fmla="*/ 0 w 10000"/>
              <a:gd name="connsiteY4" fmla="*/ 10 h 10010"/>
              <a:gd name="connsiteX0" fmla="*/ 0 w 10000"/>
              <a:gd name="connsiteY0" fmla="*/ 10 h 10010"/>
              <a:gd name="connsiteX1" fmla="*/ 5302 w 10000"/>
              <a:gd name="connsiteY1" fmla="*/ 0 h 10010"/>
              <a:gd name="connsiteX2" fmla="*/ 10000 w 10000"/>
              <a:gd name="connsiteY2" fmla="*/ 10010 h 10010"/>
              <a:gd name="connsiteX3" fmla="*/ 4 w 10000"/>
              <a:gd name="connsiteY3" fmla="*/ 10010 h 10010"/>
              <a:gd name="connsiteX4" fmla="*/ 0 w 10000"/>
              <a:gd name="connsiteY4" fmla="*/ 10 h 10010"/>
              <a:gd name="connsiteX0" fmla="*/ 0 w 10000"/>
              <a:gd name="connsiteY0" fmla="*/ 21 h 10010"/>
              <a:gd name="connsiteX1" fmla="*/ 5302 w 10000"/>
              <a:gd name="connsiteY1" fmla="*/ 0 h 10010"/>
              <a:gd name="connsiteX2" fmla="*/ 10000 w 10000"/>
              <a:gd name="connsiteY2" fmla="*/ 10010 h 10010"/>
              <a:gd name="connsiteX3" fmla="*/ 4 w 10000"/>
              <a:gd name="connsiteY3" fmla="*/ 10010 h 10010"/>
              <a:gd name="connsiteX4" fmla="*/ 0 w 10000"/>
              <a:gd name="connsiteY4" fmla="*/ 21 h 10010"/>
              <a:gd name="connsiteX0" fmla="*/ 286 w 9997"/>
              <a:gd name="connsiteY0" fmla="*/ 216 h 10010"/>
              <a:gd name="connsiteX1" fmla="*/ 5299 w 9997"/>
              <a:gd name="connsiteY1" fmla="*/ 0 h 10010"/>
              <a:gd name="connsiteX2" fmla="*/ 9997 w 9997"/>
              <a:gd name="connsiteY2" fmla="*/ 10010 h 10010"/>
              <a:gd name="connsiteX3" fmla="*/ 1 w 9997"/>
              <a:gd name="connsiteY3" fmla="*/ 10010 h 10010"/>
              <a:gd name="connsiteX4" fmla="*/ 286 w 9997"/>
              <a:gd name="connsiteY4" fmla="*/ 216 h 10010"/>
              <a:gd name="connsiteX0" fmla="*/ 0 w 10007"/>
              <a:gd name="connsiteY0" fmla="*/ 29 h 10000"/>
              <a:gd name="connsiteX1" fmla="*/ 5308 w 10007"/>
              <a:gd name="connsiteY1" fmla="*/ 0 h 10000"/>
              <a:gd name="connsiteX2" fmla="*/ 10007 w 10007"/>
              <a:gd name="connsiteY2" fmla="*/ 10000 h 10000"/>
              <a:gd name="connsiteX3" fmla="*/ 8 w 10007"/>
              <a:gd name="connsiteY3" fmla="*/ 10000 h 10000"/>
              <a:gd name="connsiteX4" fmla="*/ 0 w 10007"/>
              <a:gd name="connsiteY4" fmla="*/ 29 h 10000"/>
              <a:gd name="connsiteX0" fmla="*/ 0 w 10007"/>
              <a:gd name="connsiteY0" fmla="*/ 0 h 9971"/>
              <a:gd name="connsiteX1" fmla="*/ 5316 w 10007"/>
              <a:gd name="connsiteY1" fmla="*/ 5 h 9971"/>
              <a:gd name="connsiteX2" fmla="*/ 10007 w 10007"/>
              <a:gd name="connsiteY2" fmla="*/ 9971 h 9971"/>
              <a:gd name="connsiteX3" fmla="*/ 8 w 10007"/>
              <a:gd name="connsiteY3" fmla="*/ 9971 h 9971"/>
              <a:gd name="connsiteX4" fmla="*/ 0 w 10007"/>
              <a:gd name="connsiteY4" fmla="*/ 0 h 9971"/>
              <a:gd name="connsiteX0" fmla="*/ 0 w 10000"/>
              <a:gd name="connsiteY0" fmla="*/ 3 h 10003"/>
              <a:gd name="connsiteX1" fmla="*/ 5292 w 10000"/>
              <a:gd name="connsiteY1" fmla="*/ 0 h 10003"/>
              <a:gd name="connsiteX2" fmla="*/ 10000 w 10000"/>
              <a:gd name="connsiteY2" fmla="*/ 10003 h 10003"/>
              <a:gd name="connsiteX3" fmla="*/ 8 w 10000"/>
              <a:gd name="connsiteY3" fmla="*/ 10003 h 10003"/>
              <a:gd name="connsiteX4" fmla="*/ 0 w 10000"/>
              <a:gd name="connsiteY4" fmla="*/ 3 h 10003"/>
              <a:gd name="connsiteX0" fmla="*/ 84 w 9993"/>
              <a:gd name="connsiteY0" fmla="*/ 114 h 10003"/>
              <a:gd name="connsiteX1" fmla="*/ 5285 w 9993"/>
              <a:gd name="connsiteY1" fmla="*/ 0 h 10003"/>
              <a:gd name="connsiteX2" fmla="*/ 9993 w 9993"/>
              <a:gd name="connsiteY2" fmla="*/ 10003 h 10003"/>
              <a:gd name="connsiteX3" fmla="*/ 1 w 9993"/>
              <a:gd name="connsiteY3" fmla="*/ 10003 h 10003"/>
              <a:gd name="connsiteX4" fmla="*/ 84 w 9993"/>
              <a:gd name="connsiteY4" fmla="*/ 114 h 10003"/>
              <a:gd name="connsiteX0" fmla="*/ 0 w 10003"/>
              <a:gd name="connsiteY0" fmla="*/ 3 h 10000"/>
              <a:gd name="connsiteX1" fmla="*/ 5292 w 10003"/>
              <a:gd name="connsiteY1" fmla="*/ 0 h 10000"/>
              <a:gd name="connsiteX2" fmla="*/ 10003 w 10003"/>
              <a:gd name="connsiteY2" fmla="*/ 10000 h 10000"/>
              <a:gd name="connsiteX3" fmla="*/ 4 w 10003"/>
              <a:gd name="connsiteY3" fmla="*/ 10000 h 10000"/>
              <a:gd name="connsiteX4" fmla="*/ 0 w 10003"/>
              <a:gd name="connsiteY4" fmla="*/ 3 h 10000"/>
              <a:gd name="connsiteX0" fmla="*/ 0 w 10003"/>
              <a:gd name="connsiteY0" fmla="*/ 3 h 10000"/>
              <a:gd name="connsiteX1" fmla="*/ 5292 w 10003"/>
              <a:gd name="connsiteY1" fmla="*/ 0 h 10000"/>
              <a:gd name="connsiteX2" fmla="*/ 10003 w 10003"/>
              <a:gd name="connsiteY2" fmla="*/ 10000 h 10000"/>
              <a:gd name="connsiteX3" fmla="*/ 0 w 10003"/>
              <a:gd name="connsiteY3" fmla="*/ 9996 h 10000"/>
              <a:gd name="connsiteX4" fmla="*/ 0 w 10003"/>
              <a:gd name="connsiteY4" fmla="*/ 3 h 10000"/>
              <a:gd name="connsiteX0" fmla="*/ 0 w 10003"/>
              <a:gd name="connsiteY0" fmla="*/ 3 h 10000"/>
              <a:gd name="connsiteX1" fmla="*/ 5292 w 10003"/>
              <a:gd name="connsiteY1" fmla="*/ 0 h 10000"/>
              <a:gd name="connsiteX2" fmla="*/ 10003 w 10003"/>
              <a:gd name="connsiteY2" fmla="*/ 10000 h 10000"/>
              <a:gd name="connsiteX3" fmla="*/ 67 w 10003"/>
              <a:gd name="connsiteY3" fmla="*/ 9920 h 10000"/>
              <a:gd name="connsiteX4" fmla="*/ 0 w 10003"/>
              <a:gd name="connsiteY4" fmla="*/ 3 h 10000"/>
              <a:gd name="connsiteX0" fmla="*/ 8 w 10011"/>
              <a:gd name="connsiteY0" fmla="*/ 3 h 10004"/>
              <a:gd name="connsiteX1" fmla="*/ 5300 w 10011"/>
              <a:gd name="connsiteY1" fmla="*/ 0 h 10004"/>
              <a:gd name="connsiteX2" fmla="*/ 10011 w 10011"/>
              <a:gd name="connsiteY2" fmla="*/ 10000 h 10004"/>
              <a:gd name="connsiteX3" fmla="*/ 0 w 10011"/>
              <a:gd name="connsiteY3" fmla="*/ 10004 h 10004"/>
              <a:gd name="connsiteX4" fmla="*/ 8 w 10011"/>
              <a:gd name="connsiteY4" fmla="*/ 3 h 10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1" h="10004">
                <a:moveTo>
                  <a:pt x="8" y="3"/>
                </a:moveTo>
                <a:lnTo>
                  <a:pt x="5300" y="0"/>
                </a:lnTo>
                <a:lnTo>
                  <a:pt x="10011" y="10000"/>
                </a:lnTo>
                <a:lnTo>
                  <a:pt x="0" y="10004"/>
                </a:lnTo>
                <a:cubicBezTo>
                  <a:pt x="-1" y="6665"/>
                  <a:pt x="9" y="3341"/>
                  <a:pt x="8" y="3"/>
                </a:cubicBezTo>
                <a:close/>
              </a:path>
            </a:pathLst>
          </a:custGeom>
          <a:solidFill>
            <a:srgbClr val="000000">
              <a:alpha val="80000"/>
            </a:srgbClr>
          </a:solidFill>
          <a:ln>
            <a:noFill/>
          </a:ln>
        </p:spPr>
        <p:txBody>
          <a:bodyPr vert="horz" lIns="365760" tIns="137160" rIns="137160" bIns="1097280" rtlCol="0" anchor="b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 spc="-1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000" spc="0">
              <a:latin typeface="Segoe UI Semilight" charset="0"/>
              <a:cs typeface="Segoe UI Semilight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946200"/>
            <a:ext cx="9570021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4740587"/>
            <a:ext cx="9570023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623" y="296863"/>
            <a:ext cx="1858780" cy="683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36822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1FA902-F445-4387-B00C-BF23EB7D89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CEF3B4-293C-4302-A830-94FA3C25A0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047E3-EE21-42A4-AF7F-F1491DE7C5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1024E-D68C-4DA9-BD1F-46570011FA3C}" type="datetimeFigureOut">
              <a:rPr lang="en-US" smtClean="0"/>
              <a:t>3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32822D-4897-412B-96B2-AC9F706AA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AEA52C-AC41-4A81-A2BA-EB1A45AFA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C64EA-2E68-42C6-8679-DDF498DD05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08189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8" y="620431"/>
            <a:ext cx="11306469" cy="403137"/>
          </a:xfrm>
        </p:spPr>
        <p:txBody>
          <a:bodyPr wrap="square" lIns="0" tIns="0" rIns="0" bIns="0">
            <a:noAutofit/>
          </a:bodyPr>
          <a:lstStyle>
            <a:lvl1pPr>
              <a:lnSpc>
                <a:spcPts val="3075"/>
              </a:lnSpc>
              <a:defRPr sz="3137" strike="noStrike">
                <a:solidFill>
                  <a:srgbClr val="2F2F2F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339838246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200F7B6E-608C-4712-A939-BEBE059E295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DC5E8A2-8275-4F90-BA55-9B66D81C4A9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C563208-4732-48A3-81E6-533A2E2DD53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D0ADC22-C4D5-4BE8-99A8-91566ADDBF5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91C4D457-0F93-4853-AB02-01C200DE6658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E8D605B0-4DEE-4101-AC83-CD1D15D14DB9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EF14ED5-2275-4C01-96DD-1D24FE9FD6EE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F31E8C76-6A67-4E1C-BCC4-8D2ABCC0212A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ABDD9FA-82C7-4E69-9895-354AD0BDD19E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A7CD18E-2839-44B2-9BA7-6356529D686A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0B7E64CE-434E-410A-823C-4872E71DD278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0D92AA81-D52A-4877-AE2C-AB5B4D374D19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BE84D11A-0DE4-40A8-BB80-889FF30CCE03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0E0B5D-2F12-4C6E-92C5-3765C579ADE8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765DAB00-242D-4D78-B6BF-F678C14B519F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D824698C-3D67-4D42-9DE6-531F5A0C7EA3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99246CD-F05A-4044-B7A4-384A7B272509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6930CAB-4305-4191-AD01-9D22AAD264D9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FBC50E9-9F0E-4D62-9AA6-DC145681D1EA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9610B7D-2856-472A-B98F-5684402C6C99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173E078-D753-4C8F-98BB-75D0CBE314FE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EAA82456-62CD-4C42-91A4-3FFD8F19BCBD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41ABB687-FC0A-4A48-8466-BF8A1129E230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EEA91BF-1A44-4FB0-92F0-23098E7BBFCD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11C6A8E-CEC6-4129-9FB2-A426C6CE84EB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205B8F1F-9F8A-42BF-8770-AEABCEC35D18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36EE7F2A-0858-47D2-B1D0-D33BCD933AB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82238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4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0842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0842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0841"/>
            <a:ext cx="3630521" cy="2611809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147570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820993486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297677" y="6379834"/>
            <a:ext cx="1395659" cy="1642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067">
                <a:solidFill>
                  <a:schemeClr val="bg1"/>
                </a:solidFill>
                <a:latin typeface="Segoe UI"/>
                <a:cs typeface="Segoe UI"/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8146665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6FAD87F-DBF5-4E2F-A61B-3CCEC5C7D0B9}"/>
              </a:ext>
            </a:extLst>
          </p:cNvPr>
          <p:cNvGrpSpPr/>
          <p:nvPr userDrawn="1"/>
        </p:nvGrpSpPr>
        <p:grpSpPr bwMode="ltGray">
          <a:xfrm>
            <a:off x="8710812" y="1771650"/>
            <a:ext cx="3481189" cy="4196081"/>
            <a:chOff x="8710812" y="1771650"/>
            <a:chExt cx="3481189" cy="4196081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6B0365F1-E7DF-4958-962E-9FFD3A39414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3720628"/>
              <a:ext cx="531187" cy="974975"/>
            </a:xfrm>
            <a:custGeom>
              <a:avLst/>
              <a:gdLst>
                <a:gd name="T0" fmla="*/ 547 w 547"/>
                <a:gd name="T1" fmla="*/ 704 h 1004"/>
                <a:gd name="T2" fmla="*/ 0 w 547"/>
                <a:gd name="T3" fmla="*/ 1004 h 1004"/>
                <a:gd name="T4" fmla="*/ 0 w 547"/>
                <a:gd name="T5" fmla="*/ 300 h 1004"/>
                <a:gd name="T6" fmla="*/ 547 w 547"/>
                <a:gd name="T7" fmla="*/ 0 h 1004"/>
                <a:gd name="T8" fmla="*/ 547 w 547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4"/>
                  </a:moveTo>
                  <a:lnTo>
                    <a:pt x="0" y="1004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4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39253E4C-431D-4257-8CC7-C1456CD2F32D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8040" y="3720628"/>
              <a:ext cx="532157" cy="974975"/>
            </a:xfrm>
            <a:custGeom>
              <a:avLst/>
              <a:gdLst>
                <a:gd name="T0" fmla="*/ 0 w 548"/>
                <a:gd name="T1" fmla="*/ 704 h 1004"/>
                <a:gd name="T2" fmla="*/ 548 w 548"/>
                <a:gd name="T3" fmla="*/ 1004 h 1004"/>
                <a:gd name="T4" fmla="*/ 548 w 548"/>
                <a:gd name="T5" fmla="*/ 300 h 1004"/>
                <a:gd name="T6" fmla="*/ 0 w 548"/>
                <a:gd name="T7" fmla="*/ 0 h 1004"/>
                <a:gd name="T8" fmla="*/ 0 w 548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4"/>
                  </a:moveTo>
                  <a:lnTo>
                    <a:pt x="548" y="1004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4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E928826C-9C74-4194-A556-98EC9A96F6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4404276"/>
              <a:ext cx="1063344" cy="586538"/>
            </a:xfrm>
            <a:custGeom>
              <a:avLst/>
              <a:gdLst>
                <a:gd name="T0" fmla="*/ 547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7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7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7ACB5DE1-DAC6-4C99-B2CC-0EB12CE0D5F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5D630C8B-3A7C-4321-A3EF-B1D0A698F7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2969" y="2748567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A590461-2675-4E4A-B9BB-BF5471E895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3434156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48EAECFD-0CA3-492F-BA94-22EF6EB2205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62FFEC32-2F2F-43F4-9C21-7F15A26966A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3434157"/>
              <a:ext cx="1063345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  <a:gd name="connsiteX0" fmla="*/ 5005 w 10000"/>
                <a:gd name="connsiteY0" fmla="*/ 0 h 10000"/>
                <a:gd name="connsiteX1" fmla="*/ 0 w 10000"/>
                <a:gd name="connsiteY1" fmla="*/ 4967 h 10000"/>
                <a:gd name="connsiteX2" fmla="*/ 5048 w 10000"/>
                <a:gd name="connsiteY2" fmla="*/ 10000 h 10000"/>
                <a:gd name="connsiteX3" fmla="*/ 10000 w 10000"/>
                <a:gd name="connsiteY3" fmla="*/ 4967 h 10000"/>
                <a:gd name="connsiteX4" fmla="*/ 5005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5005" y="0"/>
                  </a:moveTo>
                  <a:lnTo>
                    <a:pt x="0" y="4967"/>
                  </a:lnTo>
                  <a:lnTo>
                    <a:pt x="5048" y="10000"/>
                  </a:lnTo>
                  <a:lnTo>
                    <a:pt x="10000" y="4967"/>
                  </a:lnTo>
                  <a:lnTo>
                    <a:pt x="5005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647709D2-F4CC-4414-B183-427A6D2A22A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1823" y="2748566"/>
              <a:ext cx="534332" cy="982635"/>
            </a:xfrm>
            <a:custGeom>
              <a:avLst/>
              <a:gdLst>
                <a:gd name="T0" fmla="*/ 0 w 548"/>
                <a:gd name="T1" fmla="*/ 706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6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72928ABA-DF2E-4C8E-B194-7FA5282298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3616" y="3434158"/>
              <a:ext cx="1060195" cy="586539"/>
            </a:xfrm>
            <a:custGeom>
              <a:avLst/>
              <a:gdLst>
                <a:gd name="T0" fmla="*/ 548 w 1096"/>
                <a:gd name="T1" fmla="*/ 0 h 604"/>
                <a:gd name="T2" fmla="*/ 0 w 1096"/>
                <a:gd name="T3" fmla="*/ 300 h 604"/>
                <a:gd name="T4" fmla="*/ 560 w 1096"/>
                <a:gd name="T5" fmla="*/ 604 h 604"/>
                <a:gd name="T6" fmla="*/ 1096 w 1096"/>
                <a:gd name="T7" fmla="*/ 300 h 604"/>
                <a:gd name="T8" fmla="*/ 548 w 1096"/>
                <a:gd name="T9" fmla="*/ 0 h 604"/>
                <a:gd name="connsiteX0" fmla="*/ 5000 w 9956"/>
                <a:gd name="connsiteY0" fmla="*/ 0 h 10000"/>
                <a:gd name="connsiteX1" fmla="*/ 0 w 9956"/>
                <a:gd name="connsiteY1" fmla="*/ 4967 h 10000"/>
                <a:gd name="connsiteX2" fmla="*/ 5109 w 9956"/>
                <a:gd name="connsiteY2" fmla="*/ 10000 h 10000"/>
                <a:gd name="connsiteX3" fmla="*/ 9956 w 9956"/>
                <a:gd name="connsiteY3" fmla="*/ 4967 h 10000"/>
                <a:gd name="connsiteX4" fmla="*/ 5000 w 995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6" h="10000">
                  <a:moveTo>
                    <a:pt x="5000" y="0"/>
                  </a:moveTo>
                  <a:lnTo>
                    <a:pt x="0" y="4967"/>
                  </a:lnTo>
                  <a:lnTo>
                    <a:pt x="5109" y="10000"/>
                  </a:lnTo>
                  <a:lnTo>
                    <a:pt x="9956" y="4967"/>
                  </a:lnTo>
                  <a:lnTo>
                    <a:pt x="5000" y="0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A52C6C9-8220-4E26-B41D-1AA4F49DF9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1771650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8548CD94-9B34-4B91-BB2B-8736861E89E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1673" y="1771650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CFFFDB94-105D-4570-A938-4AD7CE4AE78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2457240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AC2A78A9-4071-45DC-BAE8-1C643EDD9B0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1" y="1771650"/>
              <a:ext cx="531187" cy="976917"/>
            </a:xfrm>
            <a:custGeom>
              <a:avLst/>
              <a:gdLst>
                <a:gd name="T0" fmla="*/ 547 w 547"/>
                <a:gd name="T1" fmla="*/ 706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0EEF9B-FB8E-409B-A24F-BD7570B8820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895988" y="1771650"/>
              <a:ext cx="296013" cy="847641"/>
            </a:xfrm>
            <a:custGeom>
              <a:avLst/>
              <a:gdLst>
                <a:gd name="connsiteX0" fmla="*/ 0 w 296013"/>
                <a:gd name="connsiteY0" fmla="*/ 0 h 847641"/>
                <a:gd name="connsiteX1" fmla="*/ 296013 w 296013"/>
                <a:gd name="connsiteY1" fmla="*/ 162051 h 847641"/>
                <a:gd name="connsiteX2" fmla="*/ 296013 w 296013"/>
                <a:gd name="connsiteY2" fmla="*/ 847641 h 847641"/>
                <a:gd name="connsiteX3" fmla="*/ 0 w 296013"/>
                <a:gd name="connsiteY3" fmla="*/ 685590 h 84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013" h="847641">
                  <a:moveTo>
                    <a:pt x="0" y="0"/>
                  </a:moveTo>
                  <a:lnTo>
                    <a:pt x="296013" y="162051"/>
                  </a:lnTo>
                  <a:lnTo>
                    <a:pt x="296013" y="847641"/>
                  </a:lnTo>
                  <a:lnTo>
                    <a:pt x="0" y="685590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90FC8DE-C4AD-4BD3-9506-276C17F0C33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0" y="2457240"/>
              <a:ext cx="827200" cy="593577"/>
            </a:xfrm>
            <a:custGeom>
              <a:avLst/>
              <a:gdLst>
                <a:gd name="connsiteX0" fmla="*/ 531141 w 827200"/>
                <a:gd name="connsiteY0" fmla="*/ 0 h 593577"/>
                <a:gd name="connsiteX1" fmla="*/ 827200 w 827200"/>
                <a:gd name="connsiteY1" fmla="*/ 162066 h 593577"/>
                <a:gd name="connsiteX2" fmla="*/ 827200 w 827200"/>
                <a:gd name="connsiteY2" fmla="*/ 425095 h 593577"/>
                <a:gd name="connsiteX3" fmla="*/ 529758 w 827200"/>
                <a:gd name="connsiteY3" fmla="*/ 593577 h 593577"/>
                <a:gd name="connsiteX4" fmla="*/ 0 w 827200"/>
                <a:gd name="connsiteY4" fmla="*/ 291334 h 59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7200" h="593577">
                  <a:moveTo>
                    <a:pt x="531141" y="0"/>
                  </a:moveTo>
                  <a:lnTo>
                    <a:pt x="827200" y="162066"/>
                  </a:lnTo>
                  <a:lnTo>
                    <a:pt x="827200" y="425095"/>
                  </a:lnTo>
                  <a:lnTo>
                    <a:pt x="529758" y="593577"/>
                  </a:lnTo>
                  <a:lnTo>
                    <a:pt x="0" y="291334"/>
                  </a:lnTo>
                  <a:close/>
                </a:path>
              </a:pathLst>
            </a:custGeom>
            <a:solidFill>
              <a:srgbClr val="303030"/>
            </a:solidFill>
            <a:ln w="9525">
              <a:solidFill>
                <a:srgbClr val="30303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77297A5A-69AC-4DF4-95F9-A09D48D814E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4400391"/>
              <a:ext cx="531187" cy="976917"/>
            </a:xfrm>
            <a:custGeom>
              <a:avLst/>
              <a:gdLst>
                <a:gd name="T0" fmla="*/ 547 w 547"/>
                <a:gd name="T1" fmla="*/ 707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7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7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E65087DC-7AC8-4AA7-9010-A067ADE1CF79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47210" y="4400391"/>
              <a:ext cx="532157" cy="976917"/>
            </a:xfrm>
            <a:custGeom>
              <a:avLst/>
              <a:gdLst>
                <a:gd name="T0" fmla="*/ 0 w 548"/>
                <a:gd name="T1" fmla="*/ 707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7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7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3B4C2EBB-4C89-4380-A5E7-A7BD40C2B90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5086952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0D7CD4FA-6D18-4E1F-9C7D-91AA2E32B2B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4697545"/>
              <a:ext cx="531187" cy="974975"/>
            </a:xfrm>
            <a:custGeom>
              <a:avLst/>
              <a:gdLst>
                <a:gd name="T0" fmla="*/ 547 w 547"/>
                <a:gd name="T1" fmla="*/ 705 h 1004"/>
                <a:gd name="T2" fmla="*/ 0 w 547"/>
                <a:gd name="T3" fmla="*/ 1004 h 1004"/>
                <a:gd name="T4" fmla="*/ 0 w 547"/>
                <a:gd name="T5" fmla="*/ 298 h 1004"/>
                <a:gd name="T6" fmla="*/ 547 w 547"/>
                <a:gd name="T7" fmla="*/ 0 h 1004"/>
                <a:gd name="T8" fmla="*/ 547 w 547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5"/>
                  </a:moveTo>
                  <a:lnTo>
                    <a:pt x="0" y="1004"/>
                  </a:lnTo>
                  <a:lnTo>
                    <a:pt x="0" y="298"/>
                  </a:lnTo>
                  <a:lnTo>
                    <a:pt x="547" y="0"/>
                  </a:lnTo>
                  <a:lnTo>
                    <a:pt x="547" y="705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5D06D6BE-8F81-4F1F-9E44-429E129C195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51709" y="4697545"/>
              <a:ext cx="532157" cy="974975"/>
            </a:xfrm>
            <a:custGeom>
              <a:avLst/>
              <a:gdLst>
                <a:gd name="T0" fmla="*/ 0 w 548"/>
                <a:gd name="T1" fmla="*/ 705 h 1004"/>
                <a:gd name="T2" fmla="*/ 548 w 548"/>
                <a:gd name="T3" fmla="*/ 1004 h 1004"/>
                <a:gd name="T4" fmla="*/ 548 w 548"/>
                <a:gd name="T5" fmla="*/ 298 h 1004"/>
                <a:gd name="T6" fmla="*/ 0 w 548"/>
                <a:gd name="T7" fmla="*/ 0 h 1004"/>
                <a:gd name="T8" fmla="*/ 0 w 548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5"/>
                  </a:moveTo>
                  <a:lnTo>
                    <a:pt x="548" y="1004"/>
                  </a:lnTo>
                  <a:lnTo>
                    <a:pt x="548" y="298"/>
                  </a:lnTo>
                  <a:lnTo>
                    <a:pt x="0" y="0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3F7CF64D-F067-41E4-8D9F-41FF3897282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5382163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1127319" y="2759375"/>
            <a:ext cx="7145823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微软官方</a:t>
            </a:r>
            <a:r>
              <a:rPr kumimoji="0" lang="en-US" altLang="zh-CN" sz="3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2018-2019</a:t>
            </a:r>
            <a:r>
              <a:rPr kumimoji="0" lang="zh-CN" altLang="en-US" sz="3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年</a:t>
            </a:r>
            <a:r>
              <a:rPr kumimoji="0" lang="en-US" altLang="zh-CN" sz="3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PPT</a:t>
            </a:r>
            <a:r>
              <a:rPr kumimoji="0" lang="zh-CN" altLang="en-US" sz="3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图表素材（蓝色）</a:t>
            </a:r>
            <a:endParaRPr kumimoji="0" lang="en-US" sz="3600" b="0" i="0" u="none" strike="noStrike" kern="1200" cap="none" normalizeH="0" baseline="0" noProof="0" dirty="0">
              <a:ln w="3175">
                <a:noFill/>
              </a:ln>
              <a:gradFill>
                <a:gsLst>
                  <a:gs pos="14801">
                    <a:schemeClr val="bg1"/>
                  </a:gs>
                  <a:gs pos="75000">
                    <a:schemeClr val="bg1"/>
                  </a:gs>
                </a:gsLst>
                <a:lin ang="5400000" scaled="1"/>
              </a:gra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31" name="Rectangle 53">
            <a:extLst>
              <a:ext uri="{FF2B5EF4-FFF2-40B4-BE49-F238E27FC236}">
                <a16:creationId xmlns:a16="http://schemas.microsoft.com/office/drawing/2014/main" id="{86DAA070-D463-49E5-82B4-6CC16CD217F3}"/>
              </a:ext>
            </a:extLst>
          </p:cNvPr>
          <p:cNvSpPr/>
          <p:nvPr userDrawn="1"/>
        </p:nvSpPr>
        <p:spPr bwMode="white">
          <a:xfrm>
            <a:off x="1127318" y="5497758"/>
            <a:ext cx="819085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锐普</a:t>
            </a:r>
            <a:r>
              <a:rPr kumimoji="0" lang="en-US" altLang="zh-CN" sz="24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PPT</a:t>
            </a:r>
            <a:r>
              <a:rPr kumimoji="0" lang="zh-CN" altLang="en-US" sz="24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出品（</a:t>
            </a:r>
            <a:r>
              <a:rPr kumimoji="0" lang="en-US" altLang="zh-CN" sz="24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www.rapidesign.cn</a:t>
            </a:r>
            <a:r>
              <a:rPr kumimoji="0" lang="zh-CN" altLang="en-US" sz="24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）</a:t>
            </a:r>
            <a:endParaRPr kumimoji="0" lang="en-US" sz="2400" b="0" i="0" u="none" strike="noStrike" kern="1200" cap="none" normalizeH="0" baseline="0" noProof="0" dirty="0">
              <a:ln w="3175">
                <a:noFill/>
              </a:ln>
              <a:gradFill>
                <a:gsLst>
                  <a:gs pos="14801">
                    <a:schemeClr val="bg1"/>
                  </a:gs>
                  <a:gs pos="75000">
                    <a:schemeClr val="bg1"/>
                  </a:gs>
                </a:gsLst>
                <a:lin ang="5400000" scaled="1"/>
              </a:gra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556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3F3274D-8F90-4F75-B990-F6B7A291DE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383" y="437538"/>
            <a:ext cx="11333080" cy="742300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262316063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574" y="457200"/>
            <a:ext cx="11226268" cy="56425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6BE2933-CCBE-46B5-8807-9F17E18B35A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7575" y="1159592"/>
            <a:ext cx="11226271" cy="256481"/>
          </a:xfrm>
        </p:spPr>
        <p:txBody>
          <a:bodyPr/>
          <a:lstStyle>
            <a:lvl1pPr marL="0" indent="0">
              <a:buNone/>
              <a:defRPr sz="1667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96583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C2F07C-06F3-4564-AFA7-FC1D549EFF5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93385" y="346436"/>
            <a:ext cx="11442873" cy="430887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B514DD-36BC-4C85-8F59-BE13C95801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899591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>
                <a:latin typeface="+mj-lt"/>
              </a:rPr>
              <a:t>Session code here</a:t>
            </a:r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DCBAFEF-FDA0-4148-B6F8-D1D9029A0218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9BE868E-A240-4959-BD66-6BC44EE5A4A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DDB4654-32A2-47CE-B324-C597C756E402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18BE353-242E-4429-9D4C-1D50CEEC277C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2B25198-469F-44A8-946B-689A24DC3C72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5460766-0EE4-4C99-BD2E-1BAD7FD9C3AC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EFBC909F-DC50-4DDC-91C9-2509E0F5633F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0DC1718-52A4-4705-AE14-45A352ACBC2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D51C16AF-F6FA-4CD2-B0A5-3663CD02799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A105041-F999-49D6-BE4B-7630F1204F6C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190B08C-67D4-4DAD-8158-2B4D4A1318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43F7B37-FD03-4D73-932B-77D49AB6A515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F01A60D-F904-4399-87EA-23E33C45969F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450C50C-26FC-42C5-BA39-AE97627B772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8924B0-E78A-4770-AF30-C78056E7AAAB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D8AB0228-AC44-413D-A029-1BBF7B18CBCC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9C067BE-7550-4D8F-9A42-B78AB594CD54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4D97435-6932-4E2A-A217-DEA06FDA510A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FF9C9FB6-79F2-41F1-872D-2184B91C8E00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577AEC4-9502-4D2D-B373-2F1CB4EFF9B8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13EA48F-163A-410A-8C97-A08AA1B2EE50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3E1E199B-B230-4884-9F60-9B781B11B8FF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B98E4A3-2599-4DEB-8ECC-F004500FBF6A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B74F55-4583-4B26-A4E0-71C00B14AFF6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C4D1900-D812-4B27-AC50-B2795AD953C3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83ECFC2-9749-4525-973B-EAA0BC0FC62B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A3ABF7E-B2D4-4B7A-9B6E-0EB3223E4EE4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90690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61846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29867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94805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59870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65665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E372C55-5D4D-DBCC-5ADB-557D44ABC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B8B73DB-0AAD-3A87-D2DE-76907CA0BB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F609C97-2E11-2094-08BB-317FFE0588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87C3D-0CD7-4DE8-8E20-3325E67BF882}" type="datetimeFigureOut">
              <a:rPr lang="zh-CN" altLang="en-US" smtClean="0"/>
              <a:t>2025/3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5A116E5-900F-9698-29B7-82A05BC8D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D79EDB1-E5D5-02CD-A24B-CCEA494C79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6E31E1-2282-4FFC-841C-8BE00078B94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480295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25954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112255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200F7B6E-608C-4712-A939-BEBE059E295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DC5E8A2-8275-4F90-BA55-9B66D81C4A9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C563208-4732-48A3-81E6-533A2E2DD53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D0ADC22-C4D5-4BE8-99A8-91566ADDBF5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91C4D457-0F93-4853-AB02-01C200DE6658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E8D605B0-4DEE-4101-AC83-CD1D15D14DB9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EF14ED5-2275-4C01-96DD-1D24FE9FD6EE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F31E8C76-6A67-4E1C-BCC4-8D2ABCC0212A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ABDD9FA-82C7-4E69-9895-354AD0BDD19E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A7CD18E-2839-44B2-9BA7-6356529D686A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0B7E64CE-434E-410A-823C-4872E71DD278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0D92AA81-D52A-4877-AE2C-AB5B4D374D19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BE84D11A-0DE4-40A8-BB80-889FF30CCE03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0E0B5D-2F12-4C6E-92C5-3765C579ADE8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765DAB00-242D-4D78-B6BF-F678C14B519F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D824698C-3D67-4D42-9DE6-531F5A0C7EA3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99246CD-F05A-4044-B7A4-384A7B272509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6930CAB-4305-4191-AD01-9D22AAD264D9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FBC50E9-9F0E-4D62-9AA6-DC145681D1EA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9610B7D-2856-472A-B98F-5684402C6C99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173E078-D753-4C8F-98BB-75D0CBE314FE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EAA82456-62CD-4C42-91A4-3FFD8F19BCBD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41ABB687-FC0A-4A48-8466-BF8A1129E230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EEA91BF-1A44-4FB0-92F0-23098E7BBFCD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11C6A8E-CEC6-4129-9FB2-A426C6CE84EB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205B8F1F-9F8A-42BF-8770-AEABCEC35D18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36EE7F2A-0858-47D2-B1D0-D33BCD933AB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2449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C39AAC9F-C8B8-422E-93FC-08A064104000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09379AA-B540-4886-8794-46BA10F3D91B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9E5BC201-014B-48F5-BAC0-4FBBACCBF586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F72CD027-1ABE-4E4A-BE9E-EF73250F92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52C85D91-63CC-4FF7-A826-BE886CDB017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55C67E6-D930-403F-9550-70EC2A102AB5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DB9C074-A5A6-4082-9FCD-D487FD8013E5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E3D79EB-E5E0-4CA3-A7CE-50069CC73F1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2F892FB-2465-40CF-A81F-AC989DC09CE4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8BADF38-50C7-4E4B-AA00-660BF4161C96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51B782C-38CF-4C16-8A55-9C1BEA5AF3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61A234A0-3B09-4E85-880A-C885FBEE2401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B6516D46-39CD-420E-9263-03065B10F8F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8F64C-F49A-4F09-A9C2-8502680A64D7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AE00412-2C1C-4CAB-B1D4-B046A4B37C24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01030AB7-3DE7-407A-98DE-751351FCBFB5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074BD83-98DD-4084-9D1E-CDACFD005AFF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47C85498-5D07-457D-BA73-99E2EB50130B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3DF2CE11-90A6-43A8-B2DC-45295F10CB64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65F154A-ABA1-4F9A-97F8-C50108DD1A97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4AC8DFE-7BB0-4D98-AA21-405DB4B06225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F39938CF-5CFF-4707-BBDD-DD19FA0A50F1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73332E5E-0308-4370-A841-A20570A69BDF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E46D602-7D42-411E-8BA6-6F74E13FE60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53F344C1-9929-4E86-BB1A-05E12D1570DF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6933AFD-19AA-49B8-BCF7-2D0EAA89273D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FB75AC2-D122-402F-B448-B0118576BB4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4899507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B08910-F1C3-47B2-8C69-1B107282064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E7A031-B4AB-4071-98FF-24E766F9BB5C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DC7067D-3957-4163-9442-C167A0A6216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AE235F-4F6C-4565-AADC-752626D64B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EAADF52-7CC0-4715-8BAC-4186C7CE9B0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AC140A-9DFB-45B7-82C2-CF25166A0D41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436FDC7-3DF0-4E6A-B4A8-7EB4FF30AAF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72FB5AA-3C69-4BB6-9C10-682E95EF1AAE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0321A7F-C5FC-4514-A3AC-41CC16FA85FD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3C4B3CE-95D2-45A5-917E-A5389B118222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A5270AF0-DA91-4FF8-9B1C-35937E49D88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B4AB4EC-0302-4902-B797-9B84C91FDE1B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941D13F-2DD6-4121-8220-CC08400DD382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98F2381-17CE-4672-96D3-D3E4A8C1115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6A42BAE-DCEA-4A1A-8779-E499D67DA7B9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D7995E7-6761-41BA-BE88-30DD0DF70D22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4D7B6AA-459B-44CF-9930-A05720C41315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EBE7D0E-F0D6-4EA3-A151-C26BF3138977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118A379-1639-4C1C-9E5B-A39F1CD0A9D9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8DE972F-9FF1-4743-BF7F-15CC5403A6C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95596FA-D3B2-4953-81FC-9958337AF5DC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D57090A-B887-4CA7-A022-90564F12A9A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9749B2E-C284-42A2-A061-B635FBBBD461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A74F4CD-889D-4E91-AB27-CCB11E8677AE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CE97AB5-F3D1-4D1A-8F2F-166F6F85A189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5281A29-9018-48AF-8B81-EB9F71FE5ABA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B1B3F07-773E-4FC0-9A04-73F52683190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89666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867548-8B9A-436D-9AB6-D7EA0AC78267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298AA2D-C933-41C0-B3A0-5E1B5429C617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E45CCA4-1611-4A15-8D76-0CD4304233D4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B20432D-F3B6-4212-B616-45AD62D0A8BA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CB285A8-E7EF-4B70-8B71-2D09BE26853D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D552378-B8A4-40F9-8A64-367F9EC304F0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DED4FF8-FEAE-4CC0-8F5B-9FC2B47E570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4DD2AD2-299E-4049-881B-2BC838B6DB02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30A103C-9EC8-479D-9AEA-2FA30D0B683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FF762A67-8800-4EDC-ACA0-235237807007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C1E21E3-4EFA-46DB-B62D-888B912FEC3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C90FB2C-AED4-45EF-B005-A6F9315E6638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9EFEACE-63D5-4DE9-AE7A-022D10CBBAD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83FC86B-2504-437F-9155-736D3776FBC0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4BE281D9-0C46-4685-8A97-79D102C868ED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B982782-C326-41A6-88DF-60D0069AAC1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C69C78E5-CDD7-45AD-9FAC-A193057F255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5E678CA-56AB-4822-8F79-1B384711F464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4D454C8-0C5D-4654-B977-447674D5459E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FD26513-923A-4E4E-88AB-484CF7F390D1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5F3DAB6-E46E-498F-AC8D-245DB12E86FA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2FF22795-13BD-4A36-8B98-FAE4B2B9567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6E68192-BBC2-4E66-BC2E-A6F5E839A4EC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74CE4AB-E3EC-4485-A9DB-D3875DE15509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8D9197E-BD70-40A3-872D-2F635C47602A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A35C218-6C8E-4E07-9EA7-15A37B43AD66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47F6A62-B1EC-420D-A385-9A9A03966E9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733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49604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30857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78089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9625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E7BB62F-98DA-CAD6-D979-3E425A258A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014702E-10E1-8894-60F3-4EF05985E8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4F646D5-F970-FB12-9064-00E5D2181B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87C3D-0CD7-4DE8-8E20-3325E67BF882}" type="datetimeFigureOut">
              <a:rPr lang="zh-CN" altLang="en-US" smtClean="0"/>
              <a:t>2025/3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5A2F0B0-4298-0B4E-04DF-C98B64B95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8E84F08-F169-0C68-BA76-9859C6FB3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6E31E1-2282-4FFC-841C-8BE00078B94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933026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41284093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0B48D0-DCC2-4C21-98D1-B5D03B96F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78B7EC-62CC-4F5A-9C46-74526ABD9F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4D6088-AC9C-4B82-A3E4-D90FAB00C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4AC8C-5C94-483C-A4F4-170DB7042C76}" type="datetimeFigureOut">
              <a:rPr lang="en-US" smtClean="0"/>
              <a:t>3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88E741-87B0-4F93-9A88-CD42825175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405172-5B30-46A0-BC11-54F2808CE1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60680-2173-4916-BB56-25B77A50C0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59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9384" y="90604"/>
            <a:ext cx="11428379" cy="899665"/>
          </a:xfrm>
          <a:prstGeom prst="rect">
            <a:avLst/>
          </a:prstGeom>
        </p:spPr>
        <p:txBody>
          <a:bodyPr anchor="t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59384" y="719397"/>
            <a:ext cx="11428379" cy="59614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>
            <a:lvl1pPr marL="0" indent="0">
              <a:buFontTx/>
              <a:buNone/>
              <a:defRPr lang="en-US" sz="2600" b="0" cap="none" spc="-10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cs typeface="Segoe UI" pitchFamily="34" charset="0"/>
              </a:defRPr>
            </a:lvl1pPr>
            <a:lvl2pPr>
              <a:defRPr lang="en-US" sz="1568" dirty="0" smtClean="0"/>
            </a:lvl2pPr>
            <a:lvl3pPr>
              <a:defRPr lang="en-US" sz="1568" dirty="0" smtClean="0"/>
            </a:lvl3pPr>
            <a:lvl4pPr>
              <a:defRPr lang="en-US" sz="1372" dirty="0" smtClean="0"/>
            </a:lvl4pPr>
            <a:lvl5pPr>
              <a:defRPr lang="en-US" sz="1372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629400"/>
            <a:ext cx="7848600" cy="2286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z="800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8679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20259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605504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8197">
                      <a:schemeClr val="tx2"/>
                    </a:gs>
                    <a:gs pos="24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63872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433920969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6">
            <a:extLst>
              <a:ext uri="{FF2B5EF4-FFF2-40B4-BE49-F238E27FC236}">
                <a16:creationId xmlns:a16="http://schemas.microsoft.com/office/drawing/2014/main" id="{B242C0D4-5975-4F16-B4CF-4281008D4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688" y="308789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A5BE8B0-B3A3-452E-960B-20F470EDC3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11691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68703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24008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19358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78FD428-37B3-098B-024B-B66B725A4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88D7997-7EC2-F494-14CC-AA8298ED07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57D198E-12B3-AA3E-1750-F3A9172B18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901FAE9-70CC-FD56-19EC-9C8A102E4C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87C3D-0CD7-4DE8-8E20-3325E67BF882}" type="datetimeFigureOut">
              <a:rPr lang="zh-CN" altLang="en-US" smtClean="0"/>
              <a:t>2025/3/1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D7819B2F-6090-6AF0-F699-27D4CFC5A7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0419B110-90DF-8CE3-9810-FEAE6E3238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6E31E1-2282-4FFC-841C-8BE00078B94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1055030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ed Content_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74789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8" y="1447799"/>
            <a:ext cx="11151917" cy="4846319"/>
          </a:xfrm>
        </p:spPr>
        <p:txBody>
          <a:bodyPr/>
          <a:lstStyle>
            <a:lvl1pPr marL="274320">
              <a:defRPr/>
            </a:lvl1pPr>
            <a:lvl2pPr marL="457200"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640080">
              <a:defRPr/>
            </a:lvl3pPr>
            <a:lvl4pPr marL="822960">
              <a:defRPr/>
            </a:lvl4pPr>
            <a:lvl5pPr marL="100584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154135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 floo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0259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no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760521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ability in the Modern Wor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9467723-1F79-4942-A4DE-7A958DBECA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29" t="100" r="29" b="15186"/>
          <a:stretch/>
        </p:blipFill>
        <p:spPr>
          <a:xfrm>
            <a:off x="0" y="0"/>
            <a:ext cx="12190270" cy="688297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15421F1-5462-4A8A-8F6A-BEFC3E8471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-2094" y="0"/>
            <a:ext cx="12190272" cy="6882978"/>
          </a:xfrm>
          <a:prstGeom prst="rect">
            <a:avLst/>
          </a:prstGeom>
          <a:solidFill>
            <a:srgbClr val="000000">
              <a:alpha val="75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solidFill>
                  <a:sysClr val="windowText" lastClr="000000"/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B1EC653-4AE2-46DE-B943-C4145560F4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10068113" y="412235"/>
            <a:ext cx="2124250" cy="4157360"/>
          </a:xfrm>
          <a:custGeom>
            <a:avLst/>
            <a:gdLst>
              <a:gd name="connsiteX0" fmla="*/ 2124546 w 2124552"/>
              <a:gd name="connsiteY0" fmla="*/ 0 h 4309204"/>
              <a:gd name="connsiteX1" fmla="*/ 2120341 w 2124552"/>
              <a:gd name="connsiteY1" fmla="*/ 3735089 h 4309204"/>
              <a:gd name="connsiteX2" fmla="*/ 2120113 w 2124552"/>
              <a:gd name="connsiteY2" fmla="*/ 3963333 h 4309204"/>
              <a:gd name="connsiteX3" fmla="*/ 61596 w 2124552"/>
              <a:gd name="connsiteY3" fmla="*/ 4157950 h 4309204"/>
              <a:gd name="connsiteX4" fmla="*/ 66876 w 2124552"/>
              <a:gd name="connsiteY4" fmla="*/ 4184105 h 4309204"/>
              <a:gd name="connsiteX5" fmla="*/ 43140 w 2124552"/>
              <a:gd name="connsiteY5" fmla="*/ 4301675 h 4309204"/>
              <a:gd name="connsiteX6" fmla="*/ 39053 w 2124552"/>
              <a:gd name="connsiteY6" fmla="*/ 4309204 h 4309204"/>
              <a:gd name="connsiteX7" fmla="*/ 52064 w 2124552"/>
              <a:gd name="connsiteY7" fmla="*/ 4267289 h 4309204"/>
              <a:gd name="connsiteX8" fmla="*/ 58201 w 2124552"/>
              <a:gd name="connsiteY8" fmla="*/ 4206416 h 4309204"/>
              <a:gd name="connsiteX9" fmla="*/ 6616 w 2124552"/>
              <a:gd name="connsiteY9" fmla="*/ 4037540 h 4309204"/>
              <a:gd name="connsiteX10" fmla="*/ 0 w 2124552"/>
              <a:gd name="connsiteY10" fmla="*/ 4029521 h 4309204"/>
              <a:gd name="connsiteX11" fmla="*/ 2124546 w 2124552"/>
              <a:gd name="connsiteY11" fmla="*/ 0 h 4309204"/>
              <a:gd name="connsiteX0" fmla="*/ 2124546 w 2124552"/>
              <a:gd name="connsiteY0" fmla="*/ 0 h 4301675"/>
              <a:gd name="connsiteX1" fmla="*/ 2120341 w 2124552"/>
              <a:gd name="connsiteY1" fmla="*/ 3735089 h 4301675"/>
              <a:gd name="connsiteX2" fmla="*/ 2120113 w 2124552"/>
              <a:gd name="connsiteY2" fmla="*/ 3963333 h 4301675"/>
              <a:gd name="connsiteX3" fmla="*/ 61596 w 2124552"/>
              <a:gd name="connsiteY3" fmla="*/ 4157950 h 4301675"/>
              <a:gd name="connsiteX4" fmla="*/ 66876 w 2124552"/>
              <a:gd name="connsiteY4" fmla="*/ 4184105 h 4301675"/>
              <a:gd name="connsiteX5" fmla="*/ 43140 w 2124552"/>
              <a:gd name="connsiteY5" fmla="*/ 4301675 h 4301675"/>
              <a:gd name="connsiteX6" fmla="*/ 52064 w 2124552"/>
              <a:gd name="connsiteY6" fmla="*/ 4267289 h 4301675"/>
              <a:gd name="connsiteX7" fmla="*/ 58201 w 2124552"/>
              <a:gd name="connsiteY7" fmla="*/ 4206416 h 4301675"/>
              <a:gd name="connsiteX8" fmla="*/ 6616 w 2124552"/>
              <a:gd name="connsiteY8" fmla="*/ 4037540 h 4301675"/>
              <a:gd name="connsiteX9" fmla="*/ 0 w 2124552"/>
              <a:gd name="connsiteY9" fmla="*/ 4029521 h 4301675"/>
              <a:gd name="connsiteX10" fmla="*/ 2124546 w 2124552"/>
              <a:gd name="connsiteY10" fmla="*/ 0 h 4301675"/>
              <a:gd name="connsiteX0" fmla="*/ 2124546 w 2124552"/>
              <a:gd name="connsiteY0" fmla="*/ 0 h 4267289"/>
              <a:gd name="connsiteX1" fmla="*/ 2120341 w 2124552"/>
              <a:gd name="connsiteY1" fmla="*/ 3735089 h 4267289"/>
              <a:gd name="connsiteX2" fmla="*/ 2120113 w 2124552"/>
              <a:gd name="connsiteY2" fmla="*/ 3963333 h 4267289"/>
              <a:gd name="connsiteX3" fmla="*/ 61596 w 2124552"/>
              <a:gd name="connsiteY3" fmla="*/ 4157950 h 4267289"/>
              <a:gd name="connsiteX4" fmla="*/ 66876 w 2124552"/>
              <a:gd name="connsiteY4" fmla="*/ 4184105 h 4267289"/>
              <a:gd name="connsiteX5" fmla="*/ 52064 w 2124552"/>
              <a:gd name="connsiteY5" fmla="*/ 4267289 h 4267289"/>
              <a:gd name="connsiteX6" fmla="*/ 58201 w 2124552"/>
              <a:gd name="connsiteY6" fmla="*/ 4206416 h 4267289"/>
              <a:gd name="connsiteX7" fmla="*/ 6616 w 2124552"/>
              <a:gd name="connsiteY7" fmla="*/ 4037540 h 4267289"/>
              <a:gd name="connsiteX8" fmla="*/ 0 w 2124552"/>
              <a:gd name="connsiteY8" fmla="*/ 4029521 h 4267289"/>
              <a:gd name="connsiteX9" fmla="*/ 2124546 w 2124552"/>
              <a:gd name="connsiteY9" fmla="*/ 0 h 4267289"/>
              <a:gd name="connsiteX0" fmla="*/ 2124546 w 2124552"/>
              <a:gd name="connsiteY0" fmla="*/ 0 h 4214400"/>
              <a:gd name="connsiteX1" fmla="*/ 2120341 w 2124552"/>
              <a:gd name="connsiteY1" fmla="*/ 3735089 h 4214400"/>
              <a:gd name="connsiteX2" fmla="*/ 2120113 w 2124552"/>
              <a:gd name="connsiteY2" fmla="*/ 3963333 h 4214400"/>
              <a:gd name="connsiteX3" fmla="*/ 61596 w 2124552"/>
              <a:gd name="connsiteY3" fmla="*/ 4157950 h 4214400"/>
              <a:gd name="connsiteX4" fmla="*/ 66876 w 2124552"/>
              <a:gd name="connsiteY4" fmla="*/ 4184105 h 4214400"/>
              <a:gd name="connsiteX5" fmla="*/ 58201 w 2124552"/>
              <a:gd name="connsiteY5" fmla="*/ 4206416 h 4214400"/>
              <a:gd name="connsiteX6" fmla="*/ 6616 w 2124552"/>
              <a:gd name="connsiteY6" fmla="*/ 4037540 h 4214400"/>
              <a:gd name="connsiteX7" fmla="*/ 0 w 2124552"/>
              <a:gd name="connsiteY7" fmla="*/ 4029521 h 4214400"/>
              <a:gd name="connsiteX8" fmla="*/ 2124546 w 2124552"/>
              <a:gd name="connsiteY8" fmla="*/ 0 h 4214400"/>
              <a:gd name="connsiteX0" fmla="*/ 2124546 w 2124552"/>
              <a:gd name="connsiteY0" fmla="*/ 0 h 4184105"/>
              <a:gd name="connsiteX1" fmla="*/ 2120341 w 2124552"/>
              <a:gd name="connsiteY1" fmla="*/ 3735089 h 4184105"/>
              <a:gd name="connsiteX2" fmla="*/ 2120113 w 2124552"/>
              <a:gd name="connsiteY2" fmla="*/ 3963333 h 4184105"/>
              <a:gd name="connsiteX3" fmla="*/ 61596 w 2124552"/>
              <a:gd name="connsiteY3" fmla="*/ 4157950 h 4184105"/>
              <a:gd name="connsiteX4" fmla="*/ 66876 w 2124552"/>
              <a:gd name="connsiteY4" fmla="*/ 4184105 h 4184105"/>
              <a:gd name="connsiteX5" fmla="*/ 6616 w 2124552"/>
              <a:gd name="connsiteY5" fmla="*/ 4037540 h 4184105"/>
              <a:gd name="connsiteX6" fmla="*/ 0 w 2124552"/>
              <a:gd name="connsiteY6" fmla="*/ 4029521 h 4184105"/>
              <a:gd name="connsiteX7" fmla="*/ 2124546 w 2124552"/>
              <a:gd name="connsiteY7" fmla="*/ 0 h 4184105"/>
              <a:gd name="connsiteX0" fmla="*/ 2124546 w 2124552"/>
              <a:gd name="connsiteY0" fmla="*/ 0 h 4157950"/>
              <a:gd name="connsiteX1" fmla="*/ 2120341 w 2124552"/>
              <a:gd name="connsiteY1" fmla="*/ 3735089 h 4157950"/>
              <a:gd name="connsiteX2" fmla="*/ 2120113 w 2124552"/>
              <a:gd name="connsiteY2" fmla="*/ 3963333 h 4157950"/>
              <a:gd name="connsiteX3" fmla="*/ 61596 w 2124552"/>
              <a:gd name="connsiteY3" fmla="*/ 4157950 h 4157950"/>
              <a:gd name="connsiteX4" fmla="*/ 6616 w 2124552"/>
              <a:gd name="connsiteY4" fmla="*/ 4037540 h 4157950"/>
              <a:gd name="connsiteX5" fmla="*/ 0 w 2124552"/>
              <a:gd name="connsiteY5" fmla="*/ 4029521 h 4157950"/>
              <a:gd name="connsiteX6" fmla="*/ 2124546 w 2124552"/>
              <a:gd name="connsiteY6" fmla="*/ 0 h 415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24552" h="4157950">
                <a:moveTo>
                  <a:pt x="2124546" y="0"/>
                </a:moveTo>
                <a:cubicBezTo>
                  <a:pt x="2124712" y="1431986"/>
                  <a:pt x="2121742" y="2490059"/>
                  <a:pt x="2120341" y="3735089"/>
                </a:cubicBezTo>
                <a:lnTo>
                  <a:pt x="2120113" y="3963333"/>
                </a:lnTo>
                <a:lnTo>
                  <a:pt x="61596" y="4157950"/>
                </a:lnTo>
                <a:lnTo>
                  <a:pt x="6616" y="4037540"/>
                </a:lnTo>
                <a:lnTo>
                  <a:pt x="0" y="4029521"/>
                </a:lnTo>
                <a:lnTo>
                  <a:pt x="2124546" y="0"/>
                </a:lnTo>
                <a:close/>
              </a:path>
            </a:pathLst>
          </a:custGeom>
          <a:solidFill>
            <a:schemeClr val="bg1">
              <a:alpha val="35000"/>
            </a:schemeClr>
          </a:solidFill>
          <a:ln>
            <a:solidFill>
              <a:schemeClr val="bg2"/>
            </a:solidFill>
          </a:ln>
        </p:spPr>
        <p:txBody>
          <a:bodyPr wrap="square" lIns="182854" tIns="146284" rIns="182854" bIns="146284" rtlCol="0">
            <a:noAutofit/>
          </a:bodyPr>
          <a:lstStyle/>
          <a:p>
            <a:pPr marL="0" marR="0" lvl="0" indent="0" algn="l" defTabSz="91422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2BC8296-800A-4D1C-9495-65AB2F8462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9962790" y="959275"/>
            <a:ext cx="1848156" cy="3465217"/>
            <a:chOff x="10172391" y="1176480"/>
            <a:chExt cx="1848418" cy="3465709"/>
          </a:xfrm>
        </p:grpSpPr>
        <p:sp>
          <p:nvSpPr>
            <p:cNvPr id="6" name="Freeform 102">
              <a:extLst>
                <a:ext uri="{FF2B5EF4-FFF2-40B4-BE49-F238E27FC236}">
                  <a16:creationId xmlns:a16="http://schemas.microsoft.com/office/drawing/2014/main" id="{9E514DAB-D3EB-4841-BCB8-C608185C21A6}"/>
                </a:ext>
              </a:extLst>
            </p:cNvPr>
            <p:cNvSpPr/>
            <p:nvPr/>
          </p:nvSpPr>
          <p:spPr bwMode="auto">
            <a:xfrm flipV="1">
              <a:off x="10236541" y="1176480"/>
              <a:ext cx="1784268" cy="3418002"/>
            </a:xfrm>
            <a:custGeom>
              <a:avLst/>
              <a:gdLst>
                <a:gd name="connsiteX0" fmla="*/ 0 w 3192378"/>
                <a:gd name="connsiteY0" fmla="*/ 0 h 818147"/>
                <a:gd name="connsiteX1" fmla="*/ 2374231 w 3192378"/>
                <a:gd name="connsiteY1" fmla="*/ 0 h 818147"/>
                <a:gd name="connsiteX2" fmla="*/ 3192378 w 3192378"/>
                <a:gd name="connsiteY2" fmla="*/ 818147 h 818147"/>
                <a:gd name="connsiteX0" fmla="*/ 0 w 4731315"/>
                <a:gd name="connsiteY0" fmla="*/ 0 h 2357084"/>
                <a:gd name="connsiteX1" fmla="*/ 2374231 w 4731315"/>
                <a:gd name="connsiteY1" fmla="*/ 0 h 2357084"/>
                <a:gd name="connsiteX2" fmla="*/ 4731315 w 4731315"/>
                <a:gd name="connsiteY2" fmla="*/ 2357084 h 2357084"/>
                <a:gd name="connsiteX0" fmla="*/ 0 w 5028302"/>
                <a:gd name="connsiteY0" fmla="*/ 6750 h 2357084"/>
                <a:gd name="connsiteX1" fmla="*/ 2671218 w 5028302"/>
                <a:gd name="connsiteY1" fmla="*/ 0 h 2357084"/>
                <a:gd name="connsiteX2" fmla="*/ 5028302 w 5028302"/>
                <a:gd name="connsiteY2" fmla="*/ 2357084 h 2357084"/>
                <a:gd name="connsiteX0" fmla="*/ 0 w 5183546"/>
                <a:gd name="connsiteY0" fmla="*/ 6750 h 2357084"/>
                <a:gd name="connsiteX1" fmla="*/ 2826462 w 5183546"/>
                <a:gd name="connsiteY1" fmla="*/ 0 h 2357084"/>
                <a:gd name="connsiteX2" fmla="*/ 5183546 w 5183546"/>
                <a:gd name="connsiteY2" fmla="*/ 2357084 h 2357084"/>
                <a:gd name="connsiteX0" fmla="*/ 0 w 2357084"/>
                <a:gd name="connsiteY0" fmla="*/ 0 h 2357084"/>
                <a:gd name="connsiteX1" fmla="*/ 2357084 w 2357084"/>
                <a:gd name="connsiteY1" fmla="*/ 2357084 h 2357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7084" h="2357084">
                  <a:moveTo>
                    <a:pt x="0" y="0"/>
                  </a:moveTo>
                  <a:lnTo>
                    <a:pt x="2357084" y="2357084"/>
                  </a:lnTo>
                </a:path>
              </a:pathLst>
            </a:custGeom>
            <a:noFill/>
            <a:ln w="19050">
              <a:solidFill>
                <a:schemeClr val="bg2"/>
              </a:solidFill>
              <a:prstDash val="sysDash"/>
              <a:headEnd type="none" w="med" len="med"/>
              <a:tailEnd type="triangl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Freeform 103">
              <a:extLst>
                <a:ext uri="{FF2B5EF4-FFF2-40B4-BE49-F238E27FC236}">
                  <a16:creationId xmlns:a16="http://schemas.microsoft.com/office/drawing/2014/main" id="{04026D58-A3E2-40D4-BD3D-49F6BEEA9AAD}"/>
                </a:ext>
              </a:extLst>
            </p:cNvPr>
            <p:cNvSpPr/>
            <p:nvPr/>
          </p:nvSpPr>
          <p:spPr bwMode="auto">
            <a:xfrm flipV="1">
              <a:off x="10172391" y="1501713"/>
              <a:ext cx="1593735" cy="3053011"/>
            </a:xfrm>
            <a:custGeom>
              <a:avLst/>
              <a:gdLst>
                <a:gd name="connsiteX0" fmla="*/ 0 w 3192378"/>
                <a:gd name="connsiteY0" fmla="*/ 0 h 818147"/>
                <a:gd name="connsiteX1" fmla="*/ 2374231 w 3192378"/>
                <a:gd name="connsiteY1" fmla="*/ 0 h 818147"/>
                <a:gd name="connsiteX2" fmla="*/ 3192378 w 3192378"/>
                <a:gd name="connsiteY2" fmla="*/ 818147 h 818147"/>
                <a:gd name="connsiteX0" fmla="*/ 0 w 4731315"/>
                <a:gd name="connsiteY0" fmla="*/ 0 h 2357084"/>
                <a:gd name="connsiteX1" fmla="*/ 2374231 w 4731315"/>
                <a:gd name="connsiteY1" fmla="*/ 0 h 2357084"/>
                <a:gd name="connsiteX2" fmla="*/ 4731315 w 4731315"/>
                <a:gd name="connsiteY2" fmla="*/ 2357084 h 2357084"/>
                <a:gd name="connsiteX0" fmla="*/ 0 w 5028302"/>
                <a:gd name="connsiteY0" fmla="*/ 6750 h 2357084"/>
                <a:gd name="connsiteX1" fmla="*/ 2671218 w 5028302"/>
                <a:gd name="connsiteY1" fmla="*/ 0 h 2357084"/>
                <a:gd name="connsiteX2" fmla="*/ 5028302 w 5028302"/>
                <a:gd name="connsiteY2" fmla="*/ 2357084 h 2357084"/>
                <a:gd name="connsiteX0" fmla="*/ 0 w 5183546"/>
                <a:gd name="connsiteY0" fmla="*/ 6750 h 2357084"/>
                <a:gd name="connsiteX1" fmla="*/ 2826462 w 5183546"/>
                <a:gd name="connsiteY1" fmla="*/ 0 h 2357084"/>
                <a:gd name="connsiteX2" fmla="*/ 5183546 w 5183546"/>
                <a:gd name="connsiteY2" fmla="*/ 2357084 h 2357084"/>
                <a:gd name="connsiteX0" fmla="*/ 0 w 2357084"/>
                <a:gd name="connsiteY0" fmla="*/ 0 h 2357084"/>
                <a:gd name="connsiteX1" fmla="*/ 2357084 w 2357084"/>
                <a:gd name="connsiteY1" fmla="*/ 2357084 h 2357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7084" h="2357084">
                  <a:moveTo>
                    <a:pt x="0" y="0"/>
                  </a:moveTo>
                  <a:lnTo>
                    <a:pt x="2357084" y="2357084"/>
                  </a:lnTo>
                </a:path>
              </a:pathLst>
            </a:custGeom>
            <a:noFill/>
            <a:ln w="19050">
              <a:solidFill>
                <a:schemeClr val="bg2"/>
              </a:solidFill>
              <a:prstDash val="sysDash"/>
              <a:headEnd type="none" w="med" len="med"/>
              <a:tailEnd type="triangl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Freeform 104">
              <a:extLst>
                <a:ext uri="{FF2B5EF4-FFF2-40B4-BE49-F238E27FC236}">
                  <a16:creationId xmlns:a16="http://schemas.microsoft.com/office/drawing/2014/main" id="{CD8009B3-4357-45C7-BB0E-F8B0B7606683}"/>
                </a:ext>
              </a:extLst>
            </p:cNvPr>
            <p:cNvSpPr/>
            <p:nvPr/>
          </p:nvSpPr>
          <p:spPr bwMode="auto">
            <a:xfrm flipV="1">
              <a:off x="10283708" y="1411745"/>
              <a:ext cx="1700922" cy="3230444"/>
            </a:xfrm>
            <a:custGeom>
              <a:avLst/>
              <a:gdLst>
                <a:gd name="connsiteX0" fmla="*/ 0 w 3192378"/>
                <a:gd name="connsiteY0" fmla="*/ 0 h 818147"/>
                <a:gd name="connsiteX1" fmla="*/ 2374231 w 3192378"/>
                <a:gd name="connsiteY1" fmla="*/ 0 h 818147"/>
                <a:gd name="connsiteX2" fmla="*/ 3192378 w 3192378"/>
                <a:gd name="connsiteY2" fmla="*/ 818147 h 818147"/>
                <a:gd name="connsiteX0" fmla="*/ 0 w 4731315"/>
                <a:gd name="connsiteY0" fmla="*/ 0 h 2357084"/>
                <a:gd name="connsiteX1" fmla="*/ 2374231 w 4731315"/>
                <a:gd name="connsiteY1" fmla="*/ 0 h 2357084"/>
                <a:gd name="connsiteX2" fmla="*/ 4731315 w 4731315"/>
                <a:gd name="connsiteY2" fmla="*/ 2357084 h 2357084"/>
                <a:gd name="connsiteX0" fmla="*/ 0 w 5028302"/>
                <a:gd name="connsiteY0" fmla="*/ 6750 h 2357084"/>
                <a:gd name="connsiteX1" fmla="*/ 2671218 w 5028302"/>
                <a:gd name="connsiteY1" fmla="*/ 0 h 2357084"/>
                <a:gd name="connsiteX2" fmla="*/ 5028302 w 5028302"/>
                <a:gd name="connsiteY2" fmla="*/ 2357084 h 2357084"/>
                <a:gd name="connsiteX0" fmla="*/ 0 w 5183546"/>
                <a:gd name="connsiteY0" fmla="*/ 6750 h 2357084"/>
                <a:gd name="connsiteX1" fmla="*/ 2826462 w 5183546"/>
                <a:gd name="connsiteY1" fmla="*/ 0 h 2357084"/>
                <a:gd name="connsiteX2" fmla="*/ 5183546 w 5183546"/>
                <a:gd name="connsiteY2" fmla="*/ 2357084 h 2357084"/>
                <a:gd name="connsiteX0" fmla="*/ 0 w 2357084"/>
                <a:gd name="connsiteY0" fmla="*/ 0 h 2357084"/>
                <a:gd name="connsiteX1" fmla="*/ 2357084 w 2357084"/>
                <a:gd name="connsiteY1" fmla="*/ 2357084 h 2357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7084" h="2357084">
                  <a:moveTo>
                    <a:pt x="0" y="0"/>
                  </a:moveTo>
                  <a:lnTo>
                    <a:pt x="2357084" y="2357084"/>
                  </a:lnTo>
                </a:path>
              </a:pathLst>
            </a:custGeom>
            <a:noFill/>
            <a:ln w="19050">
              <a:solidFill>
                <a:schemeClr val="bg2"/>
              </a:solidFill>
              <a:prstDash val="sysDash"/>
              <a:headEnd type="none" w="med" len="med"/>
              <a:tailEnd type="triangl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A6E9DAA-C74D-4FEC-B6E1-AE64EC93C2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9828706" y="2343351"/>
            <a:ext cx="0" cy="1944348"/>
          </a:xfrm>
          <a:prstGeom prst="line">
            <a:avLst/>
          </a:prstGeom>
          <a:ln w="19050">
            <a:solidFill>
              <a:schemeClr val="bg1"/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B1E0C74E-95F3-4A12-931C-180E49D46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9733805" y="2258267"/>
            <a:ext cx="182854" cy="182854"/>
          </a:xfrm>
          <a:prstGeom prst="ellipse">
            <a:avLst/>
          </a:prstGeom>
          <a:solidFill>
            <a:srgbClr val="0078D7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E52A952-F7B1-40D4-95BB-E0367BAB0B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9733805" y="2821586"/>
            <a:ext cx="182854" cy="182854"/>
          </a:xfrm>
          <a:prstGeom prst="ellipse">
            <a:avLst/>
          </a:prstGeom>
          <a:solidFill>
            <a:srgbClr val="0078D7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6067DFC-763A-475B-B4D2-37B0B50D04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9733805" y="3405956"/>
            <a:ext cx="182854" cy="182854"/>
          </a:xfrm>
          <a:prstGeom prst="ellipse">
            <a:avLst/>
          </a:prstGeom>
          <a:solidFill>
            <a:srgbClr val="0078D7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78690A5-014C-4158-85D0-D643812056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655690" y="4380642"/>
            <a:ext cx="11567347" cy="1125538"/>
          </a:xfrm>
          <a:custGeom>
            <a:avLst/>
            <a:gdLst>
              <a:gd name="connsiteX0" fmla="*/ 11568987 w 11568987"/>
              <a:gd name="connsiteY0" fmla="*/ 0 h 1125697"/>
              <a:gd name="connsiteX1" fmla="*/ 11568987 w 11568987"/>
              <a:gd name="connsiteY1" fmla="*/ 1105538 h 1125697"/>
              <a:gd name="connsiteX2" fmla="*/ 9191698 w 11568987"/>
              <a:gd name="connsiteY2" fmla="*/ 1105538 h 1125697"/>
              <a:gd name="connsiteX3" fmla="*/ 9191698 w 11568987"/>
              <a:gd name="connsiteY3" fmla="*/ 906404 h 1125697"/>
              <a:gd name="connsiteX4" fmla="*/ 9190469 w 11568987"/>
              <a:gd name="connsiteY4" fmla="*/ 906407 h 1125697"/>
              <a:gd name="connsiteX5" fmla="*/ 9190469 w 11568987"/>
              <a:gd name="connsiteY5" fmla="*/ 1105538 h 1125697"/>
              <a:gd name="connsiteX6" fmla="*/ 42333 w 11568987"/>
              <a:gd name="connsiteY6" fmla="*/ 1125697 h 1125697"/>
              <a:gd name="connsiteX7" fmla="*/ 0 w 11568987"/>
              <a:gd name="connsiteY7" fmla="*/ 1091576 h 1125697"/>
              <a:gd name="connsiteX8" fmla="*/ 8907725 w 11568987"/>
              <a:gd name="connsiteY8" fmla="*/ 267416 h 1125697"/>
              <a:gd name="connsiteX9" fmla="*/ 8926633 w 11568987"/>
              <a:gd name="connsiteY9" fmla="*/ 361073 h 1125697"/>
              <a:gd name="connsiteX10" fmla="*/ 9115124 w 11568987"/>
              <a:gd name="connsiteY10" fmla="*/ 531970 h 1125697"/>
              <a:gd name="connsiteX11" fmla="*/ 9190469 w 11568987"/>
              <a:gd name="connsiteY11" fmla="*/ 543361 h 1125697"/>
              <a:gd name="connsiteX12" fmla="*/ 9190469 w 11568987"/>
              <a:gd name="connsiteY12" fmla="*/ 716581 h 1125697"/>
              <a:gd name="connsiteX13" fmla="*/ 9191698 w 11568987"/>
              <a:gd name="connsiteY13" fmla="*/ 716468 h 1125697"/>
              <a:gd name="connsiteX14" fmla="*/ 9191698 w 11568987"/>
              <a:gd name="connsiteY14" fmla="*/ 521467 h 1125697"/>
              <a:gd name="connsiteX15" fmla="*/ 9209265 w 11568987"/>
              <a:gd name="connsiteY15" fmla="*/ 523238 h 1125697"/>
              <a:gd name="connsiteX16" fmla="*/ 9511311 w 11568987"/>
              <a:gd name="connsiteY16" fmla="*/ 221192 h 1125697"/>
              <a:gd name="connsiteX17" fmla="*/ 9506031 w 11568987"/>
              <a:gd name="connsiteY17" fmla="*/ 195037 h 1125697"/>
              <a:gd name="connsiteX0" fmla="*/ 11568987 w 11568987"/>
              <a:gd name="connsiteY0" fmla="*/ 0 h 1125697"/>
              <a:gd name="connsiteX1" fmla="*/ 11568987 w 11568987"/>
              <a:gd name="connsiteY1" fmla="*/ 1105538 h 1125697"/>
              <a:gd name="connsiteX2" fmla="*/ 9191698 w 11568987"/>
              <a:gd name="connsiteY2" fmla="*/ 1105538 h 1125697"/>
              <a:gd name="connsiteX3" fmla="*/ 9191698 w 11568987"/>
              <a:gd name="connsiteY3" fmla="*/ 906404 h 1125697"/>
              <a:gd name="connsiteX4" fmla="*/ 9190469 w 11568987"/>
              <a:gd name="connsiteY4" fmla="*/ 1105538 h 1125697"/>
              <a:gd name="connsiteX5" fmla="*/ 42333 w 11568987"/>
              <a:gd name="connsiteY5" fmla="*/ 1125697 h 1125697"/>
              <a:gd name="connsiteX6" fmla="*/ 0 w 11568987"/>
              <a:gd name="connsiteY6" fmla="*/ 1091576 h 1125697"/>
              <a:gd name="connsiteX7" fmla="*/ 8907725 w 11568987"/>
              <a:gd name="connsiteY7" fmla="*/ 267416 h 1125697"/>
              <a:gd name="connsiteX8" fmla="*/ 8926633 w 11568987"/>
              <a:gd name="connsiteY8" fmla="*/ 361073 h 1125697"/>
              <a:gd name="connsiteX9" fmla="*/ 9115124 w 11568987"/>
              <a:gd name="connsiteY9" fmla="*/ 531970 h 1125697"/>
              <a:gd name="connsiteX10" fmla="*/ 9190469 w 11568987"/>
              <a:gd name="connsiteY10" fmla="*/ 543361 h 1125697"/>
              <a:gd name="connsiteX11" fmla="*/ 9190469 w 11568987"/>
              <a:gd name="connsiteY11" fmla="*/ 716581 h 1125697"/>
              <a:gd name="connsiteX12" fmla="*/ 9191698 w 11568987"/>
              <a:gd name="connsiteY12" fmla="*/ 716468 h 1125697"/>
              <a:gd name="connsiteX13" fmla="*/ 9191698 w 11568987"/>
              <a:gd name="connsiteY13" fmla="*/ 521467 h 1125697"/>
              <a:gd name="connsiteX14" fmla="*/ 9209265 w 11568987"/>
              <a:gd name="connsiteY14" fmla="*/ 523238 h 1125697"/>
              <a:gd name="connsiteX15" fmla="*/ 9511311 w 11568987"/>
              <a:gd name="connsiteY15" fmla="*/ 221192 h 1125697"/>
              <a:gd name="connsiteX16" fmla="*/ 9506031 w 11568987"/>
              <a:gd name="connsiteY16" fmla="*/ 195037 h 1125697"/>
              <a:gd name="connsiteX17" fmla="*/ 11568987 w 11568987"/>
              <a:gd name="connsiteY17" fmla="*/ 0 h 1125697"/>
              <a:gd name="connsiteX0" fmla="*/ 11568987 w 11568987"/>
              <a:gd name="connsiteY0" fmla="*/ 0 h 1125697"/>
              <a:gd name="connsiteX1" fmla="*/ 11568987 w 11568987"/>
              <a:gd name="connsiteY1" fmla="*/ 1105538 h 1125697"/>
              <a:gd name="connsiteX2" fmla="*/ 9191698 w 11568987"/>
              <a:gd name="connsiteY2" fmla="*/ 1105538 h 1125697"/>
              <a:gd name="connsiteX3" fmla="*/ 9190469 w 11568987"/>
              <a:gd name="connsiteY3" fmla="*/ 1105538 h 1125697"/>
              <a:gd name="connsiteX4" fmla="*/ 42333 w 11568987"/>
              <a:gd name="connsiteY4" fmla="*/ 1125697 h 1125697"/>
              <a:gd name="connsiteX5" fmla="*/ 0 w 11568987"/>
              <a:gd name="connsiteY5" fmla="*/ 1091576 h 1125697"/>
              <a:gd name="connsiteX6" fmla="*/ 8907725 w 11568987"/>
              <a:gd name="connsiteY6" fmla="*/ 267416 h 1125697"/>
              <a:gd name="connsiteX7" fmla="*/ 8926633 w 11568987"/>
              <a:gd name="connsiteY7" fmla="*/ 361073 h 1125697"/>
              <a:gd name="connsiteX8" fmla="*/ 9115124 w 11568987"/>
              <a:gd name="connsiteY8" fmla="*/ 531970 h 1125697"/>
              <a:gd name="connsiteX9" fmla="*/ 9190469 w 11568987"/>
              <a:gd name="connsiteY9" fmla="*/ 543361 h 1125697"/>
              <a:gd name="connsiteX10" fmla="*/ 9190469 w 11568987"/>
              <a:gd name="connsiteY10" fmla="*/ 716581 h 1125697"/>
              <a:gd name="connsiteX11" fmla="*/ 9191698 w 11568987"/>
              <a:gd name="connsiteY11" fmla="*/ 716468 h 1125697"/>
              <a:gd name="connsiteX12" fmla="*/ 9191698 w 11568987"/>
              <a:gd name="connsiteY12" fmla="*/ 521467 h 1125697"/>
              <a:gd name="connsiteX13" fmla="*/ 9209265 w 11568987"/>
              <a:gd name="connsiteY13" fmla="*/ 523238 h 1125697"/>
              <a:gd name="connsiteX14" fmla="*/ 9511311 w 11568987"/>
              <a:gd name="connsiteY14" fmla="*/ 221192 h 1125697"/>
              <a:gd name="connsiteX15" fmla="*/ 9506031 w 11568987"/>
              <a:gd name="connsiteY15" fmla="*/ 195037 h 1125697"/>
              <a:gd name="connsiteX16" fmla="*/ 11568987 w 11568987"/>
              <a:gd name="connsiteY16" fmla="*/ 0 h 1125697"/>
              <a:gd name="connsiteX0" fmla="*/ 11568987 w 11568987"/>
              <a:gd name="connsiteY0" fmla="*/ 0 h 1125697"/>
              <a:gd name="connsiteX1" fmla="*/ 11568987 w 11568987"/>
              <a:gd name="connsiteY1" fmla="*/ 1105538 h 1125697"/>
              <a:gd name="connsiteX2" fmla="*/ 9191698 w 11568987"/>
              <a:gd name="connsiteY2" fmla="*/ 1105538 h 1125697"/>
              <a:gd name="connsiteX3" fmla="*/ 42333 w 11568987"/>
              <a:gd name="connsiteY3" fmla="*/ 1125697 h 1125697"/>
              <a:gd name="connsiteX4" fmla="*/ 0 w 11568987"/>
              <a:gd name="connsiteY4" fmla="*/ 1091576 h 1125697"/>
              <a:gd name="connsiteX5" fmla="*/ 8907725 w 11568987"/>
              <a:gd name="connsiteY5" fmla="*/ 267416 h 1125697"/>
              <a:gd name="connsiteX6" fmla="*/ 8926633 w 11568987"/>
              <a:gd name="connsiteY6" fmla="*/ 361073 h 1125697"/>
              <a:gd name="connsiteX7" fmla="*/ 9115124 w 11568987"/>
              <a:gd name="connsiteY7" fmla="*/ 531970 h 1125697"/>
              <a:gd name="connsiteX8" fmla="*/ 9190469 w 11568987"/>
              <a:gd name="connsiteY8" fmla="*/ 543361 h 1125697"/>
              <a:gd name="connsiteX9" fmla="*/ 9190469 w 11568987"/>
              <a:gd name="connsiteY9" fmla="*/ 716581 h 1125697"/>
              <a:gd name="connsiteX10" fmla="*/ 9191698 w 11568987"/>
              <a:gd name="connsiteY10" fmla="*/ 716468 h 1125697"/>
              <a:gd name="connsiteX11" fmla="*/ 9191698 w 11568987"/>
              <a:gd name="connsiteY11" fmla="*/ 521467 h 1125697"/>
              <a:gd name="connsiteX12" fmla="*/ 9209265 w 11568987"/>
              <a:gd name="connsiteY12" fmla="*/ 523238 h 1125697"/>
              <a:gd name="connsiteX13" fmla="*/ 9511311 w 11568987"/>
              <a:gd name="connsiteY13" fmla="*/ 221192 h 1125697"/>
              <a:gd name="connsiteX14" fmla="*/ 9506031 w 11568987"/>
              <a:gd name="connsiteY14" fmla="*/ 195037 h 1125697"/>
              <a:gd name="connsiteX15" fmla="*/ 11568987 w 11568987"/>
              <a:gd name="connsiteY15" fmla="*/ 0 h 1125697"/>
              <a:gd name="connsiteX0" fmla="*/ 11568987 w 11568987"/>
              <a:gd name="connsiteY0" fmla="*/ 0 h 1125697"/>
              <a:gd name="connsiteX1" fmla="*/ 11568987 w 11568987"/>
              <a:gd name="connsiteY1" fmla="*/ 1105538 h 1125697"/>
              <a:gd name="connsiteX2" fmla="*/ 42333 w 11568987"/>
              <a:gd name="connsiteY2" fmla="*/ 1125697 h 1125697"/>
              <a:gd name="connsiteX3" fmla="*/ 0 w 11568987"/>
              <a:gd name="connsiteY3" fmla="*/ 1091576 h 1125697"/>
              <a:gd name="connsiteX4" fmla="*/ 8907725 w 11568987"/>
              <a:gd name="connsiteY4" fmla="*/ 267416 h 1125697"/>
              <a:gd name="connsiteX5" fmla="*/ 8926633 w 11568987"/>
              <a:gd name="connsiteY5" fmla="*/ 361073 h 1125697"/>
              <a:gd name="connsiteX6" fmla="*/ 9115124 w 11568987"/>
              <a:gd name="connsiteY6" fmla="*/ 531970 h 1125697"/>
              <a:gd name="connsiteX7" fmla="*/ 9190469 w 11568987"/>
              <a:gd name="connsiteY7" fmla="*/ 543361 h 1125697"/>
              <a:gd name="connsiteX8" fmla="*/ 9190469 w 11568987"/>
              <a:gd name="connsiteY8" fmla="*/ 716581 h 1125697"/>
              <a:gd name="connsiteX9" fmla="*/ 9191698 w 11568987"/>
              <a:gd name="connsiteY9" fmla="*/ 716468 h 1125697"/>
              <a:gd name="connsiteX10" fmla="*/ 9191698 w 11568987"/>
              <a:gd name="connsiteY10" fmla="*/ 521467 h 1125697"/>
              <a:gd name="connsiteX11" fmla="*/ 9209265 w 11568987"/>
              <a:gd name="connsiteY11" fmla="*/ 523238 h 1125697"/>
              <a:gd name="connsiteX12" fmla="*/ 9511311 w 11568987"/>
              <a:gd name="connsiteY12" fmla="*/ 221192 h 1125697"/>
              <a:gd name="connsiteX13" fmla="*/ 9506031 w 11568987"/>
              <a:gd name="connsiteY13" fmla="*/ 195037 h 1125697"/>
              <a:gd name="connsiteX14" fmla="*/ 11568987 w 11568987"/>
              <a:gd name="connsiteY14" fmla="*/ 0 h 1125697"/>
              <a:gd name="connsiteX0" fmla="*/ 11568987 w 11568987"/>
              <a:gd name="connsiteY0" fmla="*/ 0 h 1125697"/>
              <a:gd name="connsiteX1" fmla="*/ 11568987 w 11568987"/>
              <a:gd name="connsiteY1" fmla="*/ 1105538 h 1125697"/>
              <a:gd name="connsiteX2" fmla="*/ 42333 w 11568987"/>
              <a:gd name="connsiteY2" fmla="*/ 1125697 h 1125697"/>
              <a:gd name="connsiteX3" fmla="*/ 0 w 11568987"/>
              <a:gd name="connsiteY3" fmla="*/ 1091576 h 1125697"/>
              <a:gd name="connsiteX4" fmla="*/ 8907725 w 11568987"/>
              <a:gd name="connsiteY4" fmla="*/ 267416 h 1125697"/>
              <a:gd name="connsiteX5" fmla="*/ 8926633 w 11568987"/>
              <a:gd name="connsiteY5" fmla="*/ 361073 h 1125697"/>
              <a:gd name="connsiteX6" fmla="*/ 9115124 w 11568987"/>
              <a:gd name="connsiteY6" fmla="*/ 531970 h 1125697"/>
              <a:gd name="connsiteX7" fmla="*/ 9190469 w 11568987"/>
              <a:gd name="connsiteY7" fmla="*/ 543361 h 1125697"/>
              <a:gd name="connsiteX8" fmla="*/ 9190469 w 11568987"/>
              <a:gd name="connsiteY8" fmla="*/ 716581 h 1125697"/>
              <a:gd name="connsiteX9" fmla="*/ 9191698 w 11568987"/>
              <a:gd name="connsiteY9" fmla="*/ 521467 h 1125697"/>
              <a:gd name="connsiteX10" fmla="*/ 9209265 w 11568987"/>
              <a:gd name="connsiteY10" fmla="*/ 523238 h 1125697"/>
              <a:gd name="connsiteX11" fmla="*/ 9511311 w 11568987"/>
              <a:gd name="connsiteY11" fmla="*/ 221192 h 1125697"/>
              <a:gd name="connsiteX12" fmla="*/ 9506031 w 11568987"/>
              <a:gd name="connsiteY12" fmla="*/ 195037 h 1125697"/>
              <a:gd name="connsiteX13" fmla="*/ 11568987 w 11568987"/>
              <a:gd name="connsiteY13" fmla="*/ 0 h 1125697"/>
              <a:gd name="connsiteX0" fmla="*/ 11568987 w 11568987"/>
              <a:gd name="connsiteY0" fmla="*/ 0 h 1125697"/>
              <a:gd name="connsiteX1" fmla="*/ 11568987 w 11568987"/>
              <a:gd name="connsiteY1" fmla="*/ 1105538 h 1125697"/>
              <a:gd name="connsiteX2" fmla="*/ 42333 w 11568987"/>
              <a:gd name="connsiteY2" fmla="*/ 1125697 h 1125697"/>
              <a:gd name="connsiteX3" fmla="*/ 0 w 11568987"/>
              <a:gd name="connsiteY3" fmla="*/ 1091576 h 1125697"/>
              <a:gd name="connsiteX4" fmla="*/ 8907725 w 11568987"/>
              <a:gd name="connsiteY4" fmla="*/ 267416 h 1125697"/>
              <a:gd name="connsiteX5" fmla="*/ 8926633 w 11568987"/>
              <a:gd name="connsiteY5" fmla="*/ 361073 h 1125697"/>
              <a:gd name="connsiteX6" fmla="*/ 9115124 w 11568987"/>
              <a:gd name="connsiteY6" fmla="*/ 531970 h 1125697"/>
              <a:gd name="connsiteX7" fmla="*/ 9190469 w 11568987"/>
              <a:gd name="connsiteY7" fmla="*/ 543361 h 1125697"/>
              <a:gd name="connsiteX8" fmla="*/ 9191698 w 11568987"/>
              <a:gd name="connsiteY8" fmla="*/ 521467 h 1125697"/>
              <a:gd name="connsiteX9" fmla="*/ 9209265 w 11568987"/>
              <a:gd name="connsiteY9" fmla="*/ 523238 h 1125697"/>
              <a:gd name="connsiteX10" fmla="*/ 9511311 w 11568987"/>
              <a:gd name="connsiteY10" fmla="*/ 221192 h 1125697"/>
              <a:gd name="connsiteX11" fmla="*/ 9506031 w 11568987"/>
              <a:gd name="connsiteY11" fmla="*/ 195037 h 1125697"/>
              <a:gd name="connsiteX12" fmla="*/ 11568987 w 11568987"/>
              <a:gd name="connsiteY12" fmla="*/ 0 h 1125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568987" h="1125697">
                <a:moveTo>
                  <a:pt x="11568987" y="0"/>
                </a:moveTo>
                <a:lnTo>
                  <a:pt x="11568987" y="1105538"/>
                </a:lnTo>
                <a:lnTo>
                  <a:pt x="42333" y="1125697"/>
                </a:lnTo>
                <a:lnTo>
                  <a:pt x="0" y="1091576"/>
                </a:lnTo>
                <a:lnTo>
                  <a:pt x="8907725" y="267416"/>
                </a:lnTo>
                <a:lnTo>
                  <a:pt x="8926633" y="361073"/>
                </a:lnTo>
                <a:cubicBezTo>
                  <a:pt x="8961023" y="442380"/>
                  <a:pt x="9030002" y="505494"/>
                  <a:pt x="9115124" y="531970"/>
                </a:cubicBezTo>
                <a:lnTo>
                  <a:pt x="9190469" y="543361"/>
                </a:lnTo>
                <a:cubicBezTo>
                  <a:pt x="9190879" y="536063"/>
                  <a:pt x="9191288" y="528765"/>
                  <a:pt x="9191698" y="521467"/>
                </a:cubicBezTo>
                <a:lnTo>
                  <a:pt x="9209265" y="523238"/>
                </a:lnTo>
                <a:cubicBezTo>
                  <a:pt x="9376080" y="523238"/>
                  <a:pt x="9511311" y="388007"/>
                  <a:pt x="9511311" y="221192"/>
                </a:cubicBezTo>
                <a:lnTo>
                  <a:pt x="9506031" y="195037"/>
                </a:lnTo>
                <a:lnTo>
                  <a:pt x="11568987" y="0"/>
                </a:lnTo>
                <a:close/>
              </a:path>
            </a:pathLst>
          </a:custGeom>
          <a:solidFill>
            <a:schemeClr val="bg1">
              <a:alpha val="35000"/>
            </a:schemeClr>
          </a:solidFill>
          <a:ln>
            <a:noFill/>
          </a:ln>
        </p:spPr>
        <p:txBody>
          <a:bodyPr wrap="square" lIns="182854" tIns="146284" rIns="182854" bIns="146284" rtlCol="0">
            <a:noAutofit/>
          </a:bodyPr>
          <a:lstStyle/>
          <a:p>
            <a:pPr marL="0" marR="0" lvl="0" indent="0" algn="l" defTabSz="91422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B7113C0-5254-448D-B4B3-067558DACE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-13990" y="5485143"/>
            <a:ext cx="12190271" cy="1391906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9AC0CA1-E339-4C6A-8E4A-873C4AC836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 flipV="1">
            <a:off x="865" y="5467208"/>
            <a:ext cx="11922963" cy="13222"/>
          </a:xfrm>
          <a:prstGeom prst="straightConnector1">
            <a:avLst/>
          </a:prstGeom>
          <a:ln w="19050">
            <a:solidFill>
              <a:schemeClr val="bg1"/>
            </a:solidFill>
            <a:prstDash val="sys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FF2B5EF4-FFF2-40B4-BE49-F238E27FC236}">
                <a16:creationId xmlns:a16="http://schemas.microsoft.com/office/drawing/2014/main" id="{D208F1AB-1DF0-4EEA-A1B7-B3AC6A509D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9733805" y="5382067"/>
            <a:ext cx="182854" cy="182854"/>
          </a:xfrm>
          <a:prstGeom prst="ellipse">
            <a:avLst/>
          </a:prstGeom>
          <a:solidFill>
            <a:srgbClr val="0078D7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3E819F-7E92-4E75-8ADE-B602FEB3A6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2685497" y="5657899"/>
            <a:ext cx="0" cy="365708"/>
          </a:xfrm>
          <a:prstGeom prst="line">
            <a:avLst/>
          </a:prstGeom>
          <a:noFill/>
          <a:ln w="19050" cap="flat" cmpd="sng" algn="ctr">
            <a:solidFill>
              <a:schemeClr val="bg2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8D6B3D4-6C58-4573-A957-44DE42705B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9831411" y="5657899"/>
            <a:ext cx="0" cy="365708"/>
          </a:xfrm>
          <a:prstGeom prst="line">
            <a:avLst/>
          </a:prstGeom>
          <a:noFill/>
          <a:ln w="19050" cap="flat" cmpd="sng" algn="ctr">
            <a:solidFill>
              <a:schemeClr val="bg2"/>
            </a:solidFill>
            <a:prstDash val="solid"/>
            <a:headEnd type="none"/>
            <a:tailEnd type="none"/>
          </a:ln>
          <a:effectLst/>
        </p:spPr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id="{6ABBC32E-233A-4AAF-8C23-24093848D8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2586824" y="5382067"/>
            <a:ext cx="182854" cy="182854"/>
          </a:xfrm>
          <a:prstGeom prst="ellipse">
            <a:avLst/>
          </a:prstGeom>
          <a:solidFill>
            <a:srgbClr val="0078D7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9CD2C44-267E-41EE-BD98-0FC88AC83D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 flipV="1">
            <a:off x="583881" y="4632438"/>
            <a:ext cx="8947598" cy="841057"/>
          </a:xfrm>
          <a:prstGeom prst="straightConnector1">
            <a:avLst/>
          </a:prstGeom>
          <a:ln w="19050">
            <a:solidFill>
              <a:schemeClr val="bg2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E6A2523E-DB8F-400E-BE0E-6AD1D98D46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9529746" y="4304376"/>
            <a:ext cx="604005" cy="604005"/>
          </a:xfrm>
          <a:prstGeom prst="ellipse">
            <a:avLst/>
          </a:prstGeom>
          <a:noFill/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4658AA5-3A2F-4634-BDA8-2BEAA95FA2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6274913" y="5657899"/>
            <a:ext cx="0" cy="365708"/>
          </a:xfrm>
          <a:prstGeom prst="line">
            <a:avLst/>
          </a:prstGeom>
          <a:noFill/>
          <a:ln w="19050" cap="flat" cmpd="sng" algn="ctr">
            <a:solidFill>
              <a:schemeClr val="bg2"/>
            </a:solidFill>
            <a:prstDash val="solid"/>
            <a:headEnd type="none"/>
            <a:tailEnd type="none"/>
          </a:ln>
          <a:effectLst/>
        </p:spPr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7633269F-9CFB-4C32-A579-121F1BC7FE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6176240" y="5382067"/>
            <a:ext cx="182854" cy="182854"/>
          </a:xfrm>
          <a:prstGeom prst="ellipse">
            <a:avLst/>
          </a:prstGeom>
          <a:solidFill>
            <a:srgbClr val="0078D7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6BCF4BD-296B-404E-A0DC-A95DC9E7F5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9526335" y="4300526"/>
            <a:ext cx="617942" cy="617942"/>
            <a:chOff x="2750671" y="2758885"/>
            <a:chExt cx="617942" cy="617942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D46AADA-6133-4A00-92E7-D6C9C6CBBADE}"/>
                </a:ext>
              </a:extLst>
            </p:cNvPr>
            <p:cNvSpPr/>
            <p:nvPr/>
          </p:nvSpPr>
          <p:spPr bwMode="auto">
            <a:xfrm>
              <a:off x="2750671" y="2758885"/>
              <a:ext cx="617942" cy="617942"/>
            </a:xfrm>
            <a:prstGeom prst="ellipse">
              <a:avLst/>
            </a:prstGeom>
            <a:solidFill>
              <a:srgbClr val="000C47"/>
            </a:solidFill>
            <a:ln w="539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B049B63A-5A58-429F-B2C4-59E4CFDCE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7502" y="2876550"/>
              <a:ext cx="188647" cy="226922"/>
            </a:xfrm>
            <a:custGeom>
              <a:avLst/>
              <a:gdLst>
                <a:gd name="T0" fmla="*/ 0 w 133"/>
                <a:gd name="T1" fmla="*/ 160 h 160"/>
                <a:gd name="T2" fmla="*/ 133 w 133"/>
                <a:gd name="T3" fmla="*/ 160 h 160"/>
                <a:gd name="T4" fmla="*/ 83 w 133"/>
                <a:gd name="T5" fmla="*/ 96 h 160"/>
                <a:gd name="T6" fmla="*/ 116 w 133"/>
                <a:gd name="T7" fmla="*/ 49 h 160"/>
                <a:gd name="T8" fmla="*/ 67 w 133"/>
                <a:gd name="T9" fmla="*/ 0 h 160"/>
                <a:gd name="T10" fmla="*/ 17 w 133"/>
                <a:gd name="T11" fmla="*/ 49 h 160"/>
                <a:gd name="T12" fmla="*/ 50 w 133"/>
                <a:gd name="T13" fmla="*/ 96 h 160"/>
                <a:gd name="T14" fmla="*/ 0 w 133"/>
                <a:gd name="T15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60">
                  <a:moveTo>
                    <a:pt x="0" y="160"/>
                  </a:moveTo>
                  <a:cubicBezTo>
                    <a:pt x="133" y="160"/>
                    <a:pt x="133" y="160"/>
                    <a:pt x="133" y="160"/>
                  </a:cubicBezTo>
                  <a:cubicBezTo>
                    <a:pt x="133" y="129"/>
                    <a:pt x="112" y="103"/>
                    <a:pt x="83" y="96"/>
                  </a:cubicBezTo>
                  <a:cubicBezTo>
                    <a:pt x="102" y="89"/>
                    <a:pt x="116" y="71"/>
                    <a:pt x="116" y="49"/>
                  </a:cubicBezTo>
                  <a:cubicBezTo>
                    <a:pt x="116" y="22"/>
                    <a:pt x="94" y="0"/>
                    <a:pt x="67" y="0"/>
                  </a:cubicBezTo>
                  <a:cubicBezTo>
                    <a:pt x="40" y="0"/>
                    <a:pt x="17" y="22"/>
                    <a:pt x="17" y="49"/>
                  </a:cubicBezTo>
                  <a:cubicBezTo>
                    <a:pt x="17" y="71"/>
                    <a:pt x="31" y="89"/>
                    <a:pt x="50" y="96"/>
                  </a:cubicBezTo>
                  <a:cubicBezTo>
                    <a:pt x="22" y="103"/>
                    <a:pt x="0" y="129"/>
                    <a:pt x="0" y="160"/>
                  </a:cubicBezTo>
                  <a:close/>
                </a:path>
              </a:pathLst>
            </a:custGeom>
            <a:solidFill>
              <a:srgbClr val="6C8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BF8376BA-C4E3-4B2E-BE41-ECDB997C4E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3135" y="2927129"/>
              <a:ext cx="146953" cy="176343"/>
            </a:xfrm>
            <a:custGeom>
              <a:avLst/>
              <a:gdLst>
                <a:gd name="T0" fmla="*/ 0 w 121"/>
                <a:gd name="T1" fmla="*/ 145 h 145"/>
                <a:gd name="T2" fmla="*/ 121 w 121"/>
                <a:gd name="T3" fmla="*/ 145 h 145"/>
                <a:gd name="T4" fmla="*/ 75 w 121"/>
                <a:gd name="T5" fmla="*/ 87 h 145"/>
                <a:gd name="T6" fmla="*/ 105 w 121"/>
                <a:gd name="T7" fmla="*/ 44 h 145"/>
                <a:gd name="T8" fmla="*/ 61 w 121"/>
                <a:gd name="T9" fmla="*/ 0 h 145"/>
                <a:gd name="T10" fmla="*/ 16 w 121"/>
                <a:gd name="T11" fmla="*/ 44 h 145"/>
                <a:gd name="T12" fmla="*/ 46 w 121"/>
                <a:gd name="T13" fmla="*/ 87 h 145"/>
                <a:gd name="T14" fmla="*/ 0 w 121"/>
                <a:gd name="T15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145">
                  <a:moveTo>
                    <a:pt x="0" y="145"/>
                  </a:moveTo>
                  <a:cubicBezTo>
                    <a:pt x="121" y="145"/>
                    <a:pt x="121" y="145"/>
                    <a:pt x="121" y="145"/>
                  </a:cubicBezTo>
                  <a:cubicBezTo>
                    <a:pt x="121" y="117"/>
                    <a:pt x="101" y="93"/>
                    <a:pt x="75" y="87"/>
                  </a:cubicBezTo>
                  <a:cubicBezTo>
                    <a:pt x="93" y="81"/>
                    <a:pt x="105" y="64"/>
                    <a:pt x="105" y="44"/>
                  </a:cubicBezTo>
                  <a:cubicBezTo>
                    <a:pt x="105" y="20"/>
                    <a:pt x="85" y="0"/>
                    <a:pt x="61" y="0"/>
                  </a:cubicBezTo>
                  <a:cubicBezTo>
                    <a:pt x="36" y="0"/>
                    <a:pt x="16" y="20"/>
                    <a:pt x="16" y="44"/>
                  </a:cubicBezTo>
                  <a:cubicBezTo>
                    <a:pt x="16" y="64"/>
                    <a:pt x="28" y="81"/>
                    <a:pt x="46" y="87"/>
                  </a:cubicBezTo>
                  <a:cubicBezTo>
                    <a:pt x="20" y="93"/>
                    <a:pt x="0" y="117"/>
                    <a:pt x="0" y="145"/>
                  </a:cubicBezTo>
                  <a:close/>
                </a:path>
              </a:pathLst>
            </a:custGeom>
            <a:solidFill>
              <a:srgbClr val="B6C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C4EBC8E1-0A42-4AA5-A74A-F89615627A58}"/>
                </a:ext>
              </a:extLst>
            </p:cNvPr>
            <p:cNvSpPr/>
            <p:nvPr/>
          </p:nvSpPr>
          <p:spPr bwMode="auto">
            <a:xfrm>
              <a:off x="2750671" y="2758885"/>
              <a:ext cx="617942" cy="617942"/>
            </a:xfrm>
            <a:prstGeom prst="ellipse">
              <a:avLst/>
            </a:prstGeom>
            <a:noFill/>
            <a:ln w="31750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73A947A0-7331-47EB-92BC-2B0CB7902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6270" y="2996163"/>
              <a:ext cx="235125" cy="282969"/>
            </a:xfrm>
            <a:custGeom>
              <a:avLst/>
              <a:gdLst>
                <a:gd name="T0" fmla="*/ 0 w 133"/>
                <a:gd name="T1" fmla="*/ 160 h 160"/>
                <a:gd name="T2" fmla="*/ 133 w 133"/>
                <a:gd name="T3" fmla="*/ 160 h 160"/>
                <a:gd name="T4" fmla="*/ 83 w 133"/>
                <a:gd name="T5" fmla="*/ 96 h 160"/>
                <a:gd name="T6" fmla="*/ 116 w 133"/>
                <a:gd name="T7" fmla="*/ 49 h 160"/>
                <a:gd name="T8" fmla="*/ 67 w 133"/>
                <a:gd name="T9" fmla="*/ 0 h 160"/>
                <a:gd name="T10" fmla="*/ 17 w 133"/>
                <a:gd name="T11" fmla="*/ 49 h 160"/>
                <a:gd name="T12" fmla="*/ 50 w 133"/>
                <a:gd name="T13" fmla="*/ 96 h 160"/>
                <a:gd name="T14" fmla="*/ 0 w 133"/>
                <a:gd name="T15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60">
                  <a:moveTo>
                    <a:pt x="0" y="160"/>
                  </a:moveTo>
                  <a:cubicBezTo>
                    <a:pt x="133" y="160"/>
                    <a:pt x="133" y="160"/>
                    <a:pt x="133" y="160"/>
                  </a:cubicBezTo>
                  <a:cubicBezTo>
                    <a:pt x="133" y="129"/>
                    <a:pt x="112" y="103"/>
                    <a:pt x="83" y="96"/>
                  </a:cubicBezTo>
                  <a:cubicBezTo>
                    <a:pt x="102" y="89"/>
                    <a:pt x="116" y="71"/>
                    <a:pt x="116" y="49"/>
                  </a:cubicBezTo>
                  <a:cubicBezTo>
                    <a:pt x="116" y="22"/>
                    <a:pt x="94" y="0"/>
                    <a:pt x="67" y="0"/>
                  </a:cubicBezTo>
                  <a:cubicBezTo>
                    <a:pt x="39" y="0"/>
                    <a:pt x="17" y="22"/>
                    <a:pt x="17" y="49"/>
                  </a:cubicBezTo>
                  <a:cubicBezTo>
                    <a:pt x="17" y="71"/>
                    <a:pt x="31" y="89"/>
                    <a:pt x="50" y="96"/>
                  </a:cubicBezTo>
                  <a:cubicBezTo>
                    <a:pt x="21" y="103"/>
                    <a:pt x="0" y="129"/>
                    <a:pt x="0" y="160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grpSp>
        <p:nvGrpSpPr>
          <p:cNvPr id="30" name="Group 29" descr="Icon of a person with one arm" title="One Arm">
            <a:extLst>
              <a:ext uri="{FF2B5EF4-FFF2-40B4-BE49-F238E27FC236}">
                <a16:creationId xmlns:a16="http://schemas.microsoft.com/office/drawing/2014/main" id="{D1AE60BE-1407-4D68-9AD0-0703C56069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472381" y="5694330"/>
            <a:ext cx="371735" cy="914400"/>
            <a:chOff x="2460424" y="1681878"/>
            <a:chExt cx="927100" cy="2277610"/>
          </a:xfrm>
          <a:solidFill>
            <a:schemeClr val="bg1"/>
          </a:solidFill>
        </p:grpSpPr>
        <p:sp>
          <p:nvSpPr>
            <p:cNvPr id="31" name="object 11">
              <a:extLst>
                <a:ext uri="{FF2B5EF4-FFF2-40B4-BE49-F238E27FC236}">
                  <a16:creationId xmlns:a16="http://schemas.microsoft.com/office/drawing/2014/main" id="{4F69F728-6C07-497D-A926-30EA5D21850D}"/>
                </a:ext>
              </a:extLst>
            </p:cNvPr>
            <p:cNvSpPr/>
            <p:nvPr/>
          </p:nvSpPr>
          <p:spPr>
            <a:xfrm>
              <a:off x="2460424" y="1681878"/>
              <a:ext cx="927100" cy="1621790"/>
            </a:xfrm>
            <a:custGeom>
              <a:avLst/>
              <a:gdLst/>
              <a:ahLst/>
              <a:cxnLst/>
              <a:rect l="l" t="t" r="r" b="b"/>
              <a:pathLst>
                <a:path w="927100" h="1621789">
                  <a:moveTo>
                    <a:pt x="482531" y="0"/>
                  </a:moveTo>
                  <a:lnTo>
                    <a:pt x="434669" y="2467"/>
                  </a:lnTo>
                  <a:lnTo>
                    <a:pt x="388551" y="10502"/>
                  </a:lnTo>
                  <a:lnTo>
                    <a:pt x="344514" y="23781"/>
                  </a:lnTo>
                  <a:lnTo>
                    <a:pt x="302898" y="41980"/>
                  </a:lnTo>
                  <a:lnTo>
                    <a:pt x="264039" y="64775"/>
                  </a:lnTo>
                  <a:lnTo>
                    <a:pt x="228276" y="91841"/>
                  </a:lnTo>
                  <a:lnTo>
                    <a:pt x="195947" y="122855"/>
                  </a:lnTo>
                  <a:lnTo>
                    <a:pt x="167389" y="157492"/>
                  </a:lnTo>
                  <a:lnTo>
                    <a:pt x="142942" y="195428"/>
                  </a:lnTo>
                  <a:lnTo>
                    <a:pt x="122942" y="236340"/>
                  </a:lnTo>
                  <a:lnTo>
                    <a:pt x="107728" y="279903"/>
                  </a:lnTo>
                  <a:lnTo>
                    <a:pt x="97638" y="325792"/>
                  </a:lnTo>
                  <a:lnTo>
                    <a:pt x="93010" y="373684"/>
                  </a:lnTo>
                  <a:lnTo>
                    <a:pt x="90632" y="412950"/>
                  </a:lnTo>
                  <a:lnTo>
                    <a:pt x="83280" y="434870"/>
                  </a:lnTo>
                  <a:lnTo>
                    <a:pt x="65047" y="447394"/>
                  </a:lnTo>
                  <a:lnTo>
                    <a:pt x="30030" y="458469"/>
                  </a:lnTo>
                  <a:lnTo>
                    <a:pt x="30667" y="509689"/>
                  </a:lnTo>
                  <a:lnTo>
                    <a:pt x="42062" y="558022"/>
                  </a:lnTo>
                  <a:lnTo>
                    <a:pt x="63115" y="601956"/>
                  </a:lnTo>
                  <a:lnTo>
                    <a:pt x="92685" y="639814"/>
                  </a:lnTo>
                  <a:lnTo>
                    <a:pt x="129643" y="669958"/>
                  </a:lnTo>
                  <a:lnTo>
                    <a:pt x="172859" y="690751"/>
                  </a:lnTo>
                  <a:lnTo>
                    <a:pt x="221203" y="700557"/>
                  </a:lnTo>
                  <a:lnTo>
                    <a:pt x="253925" y="707931"/>
                  </a:lnTo>
                  <a:lnTo>
                    <a:pt x="281274" y="722510"/>
                  </a:lnTo>
                  <a:lnTo>
                    <a:pt x="333649" y="760590"/>
                  </a:lnTo>
                  <a:lnTo>
                    <a:pt x="305608" y="773226"/>
                  </a:lnTo>
                  <a:lnTo>
                    <a:pt x="256917" y="796978"/>
                  </a:lnTo>
                  <a:lnTo>
                    <a:pt x="212210" y="823630"/>
                  </a:lnTo>
                  <a:lnTo>
                    <a:pt x="171572" y="853215"/>
                  </a:lnTo>
                  <a:lnTo>
                    <a:pt x="135091" y="885765"/>
                  </a:lnTo>
                  <a:lnTo>
                    <a:pt x="102854" y="921313"/>
                  </a:lnTo>
                  <a:lnTo>
                    <a:pt x="74950" y="959892"/>
                  </a:lnTo>
                  <a:lnTo>
                    <a:pt x="51464" y="1001535"/>
                  </a:lnTo>
                  <a:lnTo>
                    <a:pt x="32485" y="1046275"/>
                  </a:lnTo>
                  <a:lnTo>
                    <a:pt x="18100" y="1094144"/>
                  </a:lnTo>
                  <a:lnTo>
                    <a:pt x="8397" y="1145175"/>
                  </a:lnTo>
                  <a:lnTo>
                    <a:pt x="3462" y="1199400"/>
                  </a:lnTo>
                  <a:lnTo>
                    <a:pt x="1616" y="1249884"/>
                  </a:lnTo>
                  <a:lnTo>
                    <a:pt x="533" y="1300403"/>
                  </a:lnTo>
                  <a:lnTo>
                    <a:pt x="49" y="1350949"/>
                  </a:lnTo>
                  <a:lnTo>
                    <a:pt x="0" y="1401514"/>
                  </a:lnTo>
                  <a:lnTo>
                    <a:pt x="221" y="1452092"/>
                  </a:lnTo>
                  <a:lnTo>
                    <a:pt x="549" y="1502674"/>
                  </a:lnTo>
                  <a:lnTo>
                    <a:pt x="820" y="1553252"/>
                  </a:lnTo>
                  <a:lnTo>
                    <a:pt x="858" y="1610017"/>
                  </a:lnTo>
                  <a:lnTo>
                    <a:pt x="3944" y="1616227"/>
                  </a:lnTo>
                  <a:lnTo>
                    <a:pt x="5341" y="1621523"/>
                  </a:lnTo>
                  <a:lnTo>
                    <a:pt x="56688" y="1621523"/>
                  </a:lnTo>
                  <a:lnTo>
                    <a:pt x="56581" y="1553252"/>
                  </a:lnTo>
                  <a:lnTo>
                    <a:pt x="56444" y="1502674"/>
                  </a:lnTo>
                  <a:lnTo>
                    <a:pt x="56436" y="1350949"/>
                  </a:lnTo>
                  <a:lnTo>
                    <a:pt x="56692" y="1310120"/>
                  </a:lnTo>
                  <a:lnTo>
                    <a:pt x="57323" y="1258760"/>
                  </a:lnTo>
                  <a:lnTo>
                    <a:pt x="60615" y="1188058"/>
                  </a:lnTo>
                  <a:lnTo>
                    <a:pt x="71470" y="1118527"/>
                  </a:lnTo>
                  <a:lnTo>
                    <a:pt x="84858" y="1072886"/>
                  </a:lnTo>
                  <a:lnTo>
                    <a:pt x="102467" y="1030417"/>
                  </a:lnTo>
                  <a:lnTo>
                    <a:pt x="124286" y="991081"/>
                  </a:lnTo>
                  <a:lnTo>
                    <a:pt x="150306" y="954839"/>
                  </a:lnTo>
                  <a:lnTo>
                    <a:pt x="180513" y="921655"/>
                  </a:lnTo>
                  <a:lnTo>
                    <a:pt x="214899" y="891488"/>
                  </a:lnTo>
                  <a:lnTo>
                    <a:pt x="253451" y="864300"/>
                  </a:lnTo>
                  <a:lnTo>
                    <a:pt x="296159" y="840054"/>
                  </a:lnTo>
                  <a:lnTo>
                    <a:pt x="356966" y="840054"/>
                  </a:lnTo>
                  <a:lnTo>
                    <a:pt x="355943" y="832964"/>
                  </a:lnTo>
                  <a:lnTo>
                    <a:pt x="358286" y="821967"/>
                  </a:lnTo>
                  <a:lnTo>
                    <a:pt x="365922" y="814407"/>
                  </a:lnTo>
                  <a:lnTo>
                    <a:pt x="379712" y="810234"/>
                  </a:lnTo>
                  <a:lnTo>
                    <a:pt x="475318" y="796289"/>
                  </a:lnTo>
                  <a:lnTo>
                    <a:pt x="697601" y="796289"/>
                  </a:lnTo>
                  <a:lnTo>
                    <a:pt x="673647" y="784351"/>
                  </a:lnTo>
                  <a:lnTo>
                    <a:pt x="621571" y="759561"/>
                  </a:lnTo>
                  <a:lnTo>
                    <a:pt x="648831" y="739600"/>
                  </a:lnTo>
                  <a:lnTo>
                    <a:pt x="653878" y="736104"/>
                  </a:lnTo>
                  <a:lnTo>
                    <a:pt x="473756" y="736104"/>
                  </a:lnTo>
                  <a:lnTo>
                    <a:pt x="426401" y="730824"/>
                  </a:lnTo>
                  <a:lnTo>
                    <a:pt x="381928" y="716710"/>
                  </a:lnTo>
                  <a:lnTo>
                    <a:pt x="341413" y="694796"/>
                  </a:lnTo>
                  <a:lnTo>
                    <a:pt x="305936" y="666114"/>
                  </a:lnTo>
                  <a:lnTo>
                    <a:pt x="279089" y="634644"/>
                  </a:lnTo>
                  <a:lnTo>
                    <a:pt x="201074" y="634644"/>
                  </a:lnTo>
                  <a:lnTo>
                    <a:pt x="164435" y="622398"/>
                  </a:lnTo>
                  <a:lnTo>
                    <a:pt x="128174" y="594229"/>
                  </a:lnTo>
                  <a:lnTo>
                    <a:pt x="100274" y="557131"/>
                  </a:lnTo>
                  <a:lnTo>
                    <a:pt x="88717" y="518096"/>
                  </a:lnTo>
                  <a:lnTo>
                    <a:pt x="88590" y="511505"/>
                  </a:lnTo>
                  <a:lnTo>
                    <a:pt x="92933" y="501599"/>
                  </a:lnTo>
                  <a:lnTo>
                    <a:pt x="98242" y="498601"/>
                  </a:lnTo>
                  <a:lnTo>
                    <a:pt x="125456" y="476128"/>
                  </a:lnTo>
                  <a:lnTo>
                    <a:pt x="140589" y="448552"/>
                  </a:lnTo>
                  <a:lnTo>
                    <a:pt x="147346" y="417207"/>
                  </a:lnTo>
                  <a:lnTo>
                    <a:pt x="149436" y="383425"/>
                  </a:lnTo>
                  <a:lnTo>
                    <a:pt x="153940" y="336348"/>
                  </a:lnTo>
                  <a:lnTo>
                    <a:pt x="164443" y="291302"/>
                  </a:lnTo>
                  <a:lnTo>
                    <a:pt x="180574" y="248774"/>
                  </a:lnTo>
                  <a:lnTo>
                    <a:pt x="201961" y="209253"/>
                  </a:lnTo>
                  <a:lnTo>
                    <a:pt x="228231" y="173227"/>
                  </a:lnTo>
                  <a:lnTo>
                    <a:pt x="259047" y="141156"/>
                  </a:lnTo>
                  <a:lnTo>
                    <a:pt x="293935" y="113609"/>
                  </a:lnTo>
                  <a:lnTo>
                    <a:pt x="332624" y="90994"/>
                  </a:lnTo>
                  <a:lnTo>
                    <a:pt x="374708" y="73825"/>
                  </a:lnTo>
                  <a:lnTo>
                    <a:pt x="419097" y="62542"/>
                  </a:lnTo>
                  <a:lnTo>
                    <a:pt x="463232" y="57511"/>
                  </a:lnTo>
                  <a:lnTo>
                    <a:pt x="679776" y="57511"/>
                  </a:lnTo>
                  <a:lnTo>
                    <a:pt x="660372" y="45525"/>
                  </a:lnTo>
                  <a:lnTo>
                    <a:pt x="619266" y="26435"/>
                  </a:lnTo>
                  <a:lnTo>
                    <a:pt x="575698" y="12258"/>
                  </a:lnTo>
                  <a:lnTo>
                    <a:pt x="530007" y="3333"/>
                  </a:lnTo>
                  <a:lnTo>
                    <a:pt x="482531" y="0"/>
                  </a:lnTo>
                  <a:close/>
                </a:path>
                <a:path w="927100" h="1621789">
                  <a:moveTo>
                    <a:pt x="356966" y="840054"/>
                  </a:moveTo>
                  <a:lnTo>
                    <a:pt x="296159" y="840054"/>
                  </a:lnTo>
                  <a:lnTo>
                    <a:pt x="314424" y="893322"/>
                  </a:lnTo>
                  <a:lnTo>
                    <a:pt x="340977" y="936678"/>
                  </a:lnTo>
                  <a:lnTo>
                    <a:pt x="376175" y="969117"/>
                  </a:lnTo>
                  <a:lnTo>
                    <a:pt x="420379" y="989631"/>
                  </a:lnTo>
                  <a:lnTo>
                    <a:pt x="473946" y="997216"/>
                  </a:lnTo>
                  <a:lnTo>
                    <a:pt x="520870" y="992716"/>
                  </a:lnTo>
                  <a:lnTo>
                    <a:pt x="560867" y="978359"/>
                  </a:lnTo>
                  <a:lnTo>
                    <a:pt x="594331" y="954839"/>
                  </a:lnTo>
                  <a:lnTo>
                    <a:pt x="606463" y="940638"/>
                  </a:lnTo>
                  <a:lnTo>
                    <a:pt x="475254" y="940638"/>
                  </a:lnTo>
                  <a:lnTo>
                    <a:pt x="435014" y="933418"/>
                  </a:lnTo>
                  <a:lnTo>
                    <a:pt x="400489" y="914020"/>
                  </a:lnTo>
                  <a:lnTo>
                    <a:pt x="374041" y="884632"/>
                  </a:lnTo>
                  <a:lnTo>
                    <a:pt x="358033" y="847445"/>
                  </a:lnTo>
                  <a:lnTo>
                    <a:pt x="356966" y="840054"/>
                  </a:lnTo>
                  <a:close/>
                </a:path>
                <a:path w="927100" h="1621789">
                  <a:moveTo>
                    <a:pt x="697601" y="796289"/>
                  </a:moveTo>
                  <a:lnTo>
                    <a:pt x="475318" y="796289"/>
                  </a:lnTo>
                  <a:lnTo>
                    <a:pt x="571736" y="809675"/>
                  </a:lnTo>
                  <a:lnTo>
                    <a:pt x="586979" y="814306"/>
                  </a:lnTo>
                  <a:lnTo>
                    <a:pt x="595080" y="822839"/>
                  </a:lnTo>
                  <a:lnTo>
                    <a:pt x="597287" y="834868"/>
                  </a:lnTo>
                  <a:lnTo>
                    <a:pt x="594850" y="849985"/>
                  </a:lnTo>
                  <a:lnTo>
                    <a:pt x="578149" y="886529"/>
                  </a:lnTo>
                  <a:lnTo>
                    <a:pt x="550768" y="915338"/>
                  </a:lnTo>
                  <a:lnTo>
                    <a:pt x="515529" y="934133"/>
                  </a:lnTo>
                  <a:lnTo>
                    <a:pt x="475254" y="940638"/>
                  </a:lnTo>
                  <a:lnTo>
                    <a:pt x="606463" y="940638"/>
                  </a:lnTo>
                  <a:lnTo>
                    <a:pt x="621535" y="922996"/>
                  </a:lnTo>
                  <a:lnTo>
                    <a:pt x="642933" y="883454"/>
                  </a:lnTo>
                  <a:lnTo>
                    <a:pt x="658858" y="836980"/>
                  </a:lnTo>
                  <a:lnTo>
                    <a:pt x="760825" y="836980"/>
                  </a:lnTo>
                  <a:lnTo>
                    <a:pt x="744173" y="824720"/>
                  </a:lnTo>
                  <a:lnTo>
                    <a:pt x="721533" y="809751"/>
                  </a:lnTo>
                  <a:lnTo>
                    <a:pt x="698134" y="796555"/>
                  </a:lnTo>
                  <a:lnTo>
                    <a:pt x="697601" y="796289"/>
                  </a:lnTo>
                  <a:close/>
                </a:path>
                <a:path w="927100" h="1621789">
                  <a:moveTo>
                    <a:pt x="760825" y="836980"/>
                  </a:moveTo>
                  <a:lnTo>
                    <a:pt x="658858" y="836980"/>
                  </a:lnTo>
                  <a:lnTo>
                    <a:pt x="771774" y="915390"/>
                  </a:lnTo>
                  <a:lnTo>
                    <a:pt x="817087" y="879716"/>
                  </a:lnTo>
                  <a:lnTo>
                    <a:pt x="790782" y="859790"/>
                  </a:lnTo>
                  <a:lnTo>
                    <a:pt x="766867" y="841428"/>
                  </a:lnTo>
                  <a:lnTo>
                    <a:pt x="760825" y="836980"/>
                  </a:lnTo>
                  <a:close/>
                </a:path>
                <a:path w="927100" h="1621789">
                  <a:moveTo>
                    <a:pt x="550827" y="323964"/>
                  </a:moveTo>
                  <a:lnTo>
                    <a:pt x="471939" y="323964"/>
                  </a:lnTo>
                  <a:lnTo>
                    <a:pt x="499216" y="352405"/>
                  </a:lnTo>
                  <a:lnTo>
                    <a:pt x="525757" y="380657"/>
                  </a:lnTo>
                  <a:lnTo>
                    <a:pt x="581756" y="431101"/>
                  </a:lnTo>
                  <a:lnTo>
                    <a:pt x="634695" y="457749"/>
                  </a:lnTo>
                  <a:lnTo>
                    <a:pt x="692577" y="476376"/>
                  </a:lnTo>
                  <a:lnTo>
                    <a:pt x="704648" y="481340"/>
                  </a:lnTo>
                  <a:lnTo>
                    <a:pt x="712463" y="487837"/>
                  </a:lnTo>
                  <a:lnTo>
                    <a:pt x="716571" y="496931"/>
                  </a:lnTo>
                  <a:lnTo>
                    <a:pt x="717519" y="509689"/>
                  </a:lnTo>
                  <a:lnTo>
                    <a:pt x="711278" y="555168"/>
                  </a:lnTo>
                  <a:lnTo>
                    <a:pt x="696037" y="597708"/>
                  </a:lnTo>
                  <a:lnTo>
                    <a:pt x="672835" y="636326"/>
                  </a:lnTo>
                  <a:lnTo>
                    <a:pt x="642710" y="670036"/>
                  </a:lnTo>
                  <a:lnTo>
                    <a:pt x="606701" y="697853"/>
                  </a:lnTo>
                  <a:lnTo>
                    <a:pt x="565847" y="718793"/>
                  </a:lnTo>
                  <a:lnTo>
                    <a:pt x="521185" y="731872"/>
                  </a:lnTo>
                  <a:lnTo>
                    <a:pt x="473756" y="736104"/>
                  </a:lnTo>
                  <a:lnTo>
                    <a:pt x="653878" y="736104"/>
                  </a:lnTo>
                  <a:lnTo>
                    <a:pt x="675354" y="721229"/>
                  </a:lnTo>
                  <a:lnTo>
                    <a:pt x="704151" y="707112"/>
                  </a:lnTo>
                  <a:lnTo>
                    <a:pt x="738233" y="699909"/>
                  </a:lnTo>
                  <a:lnTo>
                    <a:pt x="780958" y="691513"/>
                  </a:lnTo>
                  <a:lnTo>
                    <a:pt x="819983" y="673984"/>
                  </a:lnTo>
                  <a:lnTo>
                    <a:pt x="854369" y="648735"/>
                  </a:lnTo>
                  <a:lnTo>
                    <a:pt x="865623" y="636409"/>
                  </a:lnTo>
                  <a:lnTo>
                    <a:pt x="751517" y="636409"/>
                  </a:lnTo>
                  <a:lnTo>
                    <a:pt x="781654" y="429602"/>
                  </a:lnTo>
                  <a:lnTo>
                    <a:pt x="729331" y="425051"/>
                  </a:lnTo>
                  <a:lnTo>
                    <a:pt x="682346" y="415118"/>
                  </a:lnTo>
                  <a:lnTo>
                    <a:pt x="640691" y="399723"/>
                  </a:lnTo>
                  <a:lnTo>
                    <a:pt x="604360" y="378785"/>
                  </a:lnTo>
                  <a:lnTo>
                    <a:pt x="573343" y="352223"/>
                  </a:lnTo>
                  <a:lnTo>
                    <a:pt x="550827" y="323964"/>
                  </a:lnTo>
                  <a:close/>
                </a:path>
                <a:path w="927100" h="1621789">
                  <a:moveTo>
                    <a:pt x="679776" y="57511"/>
                  </a:moveTo>
                  <a:lnTo>
                    <a:pt x="463232" y="57511"/>
                  </a:lnTo>
                  <a:lnTo>
                    <a:pt x="506656" y="58422"/>
                  </a:lnTo>
                  <a:lnTo>
                    <a:pt x="548910" y="64960"/>
                  </a:lnTo>
                  <a:lnTo>
                    <a:pt x="589536" y="76815"/>
                  </a:lnTo>
                  <a:lnTo>
                    <a:pt x="628074" y="93674"/>
                  </a:lnTo>
                  <a:lnTo>
                    <a:pt x="664067" y="115225"/>
                  </a:lnTo>
                  <a:lnTo>
                    <a:pt x="697081" y="141183"/>
                  </a:lnTo>
                  <a:lnTo>
                    <a:pt x="726580" y="171154"/>
                  </a:lnTo>
                  <a:lnTo>
                    <a:pt x="752185" y="204907"/>
                  </a:lnTo>
                  <a:lnTo>
                    <a:pt x="773409" y="242104"/>
                  </a:lnTo>
                  <a:lnTo>
                    <a:pt x="789795" y="282432"/>
                  </a:lnTo>
                  <a:lnTo>
                    <a:pt x="800883" y="325579"/>
                  </a:lnTo>
                  <a:lnTo>
                    <a:pt x="806216" y="371233"/>
                  </a:lnTo>
                  <a:lnTo>
                    <a:pt x="808289" y="408923"/>
                  </a:lnTo>
                  <a:lnTo>
                    <a:pt x="814457" y="444393"/>
                  </a:lnTo>
                  <a:lnTo>
                    <a:pt x="830271" y="475655"/>
                  </a:lnTo>
                  <a:lnTo>
                    <a:pt x="861283" y="500722"/>
                  </a:lnTo>
                  <a:lnTo>
                    <a:pt x="865538" y="502958"/>
                  </a:lnTo>
                  <a:lnTo>
                    <a:pt x="868297" y="511505"/>
                  </a:lnTo>
                  <a:lnTo>
                    <a:pt x="856618" y="556737"/>
                  </a:lnTo>
                  <a:lnTo>
                    <a:pt x="827766" y="594380"/>
                  </a:lnTo>
                  <a:lnTo>
                    <a:pt x="789997" y="623339"/>
                  </a:lnTo>
                  <a:lnTo>
                    <a:pt x="751517" y="636409"/>
                  </a:lnTo>
                  <a:lnTo>
                    <a:pt x="865623" y="636409"/>
                  </a:lnTo>
                  <a:lnTo>
                    <a:pt x="883178" y="617181"/>
                  </a:lnTo>
                  <a:lnTo>
                    <a:pt x="905472" y="580736"/>
                  </a:lnTo>
                  <a:lnTo>
                    <a:pt x="920313" y="540814"/>
                  </a:lnTo>
                  <a:lnTo>
                    <a:pt x="926762" y="498830"/>
                  </a:lnTo>
                  <a:lnTo>
                    <a:pt x="923882" y="456196"/>
                  </a:lnTo>
                  <a:lnTo>
                    <a:pt x="890558" y="448586"/>
                  </a:lnTo>
                  <a:lnTo>
                    <a:pt x="872824" y="437918"/>
                  </a:lnTo>
                  <a:lnTo>
                    <a:pt x="865592" y="417949"/>
                  </a:lnTo>
                  <a:lnTo>
                    <a:pt x="863773" y="382435"/>
                  </a:lnTo>
                  <a:lnTo>
                    <a:pt x="860037" y="334395"/>
                  </a:lnTo>
                  <a:lnTo>
                    <a:pt x="850796" y="288216"/>
                  </a:lnTo>
                  <a:lnTo>
                    <a:pt x="836388" y="244235"/>
                  </a:lnTo>
                  <a:lnTo>
                    <a:pt x="817151" y="202793"/>
                  </a:lnTo>
                  <a:lnTo>
                    <a:pt x="793423" y="164227"/>
                  </a:lnTo>
                  <a:lnTo>
                    <a:pt x="765543" y="128879"/>
                  </a:lnTo>
                  <a:lnTo>
                    <a:pt x="733849" y="97086"/>
                  </a:lnTo>
                  <a:lnTo>
                    <a:pt x="698680" y="69188"/>
                  </a:lnTo>
                  <a:lnTo>
                    <a:pt x="679776" y="57511"/>
                  </a:lnTo>
                  <a:close/>
                </a:path>
                <a:path w="927100" h="1621789">
                  <a:moveTo>
                    <a:pt x="502267" y="188112"/>
                  </a:moveTo>
                  <a:lnTo>
                    <a:pt x="450197" y="188112"/>
                  </a:lnTo>
                  <a:lnTo>
                    <a:pt x="440676" y="237831"/>
                  </a:lnTo>
                  <a:lnTo>
                    <a:pt x="425810" y="281658"/>
                  </a:lnTo>
                  <a:lnTo>
                    <a:pt x="405578" y="319664"/>
                  </a:lnTo>
                  <a:lnTo>
                    <a:pt x="379963" y="351921"/>
                  </a:lnTo>
                  <a:lnTo>
                    <a:pt x="348946" y="378498"/>
                  </a:lnTo>
                  <a:lnTo>
                    <a:pt x="312507" y="399468"/>
                  </a:lnTo>
                  <a:lnTo>
                    <a:pt x="270629" y="414901"/>
                  </a:lnTo>
                  <a:lnTo>
                    <a:pt x="223293" y="424867"/>
                  </a:lnTo>
                  <a:lnTo>
                    <a:pt x="170480" y="429437"/>
                  </a:lnTo>
                  <a:lnTo>
                    <a:pt x="201074" y="634644"/>
                  </a:lnTo>
                  <a:lnTo>
                    <a:pt x="279089" y="634644"/>
                  </a:lnTo>
                  <a:lnTo>
                    <a:pt x="276576" y="631699"/>
                  </a:lnTo>
                  <a:lnTo>
                    <a:pt x="254412" y="592583"/>
                  </a:lnTo>
                  <a:lnTo>
                    <a:pt x="240522" y="549799"/>
                  </a:lnTo>
                  <a:lnTo>
                    <a:pt x="235986" y="504380"/>
                  </a:lnTo>
                  <a:lnTo>
                    <a:pt x="237310" y="497167"/>
                  </a:lnTo>
                  <a:lnTo>
                    <a:pt x="240572" y="489462"/>
                  </a:lnTo>
                  <a:lnTo>
                    <a:pt x="244914" y="483165"/>
                  </a:lnTo>
                  <a:lnTo>
                    <a:pt x="249474" y="480174"/>
                  </a:lnTo>
                  <a:lnTo>
                    <a:pt x="297770" y="468713"/>
                  </a:lnTo>
                  <a:lnTo>
                    <a:pt x="341420" y="450924"/>
                  </a:lnTo>
                  <a:lnTo>
                    <a:pt x="380542" y="427181"/>
                  </a:lnTo>
                  <a:lnTo>
                    <a:pt x="415257" y="397858"/>
                  </a:lnTo>
                  <a:lnTo>
                    <a:pt x="445682" y="363328"/>
                  </a:lnTo>
                  <a:lnTo>
                    <a:pt x="471939" y="323964"/>
                  </a:lnTo>
                  <a:lnTo>
                    <a:pt x="550827" y="323964"/>
                  </a:lnTo>
                  <a:lnTo>
                    <a:pt x="547633" y="319955"/>
                  </a:lnTo>
                  <a:lnTo>
                    <a:pt x="527222" y="281902"/>
                  </a:lnTo>
                  <a:lnTo>
                    <a:pt x="512103" y="237981"/>
                  </a:lnTo>
                  <a:lnTo>
                    <a:pt x="502267" y="1881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0" tIns="0" rIns="0" bIns="0" rtlCol="0"/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object 12">
              <a:extLst>
                <a:ext uri="{FF2B5EF4-FFF2-40B4-BE49-F238E27FC236}">
                  <a16:creationId xmlns:a16="http://schemas.microsoft.com/office/drawing/2014/main" id="{2816B4E6-CB96-4D76-8589-E686E17AB0C3}"/>
                </a:ext>
              </a:extLst>
            </p:cNvPr>
            <p:cNvSpPr/>
            <p:nvPr/>
          </p:nvSpPr>
          <p:spPr>
            <a:xfrm>
              <a:off x="2590272" y="2775848"/>
              <a:ext cx="695325" cy="1183640"/>
            </a:xfrm>
            <a:custGeom>
              <a:avLst/>
              <a:gdLst/>
              <a:ahLst/>
              <a:cxnLst/>
              <a:rect l="l" t="t" r="r" b="b"/>
              <a:pathLst>
                <a:path w="695325" h="1183639">
                  <a:moveTo>
                    <a:pt x="678178" y="689073"/>
                  </a:moveTo>
                  <a:lnTo>
                    <a:pt x="187617" y="689073"/>
                  </a:lnTo>
                  <a:lnTo>
                    <a:pt x="511098" y="689911"/>
                  </a:lnTo>
                  <a:lnTo>
                    <a:pt x="517769" y="690419"/>
                  </a:lnTo>
                  <a:lnTo>
                    <a:pt x="524867" y="691692"/>
                  </a:lnTo>
                  <a:lnTo>
                    <a:pt x="532824" y="693408"/>
                  </a:lnTo>
                  <a:lnTo>
                    <a:pt x="542074" y="695245"/>
                  </a:lnTo>
                  <a:lnTo>
                    <a:pt x="542074" y="1183471"/>
                  </a:lnTo>
                  <a:lnTo>
                    <a:pt x="597090" y="1183471"/>
                  </a:lnTo>
                  <a:lnTo>
                    <a:pt x="597090" y="768892"/>
                  </a:lnTo>
                  <a:lnTo>
                    <a:pt x="598251" y="724903"/>
                  </a:lnTo>
                  <a:lnTo>
                    <a:pt x="606377" y="701979"/>
                  </a:lnTo>
                  <a:lnTo>
                    <a:pt x="628433" y="692661"/>
                  </a:lnTo>
                  <a:lnTo>
                    <a:pt x="671385" y="689492"/>
                  </a:lnTo>
                  <a:lnTo>
                    <a:pt x="677646" y="689200"/>
                  </a:lnTo>
                  <a:lnTo>
                    <a:pt x="678178" y="689073"/>
                  </a:lnTo>
                  <a:close/>
                </a:path>
                <a:path w="695325" h="1183639">
                  <a:moveTo>
                    <a:pt x="186770" y="689160"/>
                  </a:moveTo>
                  <a:lnTo>
                    <a:pt x="71147" y="689160"/>
                  </a:lnTo>
                  <a:lnTo>
                    <a:pt x="86226" y="697377"/>
                  </a:lnTo>
                  <a:lnTo>
                    <a:pt x="93752" y="713887"/>
                  </a:lnTo>
                  <a:lnTo>
                    <a:pt x="95529" y="738590"/>
                  </a:lnTo>
                  <a:lnTo>
                    <a:pt x="94827" y="788618"/>
                  </a:lnTo>
                  <a:lnTo>
                    <a:pt x="94415" y="838651"/>
                  </a:lnTo>
                  <a:lnTo>
                    <a:pt x="94312" y="988769"/>
                  </a:lnTo>
                  <a:lnTo>
                    <a:pt x="94583" y="1088853"/>
                  </a:lnTo>
                  <a:lnTo>
                    <a:pt x="94640" y="1182772"/>
                  </a:lnTo>
                  <a:lnTo>
                    <a:pt x="151879" y="1182772"/>
                  </a:lnTo>
                  <a:lnTo>
                    <a:pt x="151922" y="828808"/>
                  </a:lnTo>
                  <a:lnTo>
                    <a:pt x="151762" y="788618"/>
                  </a:lnTo>
                  <a:lnTo>
                    <a:pt x="151660" y="768892"/>
                  </a:lnTo>
                  <a:lnTo>
                    <a:pt x="151384" y="726715"/>
                  </a:lnTo>
                  <a:lnTo>
                    <a:pt x="152864" y="709213"/>
                  </a:lnTo>
                  <a:lnTo>
                    <a:pt x="158513" y="697469"/>
                  </a:lnTo>
                  <a:lnTo>
                    <a:pt x="169655" y="690938"/>
                  </a:lnTo>
                  <a:lnTo>
                    <a:pt x="186770" y="689160"/>
                  </a:lnTo>
                  <a:close/>
                </a:path>
                <a:path w="695325" h="1183639">
                  <a:moveTo>
                    <a:pt x="115918" y="0"/>
                  </a:moveTo>
                  <a:lnTo>
                    <a:pt x="100441" y="3060"/>
                  </a:lnTo>
                  <a:lnTo>
                    <a:pt x="94826" y="16526"/>
                  </a:lnTo>
                  <a:lnTo>
                    <a:pt x="95034" y="44116"/>
                  </a:lnTo>
                  <a:lnTo>
                    <a:pt x="96792" y="93655"/>
                  </a:lnTo>
                  <a:lnTo>
                    <a:pt x="97127" y="143007"/>
                  </a:lnTo>
                  <a:lnTo>
                    <a:pt x="95954" y="192166"/>
                  </a:lnTo>
                  <a:lnTo>
                    <a:pt x="93188" y="241131"/>
                  </a:lnTo>
                  <a:lnTo>
                    <a:pt x="88744" y="289897"/>
                  </a:lnTo>
                  <a:lnTo>
                    <a:pt x="82537" y="338462"/>
                  </a:lnTo>
                  <a:lnTo>
                    <a:pt x="74484" y="386822"/>
                  </a:lnTo>
                  <a:lnTo>
                    <a:pt x="64498" y="434974"/>
                  </a:lnTo>
                  <a:lnTo>
                    <a:pt x="52495" y="482914"/>
                  </a:lnTo>
                  <a:lnTo>
                    <a:pt x="38392" y="530640"/>
                  </a:lnTo>
                  <a:lnTo>
                    <a:pt x="27490" y="568865"/>
                  </a:lnTo>
                  <a:lnTo>
                    <a:pt x="18162" y="608037"/>
                  </a:lnTo>
                  <a:lnTo>
                    <a:pt x="9350" y="648262"/>
                  </a:lnTo>
                  <a:lnTo>
                    <a:pt x="0" y="689644"/>
                  </a:lnTo>
                  <a:lnTo>
                    <a:pt x="14002" y="689866"/>
                  </a:lnTo>
                  <a:lnTo>
                    <a:pt x="26069" y="690211"/>
                  </a:lnTo>
                  <a:lnTo>
                    <a:pt x="36779" y="690196"/>
                  </a:lnTo>
                  <a:lnTo>
                    <a:pt x="46710" y="689339"/>
                  </a:lnTo>
                  <a:lnTo>
                    <a:pt x="186770" y="689160"/>
                  </a:lnTo>
                  <a:lnTo>
                    <a:pt x="187617" y="689073"/>
                  </a:lnTo>
                  <a:lnTo>
                    <a:pt x="678178" y="689073"/>
                  </a:lnTo>
                  <a:lnTo>
                    <a:pt x="683869" y="687714"/>
                  </a:lnTo>
                  <a:lnTo>
                    <a:pt x="695236" y="686012"/>
                  </a:lnTo>
                  <a:lnTo>
                    <a:pt x="680058" y="629446"/>
                  </a:lnTo>
                  <a:lnTo>
                    <a:pt x="69697" y="629446"/>
                  </a:lnTo>
                  <a:lnTo>
                    <a:pt x="83880" y="581949"/>
                  </a:lnTo>
                  <a:lnTo>
                    <a:pt x="97191" y="534465"/>
                  </a:lnTo>
                  <a:lnTo>
                    <a:pt x="109487" y="486960"/>
                  </a:lnTo>
                  <a:lnTo>
                    <a:pt x="120625" y="439402"/>
                  </a:lnTo>
                  <a:lnTo>
                    <a:pt x="130464" y="391758"/>
                  </a:lnTo>
                  <a:lnTo>
                    <a:pt x="138861" y="343997"/>
                  </a:lnTo>
                  <a:lnTo>
                    <a:pt x="145674" y="296084"/>
                  </a:lnTo>
                  <a:lnTo>
                    <a:pt x="150759" y="247989"/>
                  </a:lnTo>
                  <a:lnTo>
                    <a:pt x="153976" y="199678"/>
                  </a:lnTo>
                  <a:lnTo>
                    <a:pt x="155132" y="153075"/>
                  </a:lnTo>
                  <a:lnTo>
                    <a:pt x="155161" y="150097"/>
                  </a:lnTo>
                  <a:lnTo>
                    <a:pt x="154231" y="102280"/>
                  </a:lnTo>
                  <a:lnTo>
                    <a:pt x="150985" y="53127"/>
                  </a:lnTo>
                  <a:lnTo>
                    <a:pt x="145300" y="3628"/>
                  </a:lnTo>
                  <a:lnTo>
                    <a:pt x="115918" y="0"/>
                  </a:lnTo>
                  <a:close/>
                </a:path>
                <a:path w="695325" h="1183639">
                  <a:moveTo>
                    <a:pt x="566349" y="759"/>
                  </a:moveTo>
                  <a:lnTo>
                    <a:pt x="540213" y="44116"/>
                  </a:lnTo>
                  <a:lnTo>
                    <a:pt x="540026" y="71252"/>
                  </a:lnTo>
                  <a:lnTo>
                    <a:pt x="539859" y="93655"/>
                  </a:lnTo>
                  <a:lnTo>
                    <a:pt x="539862" y="123826"/>
                  </a:lnTo>
                  <a:lnTo>
                    <a:pt x="540440" y="153075"/>
                  </a:lnTo>
                  <a:lnTo>
                    <a:pt x="541251" y="196530"/>
                  </a:lnTo>
                  <a:lnTo>
                    <a:pt x="541986" y="243033"/>
                  </a:lnTo>
                  <a:lnTo>
                    <a:pt x="544305" y="289282"/>
                  </a:lnTo>
                  <a:lnTo>
                    <a:pt x="549922" y="334958"/>
                  </a:lnTo>
                  <a:lnTo>
                    <a:pt x="559730" y="384801"/>
                  </a:lnTo>
                  <a:lnTo>
                    <a:pt x="571339" y="434332"/>
                  </a:lnTo>
                  <a:lnTo>
                    <a:pt x="584015" y="483678"/>
                  </a:lnTo>
                  <a:lnTo>
                    <a:pt x="597025" y="532968"/>
                  </a:lnTo>
                  <a:lnTo>
                    <a:pt x="609638" y="582329"/>
                  </a:lnTo>
                  <a:lnTo>
                    <a:pt x="612240" y="593552"/>
                  </a:lnTo>
                  <a:lnTo>
                    <a:pt x="614670" y="605030"/>
                  </a:lnTo>
                  <a:lnTo>
                    <a:pt x="617096" y="616937"/>
                  </a:lnTo>
                  <a:lnTo>
                    <a:pt x="619683" y="629446"/>
                  </a:lnTo>
                  <a:lnTo>
                    <a:pt x="680058" y="629446"/>
                  </a:lnTo>
                  <a:lnTo>
                    <a:pt x="669323" y="589436"/>
                  </a:lnTo>
                  <a:lnTo>
                    <a:pt x="656628" y="541230"/>
                  </a:lnTo>
                  <a:lnTo>
                    <a:pt x="644426" y="493033"/>
                  </a:lnTo>
                  <a:lnTo>
                    <a:pt x="632954" y="444812"/>
                  </a:lnTo>
                  <a:lnTo>
                    <a:pt x="622453" y="396532"/>
                  </a:lnTo>
                  <a:lnTo>
                    <a:pt x="613160" y="348160"/>
                  </a:lnTo>
                  <a:lnTo>
                    <a:pt x="605315" y="299662"/>
                  </a:lnTo>
                  <a:lnTo>
                    <a:pt x="599157" y="251005"/>
                  </a:lnTo>
                  <a:lnTo>
                    <a:pt x="594923" y="202153"/>
                  </a:lnTo>
                  <a:lnTo>
                    <a:pt x="592854" y="153075"/>
                  </a:lnTo>
                  <a:lnTo>
                    <a:pt x="593187" y="103735"/>
                  </a:lnTo>
                  <a:lnTo>
                    <a:pt x="596162" y="54100"/>
                  </a:lnTo>
                  <a:lnTo>
                    <a:pt x="602018" y="4136"/>
                  </a:lnTo>
                  <a:lnTo>
                    <a:pt x="566349" y="75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0" tIns="0" rIns="0" bIns="0" rtlCol="0"/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object 13">
              <a:extLst>
                <a:ext uri="{FF2B5EF4-FFF2-40B4-BE49-F238E27FC236}">
                  <a16:creationId xmlns:a16="http://schemas.microsoft.com/office/drawing/2014/main" id="{9B9E9515-797F-4329-B70F-81A4BAEE4ABE}"/>
                </a:ext>
              </a:extLst>
            </p:cNvPr>
            <p:cNvSpPr/>
            <p:nvPr/>
          </p:nvSpPr>
          <p:spPr>
            <a:xfrm>
              <a:off x="2855211" y="2246245"/>
              <a:ext cx="166370" cy="82550"/>
            </a:xfrm>
            <a:custGeom>
              <a:avLst/>
              <a:gdLst/>
              <a:ahLst/>
              <a:cxnLst/>
              <a:rect l="l" t="t" r="r" b="b"/>
              <a:pathLst>
                <a:path w="166369" h="82550">
                  <a:moveTo>
                    <a:pt x="165989" y="0"/>
                  </a:moveTo>
                  <a:lnTo>
                    <a:pt x="0" y="0"/>
                  </a:lnTo>
                  <a:lnTo>
                    <a:pt x="7244" y="33536"/>
                  </a:lnTo>
                  <a:lnTo>
                    <a:pt x="23307" y="58897"/>
                  </a:lnTo>
                  <a:lnTo>
                    <a:pt x="47195" y="75307"/>
                  </a:lnTo>
                  <a:lnTo>
                    <a:pt x="77914" y="81991"/>
                  </a:lnTo>
                  <a:lnTo>
                    <a:pt x="110267" y="77815"/>
                  </a:lnTo>
                  <a:lnTo>
                    <a:pt x="136305" y="62403"/>
                  </a:lnTo>
                  <a:lnTo>
                    <a:pt x="155167" y="36287"/>
                  </a:lnTo>
                  <a:lnTo>
                    <a:pt x="1659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0" tIns="0" rIns="0" bIns="0" rtlCol="0"/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34" name="Group 33" descr="Icon of a person with an arm injury" title="Arm Injury">
            <a:extLst>
              <a:ext uri="{FF2B5EF4-FFF2-40B4-BE49-F238E27FC236}">
                <a16:creationId xmlns:a16="http://schemas.microsoft.com/office/drawing/2014/main" id="{5B0F6599-EB12-4C73-A8B7-CE438C6CD1A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55033" y="5684804"/>
            <a:ext cx="397532" cy="914400"/>
            <a:chOff x="5742070" y="1770398"/>
            <a:chExt cx="952500" cy="2190931"/>
          </a:xfrm>
          <a:solidFill>
            <a:schemeClr val="bg1"/>
          </a:solidFill>
        </p:grpSpPr>
        <p:sp>
          <p:nvSpPr>
            <p:cNvPr id="35" name="object 8">
              <a:extLst>
                <a:ext uri="{FF2B5EF4-FFF2-40B4-BE49-F238E27FC236}">
                  <a16:creationId xmlns:a16="http://schemas.microsoft.com/office/drawing/2014/main" id="{7CDC8557-166D-4102-AE61-2DC316B121A5}"/>
                </a:ext>
              </a:extLst>
            </p:cNvPr>
            <p:cNvSpPr/>
            <p:nvPr/>
          </p:nvSpPr>
          <p:spPr>
            <a:xfrm>
              <a:off x="5742070" y="1770398"/>
              <a:ext cx="952500" cy="1536700"/>
            </a:xfrm>
            <a:custGeom>
              <a:avLst/>
              <a:gdLst/>
              <a:ahLst/>
              <a:cxnLst/>
              <a:rect l="l" t="t" r="r" b="b"/>
              <a:pathLst>
                <a:path w="952500" h="1536700">
                  <a:moveTo>
                    <a:pt x="771151" y="762000"/>
                  </a:moveTo>
                  <a:lnTo>
                    <a:pt x="661758" y="762000"/>
                  </a:lnTo>
                  <a:lnTo>
                    <a:pt x="707712" y="787400"/>
                  </a:lnTo>
                  <a:lnTo>
                    <a:pt x="749367" y="812800"/>
                  </a:lnTo>
                  <a:lnTo>
                    <a:pt x="786346" y="850900"/>
                  </a:lnTo>
                  <a:lnTo>
                    <a:pt x="818273" y="889000"/>
                  </a:lnTo>
                  <a:lnTo>
                    <a:pt x="844771" y="927100"/>
                  </a:lnTo>
                  <a:lnTo>
                    <a:pt x="865462" y="977900"/>
                  </a:lnTo>
                  <a:lnTo>
                    <a:pt x="879971" y="1028700"/>
                  </a:lnTo>
                  <a:lnTo>
                    <a:pt x="887920" y="1079500"/>
                  </a:lnTo>
                  <a:lnTo>
                    <a:pt x="891467" y="1130300"/>
                  </a:lnTo>
                  <a:lnTo>
                    <a:pt x="893709" y="1181100"/>
                  </a:lnTo>
                  <a:lnTo>
                    <a:pt x="894930" y="1231900"/>
                  </a:lnTo>
                  <a:lnTo>
                    <a:pt x="895416" y="1282700"/>
                  </a:lnTo>
                  <a:lnTo>
                    <a:pt x="895325" y="1447800"/>
                  </a:lnTo>
                  <a:lnTo>
                    <a:pt x="895730" y="1498600"/>
                  </a:lnTo>
                  <a:lnTo>
                    <a:pt x="895756" y="1536700"/>
                  </a:lnTo>
                  <a:lnTo>
                    <a:pt x="951966" y="1536700"/>
                  </a:lnTo>
                  <a:lnTo>
                    <a:pt x="952062" y="1435100"/>
                  </a:lnTo>
                  <a:lnTo>
                    <a:pt x="952183" y="1257300"/>
                  </a:lnTo>
                  <a:lnTo>
                    <a:pt x="952056" y="1193800"/>
                  </a:lnTo>
                  <a:lnTo>
                    <a:pt x="951801" y="1143000"/>
                  </a:lnTo>
                  <a:lnTo>
                    <a:pt x="949516" y="1092200"/>
                  </a:lnTo>
                  <a:lnTo>
                    <a:pt x="943329" y="1054100"/>
                  </a:lnTo>
                  <a:lnTo>
                    <a:pt x="933230" y="1003300"/>
                  </a:lnTo>
                  <a:lnTo>
                    <a:pt x="919210" y="965200"/>
                  </a:lnTo>
                  <a:lnTo>
                    <a:pt x="901262" y="927100"/>
                  </a:lnTo>
                  <a:lnTo>
                    <a:pt x="879377" y="876300"/>
                  </a:lnTo>
                  <a:lnTo>
                    <a:pt x="853546" y="850900"/>
                  </a:lnTo>
                  <a:lnTo>
                    <a:pt x="823760" y="812800"/>
                  </a:lnTo>
                  <a:lnTo>
                    <a:pt x="790011" y="774700"/>
                  </a:lnTo>
                  <a:lnTo>
                    <a:pt x="771151" y="762000"/>
                  </a:lnTo>
                  <a:close/>
                </a:path>
                <a:path w="952500" h="1536700">
                  <a:moveTo>
                    <a:pt x="649686" y="685800"/>
                  </a:moveTo>
                  <a:lnTo>
                    <a:pt x="310154" y="685800"/>
                  </a:lnTo>
                  <a:lnTo>
                    <a:pt x="300238" y="698500"/>
                  </a:lnTo>
                  <a:lnTo>
                    <a:pt x="291045" y="698500"/>
                  </a:lnTo>
                  <a:lnTo>
                    <a:pt x="245035" y="723900"/>
                  </a:lnTo>
                  <a:lnTo>
                    <a:pt x="202912" y="749300"/>
                  </a:lnTo>
                  <a:lnTo>
                    <a:pt x="164683" y="774700"/>
                  </a:lnTo>
                  <a:lnTo>
                    <a:pt x="130356" y="812800"/>
                  </a:lnTo>
                  <a:lnTo>
                    <a:pt x="99940" y="838200"/>
                  </a:lnTo>
                  <a:lnTo>
                    <a:pt x="73442" y="876300"/>
                  </a:lnTo>
                  <a:lnTo>
                    <a:pt x="50870" y="927100"/>
                  </a:lnTo>
                  <a:lnTo>
                    <a:pt x="32231" y="965200"/>
                  </a:lnTo>
                  <a:lnTo>
                    <a:pt x="17535" y="1016000"/>
                  </a:lnTo>
                  <a:lnTo>
                    <a:pt x="6788" y="1066800"/>
                  </a:lnTo>
                  <a:lnTo>
                    <a:pt x="0" y="1117600"/>
                  </a:lnTo>
                  <a:lnTo>
                    <a:pt x="12" y="1130300"/>
                  </a:lnTo>
                  <a:lnTo>
                    <a:pt x="4999" y="1143000"/>
                  </a:lnTo>
                  <a:lnTo>
                    <a:pt x="16321" y="1155700"/>
                  </a:lnTo>
                  <a:lnTo>
                    <a:pt x="35344" y="1168400"/>
                  </a:lnTo>
                  <a:lnTo>
                    <a:pt x="83076" y="1181100"/>
                  </a:lnTo>
                  <a:lnTo>
                    <a:pt x="130712" y="1206500"/>
                  </a:lnTo>
                  <a:lnTo>
                    <a:pt x="225785" y="1231900"/>
                  </a:lnTo>
                  <a:lnTo>
                    <a:pt x="273263" y="1257300"/>
                  </a:lnTo>
                  <a:lnTo>
                    <a:pt x="368210" y="1282700"/>
                  </a:lnTo>
                  <a:lnTo>
                    <a:pt x="415721" y="1308100"/>
                  </a:lnTo>
                  <a:lnTo>
                    <a:pt x="439222" y="1308100"/>
                  </a:lnTo>
                  <a:lnTo>
                    <a:pt x="487248" y="1333500"/>
                  </a:lnTo>
                  <a:lnTo>
                    <a:pt x="512063" y="1333500"/>
                  </a:lnTo>
                  <a:lnTo>
                    <a:pt x="531075" y="1282700"/>
                  </a:lnTo>
                  <a:lnTo>
                    <a:pt x="444728" y="1257300"/>
                  </a:lnTo>
                  <a:lnTo>
                    <a:pt x="461423" y="1219200"/>
                  </a:lnTo>
                  <a:lnTo>
                    <a:pt x="366255" y="1219200"/>
                  </a:lnTo>
                  <a:lnTo>
                    <a:pt x="225742" y="1181100"/>
                  </a:lnTo>
                  <a:lnTo>
                    <a:pt x="178986" y="1155700"/>
                  </a:lnTo>
                  <a:lnTo>
                    <a:pt x="85343" y="1130300"/>
                  </a:lnTo>
                  <a:lnTo>
                    <a:pt x="72374" y="1117600"/>
                  </a:lnTo>
                  <a:lnTo>
                    <a:pt x="64096" y="1104900"/>
                  </a:lnTo>
                  <a:lnTo>
                    <a:pt x="60476" y="1104900"/>
                  </a:lnTo>
                  <a:lnTo>
                    <a:pt x="61480" y="1092200"/>
                  </a:lnTo>
                  <a:lnTo>
                    <a:pt x="65711" y="1066800"/>
                  </a:lnTo>
                  <a:lnTo>
                    <a:pt x="69884" y="1041400"/>
                  </a:lnTo>
                  <a:lnTo>
                    <a:pt x="78727" y="1003300"/>
                  </a:lnTo>
                  <a:lnTo>
                    <a:pt x="248368" y="1003300"/>
                  </a:lnTo>
                  <a:lnTo>
                    <a:pt x="107327" y="952500"/>
                  </a:lnTo>
                  <a:lnTo>
                    <a:pt x="129802" y="901700"/>
                  </a:lnTo>
                  <a:lnTo>
                    <a:pt x="160260" y="863600"/>
                  </a:lnTo>
                  <a:lnTo>
                    <a:pt x="197085" y="825500"/>
                  </a:lnTo>
                  <a:lnTo>
                    <a:pt x="238661" y="787400"/>
                  </a:lnTo>
                  <a:lnTo>
                    <a:pt x="283375" y="762000"/>
                  </a:lnTo>
                  <a:lnTo>
                    <a:pt x="356438" y="762000"/>
                  </a:lnTo>
                  <a:lnTo>
                    <a:pt x="355385" y="749300"/>
                  </a:lnTo>
                  <a:lnTo>
                    <a:pt x="358598" y="736600"/>
                  </a:lnTo>
                  <a:lnTo>
                    <a:pt x="366319" y="736600"/>
                  </a:lnTo>
                  <a:lnTo>
                    <a:pt x="378790" y="723900"/>
                  </a:lnTo>
                  <a:lnTo>
                    <a:pt x="402720" y="723900"/>
                  </a:lnTo>
                  <a:lnTo>
                    <a:pt x="475767" y="711200"/>
                  </a:lnTo>
                  <a:lnTo>
                    <a:pt x="690024" y="711200"/>
                  </a:lnTo>
                  <a:lnTo>
                    <a:pt x="669458" y="698500"/>
                  </a:lnTo>
                  <a:lnTo>
                    <a:pt x="649686" y="685800"/>
                  </a:lnTo>
                  <a:close/>
                </a:path>
                <a:path w="952500" h="1536700">
                  <a:moveTo>
                    <a:pt x="248368" y="1003300"/>
                  </a:moveTo>
                  <a:lnTo>
                    <a:pt x="78727" y="1003300"/>
                  </a:lnTo>
                  <a:lnTo>
                    <a:pt x="436016" y="1130300"/>
                  </a:lnTo>
                  <a:lnTo>
                    <a:pt x="426265" y="1155700"/>
                  </a:lnTo>
                  <a:lnTo>
                    <a:pt x="416942" y="1168400"/>
                  </a:lnTo>
                  <a:lnTo>
                    <a:pt x="407393" y="1193800"/>
                  </a:lnTo>
                  <a:lnTo>
                    <a:pt x="396963" y="1219200"/>
                  </a:lnTo>
                  <a:lnTo>
                    <a:pt x="461423" y="1219200"/>
                  </a:lnTo>
                  <a:lnTo>
                    <a:pt x="522636" y="1079500"/>
                  </a:lnTo>
                  <a:lnTo>
                    <a:pt x="459930" y="1079500"/>
                  </a:lnTo>
                  <a:lnTo>
                    <a:pt x="248368" y="1003300"/>
                  </a:lnTo>
                  <a:close/>
                </a:path>
                <a:path w="952500" h="1536700">
                  <a:moveTo>
                    <a:pt x="356438" y="762000"/>
                  </a:moveTo>
                  <a:lnTo>
                    <a:pt x="283375" y="762000"/>
                  </a:lnTo>
                  <a:lnTo>
                    <a:pt x="306766" y="800100"/>
                  </a:lnTo>
                  <a:lnTo>
                    <a:pt x="329296" y="825500"/>
                  </a:lnTo>
                  <a:lnTo>
                    <a:pt x="353196" y="863600"/>
                  </a:lnTo>
                  <a:lnTo>
                    <a:pt x="380695" y="889000"/>
                  </a:lnTo>
                  <a:lnTo>
                    <a:pt x="412633" y="901700"/>
                  </a:lnTo>
                  <a:lnTo>
                    <a:pt x="448756" y="914400"/>
                  </a:lnTo>
                  <a:lnTo>
                    <a:pt x="487281" y="914400"/>
                  </a:lnTo>
                  <a:lnTo>
                    <a:pt x="526427" y="927100"/>
                  </a:lnTo>
                  <a:lnTo>
                    <a:pt x="459930" y="1079500"/>
                  </a:lnTo>
                  <a:lnTo>
                    <a:pt x="522636" y="1079500"/>
                  </a:lnTo>
                  <a:lnTo>
                    <a:pt x="617239" y="863600"/>
                  </a:lnTo>
                  <a:lnTo>
                    <a:pt x="475767" y="863600"/>
                  </a:lnTo>
                  <a:lnTo>
                    <a:pt x="434305" y="850900"/>
                  </a:lnTo>
                  <a:lnTo>
                    <a:pt x="398529" y="825500"/>
                  </a:lnTo>
                  <a:lnTo>
                    <a:pt x="371540" y="800100"/>
                  </a:lnTo>
                  <a:lnTo>
                    <a:pt x="356438" y="762000"/>
                  </a:lnTo>
                  <a:close/>
                </a:path>
                <a:path w="952500" h="1536700">
                  <a:moveTo>
                    <a:pt x="690024" y="711200"/>
                  </a:moveTo>
                  <a:lnTo>
                    <a:pt x="475767" y="711200"/>
                  </a:lnTo>
                  <a:lnTo>
                    <a:pt x="525129" y="723900"/>
                  </a:lnTo>
                  <a:lnTo>
                    <a:pt x="574890" y="723900"/>
                  </a:lnTo>
                  <a:lnTo>
                    <a:pt x="587810" y="736600"/>
                  </a:lnTo>
                  <a:lnTo>
                    <a:pt x="594885" y="736600"/>
                  </a:lnTo>
                  <a:lnTo>
                    <a:pt x="597195" y="749300"/>
                  </a:lnTo>
                  <a:lnTo>
                    <a:pt x="580532" y="800100"/>
                  </a:lnTo>
                  <a:lnTo>
                    <a:pt x="517280" y="850900"/>
                  </a:lnTo>
                  <a:lnTo>
                    <a:pt x="475767" y="863600"/>
                  </a:lnTo>
                  <a:lnTo>
                    <a:pt x="617239" y="863600"/>
                  </a:lnTo>
                  <a:lnTo>
                    <a:pt x="661758" y="762000"/>
                  </a:lnTo>
                  <a:lnTo>
                    <a:pt x="771151" y="762000"/>
                  </a:lnTo>
                  <a:lnTo>
                    <a:pt x="752291" y="749300"/>
                  </a:lnTo>
                  <a:lnTo>
                    <a:pt x="690024" y="711200"/>
                  </a:lnTo>
                  <a:close/>
                </a:path>
                <a:path w="952500" h="1536700">
                  <a:moveTo>
                    <a:pt x="764311" y="495300"/>
                  </a:moveTo>
                  <a:lnTo>
                    <a:pt x="701738" y="495300"/>
                  </a:lnTo>
                  <a:lnTo>
                    <a:pt x="685442" y="533400"/>
                  </a:lnTo>
                  <a:lnTo>
                    <a:pt x="658328" y="571500"/>
                  </a:lnTo>
                  <a:lnTo>
                    <a:pt x="622276" y="609600"/>
                  </a:lnTo>
                  <a:lnTo>
                    <a:pt x="579163" y="635000"/>
                  </a:lnTo>
                  <a:lnTo>
                    <a:pt x="530869" y="647700"/>
                  </a:lnTo>
                  <a:lnTo>
                    <a:pt x="479272" y="660400"/>
                  </a:lnTo>
                  <a:lnTo>
                    <a:pt x="318822" y="660400"/>
                  </a:lnTo>
                  <a:lnTo>
                    <a:pt x="334302" y="673100"/>
                  </a:lnTo>
                  <a:lnTo>
                    <a:pt x="321330" y="685800"/>
                  </a:lnTo>
                  <a:lnTo>
                    <a:pt x="631507" y="685800"/>
                  </a:lnTo>
                  <a:lnTo>
                    <a:pt x="658793" y="647700"/>
                  </a:lnTo>
                  <a:lnTo>
                    <a:pt x="686177" y="622300"/>
                  </a:lnTo>
                  <a:lnTo>
                    <a:pt x="712499" y="596900"/>
                  </a:lnTo>
                  <a:lnTo>
                    <a:pt x="736599" y="558800"/>
                  </a:lnTo>
                  <a:lnTo>
                    <a:pt x="758584" y="520700"/>
                  </a:lnTo>
                  <a:lnTo>
                    <a:pt x="764311" y="495300"/>
                  </a:lnTo>
                  <a:close/>
                </a:path>
                <a:path w="952500" h="1536700">
                  <a:moveTo>
                    <a:pt x="184111" y="38100"/>
                  </a:moveTo>
                  <a:lnTo>
                    <a:pt x="183960" y="88900"/>
                  </a:lnTo>
                  <a:lnTo>
                    <a:pt x="183529" y="152400"/>
                  </a:lnTo>
                  <a:lnTo>
                    <a:pt x="183057" y="228600"/>
                  </a:lnTo>
                  <a:lnTo>
                    <a:pt x="182934" y="317500"/>
                  </a:lnTo>
                  <a:lnTo>
                    <a:pt x="183195" y="355600"/>
                  </a:lnTo>
                  <a:lnTo>
                    <a:pt x="184096" y="406400"/>
                  </a:lnTo>
                  <a:lnTo>
                    <a:pt x="185699" y="457200"/>
                  </a:lnTo>
                  <a:lnTo>
                    <a:pt x="194078" y="508000"/>
                  </a:lnTo>
                  <a:lnTo>
                    <a:pt x="213850" y="558800"/>
                  </a:lnTo>
                  <a:lnTo>
                    <a:pt x="242997" y="596900"/>
                  </a:lnTo>
                  <a:lnTo>
                    <a:pt x="291730" y="647700"/>
                  </a:lnTo>
                  <a:lnTo>
                    <a:pt x="304734" y="660400"/>
                  </a:lnTo>
                  <a:lnTo>
                    <a:pt x="479272" y="660400"/>
                  </a:lnTo>
                  <a:lnTo>
                    <a:pt x="427553" y="647700"/>
                  </a:lnTo>
                  <a:lnTo>
                    <a:pt x="379072" y="635000"/>
                  </a:lnTo>
                  <a:lnTo>
                    <a:pt x="335749" y="609600"/>
                  </a:lnTo>
                  <a:lnTo>
                    <a:pt x="299505" y="571500"/>
                  </a:lnTo>
                  <a:lnTo>
                    <a:pt x="272259" y="533400"/>
                  </a:lnTo>
                  <a:lnTo>
                    <a:pt x="255930" y="495300"/>
                  </a:lnTo>
                  <a:lnTo>
                    <a:pt x="764311" y="495300"/>
                  </a:lnTo>
                  <a:lnTo>
                    <a:pt x="767174" y="482600"/>
                  </a:lnTo>
                  <a:lnTo>
                    <a:pt x="345668" y="482600"/>
                  </a:lnTo>
                  <a:lnTo>
                    <a:pt x="308238" y="457200"/>
                  </a:lnTo>
                  <a:lnTo>
                    <a:pt x="277410" y="431800"/>
                  </a:lnTo>
                  <a:lnTo>
                    <a:pt x="254591" y="393700"/>
                  </a:lnTo>
                  <a:lnTo>
                    <a:pt x="241185" y="342900"/>
                  </a:lnTo>
                  <a:lnTo>
                    <a:pt x="286453" y="330200"/>
                  </a:lnTo>
                  <a:lnTo>
                    <a:pt x="330225" y="304800"/>
                  </a:lnTo>
                  <a:lnTo>
                    <a:pt x="777500" y="304800"/>
                  </a:lnTo>
                  <a:lnTo>
                    <a:pt x="776986" y="279400"/>
                  </a:lnTo>
                  <a:lnTo>
                    <a:pt x="238074" y="279400"/>
                  </a:lnTo>
                  <a:lnTo>
                    <a:pt x="238163" y="152400"/>
                  </a:lnTo>
                  <a:lnTo>
                    <a:pt x="238400" y="152400"/>
                  </a:lnTo>
                  <a:lnTo>
                    <a:pt x="238899" y="139700"/>
                  </a:lnTo>
                  <a:lnTo>
                    <a:pt x="239513" y="127000"/>
                  </a:lnTo>
                  <a:lnTo>
                    <a:pt x="329913" y="127000"/>
                  </a:lnTo>
                  <a:lnTo>
                    <a:pt x="338958" y="88900"/>
                  </a:lnTo>
                  <a:lnTo>
                    <a:pt x="353707" y="63500"/>
                  </a:lnTo>
                  <a:lnTo>
                    <a:pt x="278599" y="63500"/>
                  </a:lnTo>
                  <a:lnTo>
                    <a:pt x="184111" y="38100"/>
                  </a:lnTo>
                  <a:close/>
                </a:path>
                <a:path w="952500" h="1536700">
                  <a:moveTo>
                    <a:pt x="701738" y="495300"/>
                  </a:moveTo>
                  <a:lnTo>
                    <a:pt x="255930" y="495300"/>
                  </a:lnTo>
                  <a:lnTo>
                    <a:pt x="395008" y="571500"/>
                  </a:lnTo>
                  <a:lnTo>
                    <a:pt x="408652" y="533400"/>
                  </a:lnTo>
                  <a:lnTo>
                    <a:pt x="424562" y="520700"/>
                  </a:lnTo>
                  <a:lnTo>
                    <a:pt x="452952" y="508000"/>
                  </a:lnTo>
                  <a:lnTo>
                    <a:pt x="676992" y="508000"/>
                  </a:lnTo>
                  <a:lnTo>
                    <a:pt x="701738" y="495300"/>
                  </a:lnTo>
                  <a:close/>
                </a:path>
                <a:path w="952500" h="1536700">
                  <a:moveTo>
                    <a:pt x="676992" y="508000"/>
                  </a:moveTo>
                  <a:lnTo>
                    <a:pt x="504037" y="508000"/>
                  </a:lnTo>
                  <a:lnTo>
                    <a:pt x="527263" y="520700"/>
                  </a:lnTo>
                  <a:lnTo>
                    <a:pt x="540794" y="520700"/>
                  </a:lnTo>
                  <a:lnTo>
                    <a:pt x="548253" y="546100"/>
                  </a:lnTo>
                  <a:lnTo>
                    <a:pt x="553262" y="571500"/>
                  </a:lnTo>
                  <a:lnTo>
                    <a:pt x="676992" y="508000"/>
                  </a:lnTo>
                  <a:close/>
                </a:path>
                <a:path w="952500" h="1536700">
                  <a:moveTo>
                    <a:pt x="507350" y="457200"/>
                  </a:moveTo>
                  <a:lnTo>
                    <a:pt x="416252" y="457200"/>
                  </a:lnTo>
                  <a:lnTo>
                    <a:pt x="370725" y="482600"/>
                  </a:lnTo>
                  <a:lnTo>
                    <a:pt x="601192" y="482600"/>
                  </a:lnTo>
                  <a:lnTo>
                    <a:pt x="507350" y="457200"/>
                  </a:lnTo>
                  <a:close/>
                </a:path>
                <a:path w="952500" h="1536700">
                  <a:moveTo>
                    <a:pt x="777500" y="304800"/>
                  </a:moveTo>
                  <a:lnTo>
                    <a:pt x="351815" y="304800"/>
                  </a:lnTo>
                  <a:lnTo>
                    <a:pt x="381573" y="330200"/>
                  </a:lnTo>
                  <a:lnTo>
                    <a:pt x="413061" y="330200"/>
                  </a:lnTo>
                  <a:lnTo>
                    <a:pt x="445748" y="342900"/>
                  </a:lnTo>
                  <a:lnTo>
                    <a:pt x="718019" y="342900"/>
                  </a:lnTo>
                  <a:lnTo>
                    <a:pt x="700028" y="393700"/>
                  </a:lnTo>
                  <a:lnTo>
                    <a:pt x="673507" y="431800"/>
                  </a:lnTo>
                  <a:lnTo>
                    <a:pt x="640036" y="457200"/>
                  </a:lnTo>
                  <a:lnTo>
                    <a:pt x="601192" y="482600"/>
                  </a:lnTo>
                  <a:lnTo>
                    <a:pt x="767174" y="482600"/>
                  </a:lnTo>
                  <a:lnTo>
                    <a:pt x="770038" y="469900"/>
                  </a:lnTo>
                  <a:lnTo>
                    <a:pt x="774641" y="431800"/>
                  </a:lnTo>
                  <a:lnTo>
                    <a:pt x="776074" y="381000"/>
                  </a:lnTo>
                  <a:lnTo>
                    <a:pt x="778014" y="330200"/>
                  </a:lnTo>
                  <a:lnTo>
                    <a:pt x="777500" y="304800"/>
                  </a:lnTo>
                  <a:close/>
                </a:path>
                <a:path w="952500" h="1536700">
                  <a:moveTo>
                    <a:pt x="368426" y="228600"/>
                  </a:moveTo>
                  <a:lnTo>
                    <a:pt x="309041" y="228600"/>
                  </a:lnTo>
                  <a:lnTo>
                    <a:pt x="298930" y="254000"/>
                  </a:lnTo>
                  <a:lnTo>
                    <a:pt x="284059" y="266700"/>
                  </a:lnTo>
                  <a:lnTo>
                    <a:pt x="263937" y="279400"/>
                  </a:lnTo>
                  <a:lnTo>
                    <a:pt x="418106" y="279400"/>
                  </a:lnTo>
                  <a:lnTo>
                    <a:pt x="396832" y="266700"/>
                  </a:lnTo>
                  <a:lnTo>
                    <a:pt x="379856" y="254000"/>
                  </a:lnTo>
                  <a:lnTo>
                    <a:pt x="368426" y="228600"/>
                  </a:lnTo>
                  <a:close/>
                </a:path>
                <a:path w="952500" h="1536700">
                  <a:moveTo>
                    <a:pt x="479523" y="0"/>
                  </a:moveTo>
                  <a:lnTo>
                    <a:pt x="349902" y="0"/>
                  </a:lnTo>
                  <a:lnTo>
                    <a:pt x="311832" y="25400"/>
                  </a:lnTo>
                  <a:lnTo>
                    <a:pt x="278599" y="63500"/>
                  </a:lnTo>
                  <a:lnTo>
                    <a:pt x="482180" y="63500"/>
                  </a:lnTo>
                  <a:lnTo>
                    <a:pt x="529422" y="76200"/>
                  </a:lnTo>
                  <a:lnTo>
                    <a:pt x="571951" y="88900"/>
                  </a:lnTo>
                  <a:lnTo>
                    <a:pt x="610101" y="114300"/>
                  </a:lnTo>
                  <a:lnTo>
                    <a:pt x="644201" y="152400"/>
                  </a:lnTo>
                  <a:lnTo>
                    <a:pt x="674586" y="190500"/>
                  </a:lnTo>
                  <a:lnTo>
                    <a:pt x="701586" y="228600"/>
                  </a:lnTo>
                  <a:lnTo>
                    <a:pt x="715902" y="266700"/>
                  </a:lnTo>
                  <a:lnTo>
                    <a:pt x="721283" y="279400"/>
                  </a:lnTo>
                  <a:lnTo>
                    <a:pt x="776986" y="279400"/>
                  </a:lnTo>
                  <a:lnTo>
                    <a:pt x="767369" y="241300"/>
                  </a:lnTo>
                  <a:lnTo>
                    <a:pt x="750347" y="190500"/>
                  </a:lnTo>
                  <a:lnTo>
                    <a:pt x="727104" y="152400"/>
                  </a:lnTo>
                  <a:lnTo>
                    <a:pt x="698825" y="114300"/>
                  </a:lnTo>
                  <a:lnTo>
                    <a:pt x="666693" y="88900"/>
                  </a:lnTo>
                  <a:lnTo>
                    <a:pt x="631894" y="63500"/>
                  </a:lnTo>
                  <a:lnTo>
                    <a:pt x="595610" y="38100"/>
                  </a:lnTo>
                  <a:lnTo>
                    <a:pt x="523328" y="12700"/>
                  </a:lnTo>
                  <a:lnTo>
                    <a:pt x="479523" y="0"/>
                  </a:lnTo>
                  <a:close/>
                </a:path>
                <a:path w="952500" h="1536700">
                  <a:moveTo>
                    <a:pt x="356236" y="215900"/>
                  </a:moveTo>
                  <a:lnTo>
                    <a:pt x="320686" y="215900"/>
                  </a:lnTo>
                  <a:lnTo>
                    <a:pt x="313296" y="228600"/>
                  </a:lnTo>
                  <a:lnTo>
                    <a:pt x="364206" y="228600"/>
                  </a:lnTo>
                  <a:lnTo>
                    <a:pt x="356236" y="215900"/>
                  </a:lnTo>
                  <a:close/>
                </a:path>
                <a:path w="952500" h="1536700">
                  <a:moveTo>
                    <a:pt x="329913" y="127000"/>
                  </a:moveTo>
                  <a:lnTo>
                    <a:pt x="240093" y="127000"/>
                  </a:lnTo>
                  <a:lnTo>
                    <a:pt x="326897" y="139700"/>
                  </a:lnTo>
                  <a:lnTo>
                    <a:pt x="329913" y="1270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0" tIns="0" rIns="0" bIns="0" rtlCol="0"/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object 9">
              <a:extLst>
                <a:ext uri="{FF2B5EF4-FFF2-40B4-BE49-F238E27FC236}">
                  <a16:creationId xmlns:a16="http://schemas.microsoft.com/office/drawing/2014/main" id="{E23B0BEA-ECD4-4DF1-BB5F-FC3B57363032}"/>
                </a:ext>
              </a:extLst>
            </p:cNvPr>
            <p:cNvSpPr/>
            <p:nvPr/>
          </p:nvSpPr>
          <p:spPr>
            <a:xfrm>
              <a:off x="5969544" y="2778324"/>
              <a:ext cx="497205" cy="1183005"/>
            </a:xfrm>
            <a:custGeom>
              <a:avLst/>
              <a:gdLst/>
              <a:ahLst/>
              <a:cxnLst/>
              <a:rect l="l" t="t" r="r" b="b"/>
              <a:pathLst>
                <a:path w="497204" h="1183004">
                  <a:moveTo>
                    <a:pt x="54101" y="311454"/>
                  </a:moveTo>
                  <a:lnTo>
                    <a:pt x="0" y="311454"/>
                  </a:lnTo>
                  <a:lnTo>
                    <a:pt x="0" y="1182509"/>
                  </a:lnTo>
                  <a:lnTo>
                    <a:pt x="55079" y="1182509"/>
                  </a:lnTo>
                  <a:lnTo>
                    <a:pt x="55079" y="599186"/>
                  </a:lnTo>
                  <a:lnTo>
                    <a:pt x="340546" y="599186"/>
                  </a:lnTo>
                  <a:lnTo>
                    <a:pt x="403326" y="598411"/>
                  </a:lnTo>
                  <a:lnTo>
                    <a:pt x="497039" y="598411"/>
                  </a:lnTo>
                  <a:lnTo>
                    <a:pt x="497039" y="541337"/>
                  </a:lnTo>
                  <a:lnTo>
                    <a:pt x="395858" y="541337"/>
                  </a:lnTo>
                  <a:lnTo>
                    <a:pt x="335893" y="540486"/>
                  </a:lnTo>
                  <a:lnTo>
                    <a:pt x="100622" y="540486"/>
                  </a:lnTo>
                  <a:lnTo>
                    <a:pt x="89886" y="540204"/>
                  </a:lnTo>
                  <a:lnTo>
                    <a:pt x="78795" y="539526"/>
                  </a:lnTo>
                  <a:lnTo>
                    <a:pt x="54101" y="537756"/>
                  </a:lnTo>
                  <a:lnTo>
                    <a:pt x="54101" y="311454"/>
                  </a:lnTo>
                  <a:close/>
                </a:path>
                <a:path w="497204" h="1183004">
                  <a:moveTo>
                    <a:pt x="497039" y="598411"/>
                  </a:moveTo>
                  <a:lnTo>
                    <a:pt x="403326" y="598411"/>
                  </a:lnTo>
                  <a:lnTo>
                    <a:pt x="423661" y="600366"/>
                  </a:lnTo>
                  <a:lnTo>
                    <a:pt x="435964" y="607534"/>
                  </a:lnTo>
                  <a:lnTo>
                    <a:pt x="441986" y="620587"/>
                  </a:lnTo>
                  <a:lnTo>
                    <a:pt x="443483" y="640194"/>
                  </a:lnTo>
                  <a:lnTo>
                    <a:pt x="443148" y="689938"/>
                  </a:lnTo>
                  <a:lnTo>
                    <a:pt x="442916" y="739683"/>
                  </a:lnTo>
                  <a:lnTo>
                    <a:pt x="442772" y="789430"/>
                  </a:lnTo>
                  <a:lnTo>
                    <a:pt x="442704" y="938673"/>
                  </a:lnTo>
                  <a:lnTo>
                    <a:pt x="442861" y="1181341"/>
                  </a:lnTo>
                  <a:lnTo>
                    <a:pt x="497039" y="1181341"/>
                  </a:lnTo>
                  <a:lnTo>
                    <a:pt x="497039" y="598411"/>
                  </a:lnTo>
                  <a:close/>
                </a:path>
                <a:path w="497204" h="1183004">
                  <a:moveTo>
                    <a:pt x="340546" y="599186"/>
                  </a:moveTo>
                  <a:lnTo>
                    <a:pt x="55079" y="599186"/>
                  </a:lnTo>
                  <a:lnTo>
                    <a:pt x="206354" y="599512"/>
                  </a:lnTo>
                  <a:lnTo>
                    <a:pt x="340546" y="599186"/>
                  </a:lnTo>
                  <a:close/>
                </a:path>
                <a:path w="497204" h="1183004">
                  <a:moveTo>
                    <a:pt x="497039" y="0"/>
                  </a:moveTo>
                  <a:lnTo>
                    <a:pt x="444830" y="0"/>
                  </a:lnTo>
                  <a:lnTo>
                    <a:pt x="444225" y="11324"/>
                  </a:lnTo>
                  <a:lnTo>
                    <a:pt x="443614" y="21929"/>
                  </a:lnTo>
                  <a:lnTo>
                    <a:pt x="443140" y="32054"/>
                  </a:lnTo>
                  <a:lnTo>
                    <a:pt x="442950" y="41935"/>
                  </a:lnTo>
                  <a:lnTo>
                    <a:pt x="442868" y="92270"/>
                  </a:lnTo>
                  <a:lnTo>
                    <a:pt x="442591" y="192940"/>
                  </a:lnTo>
                  <a:lnTo>
                    <a:pt x="442517" y="343939"/>
                  </a:lnTo>
                  <a:lnTo>
                    <a:pt x="442750" y="394268"/>
                  </a:lnTo>
                  <a:lnTo>
                    <a:pt x="443181" y="444595"/>
                  </a:lnTo>
                  <a:lnTo>
                    <a:pt x="443852" y="494919"/>
                  </a:lnTo>
                  <a:lnTo>
                    <a:pt x="441639" y="518648"/>
                  </a:lnTo>
                  <a:lnTo>
                    <a:pt x="433485" y="532968"/>
                  </a:lnTo>
                  <a:lnTo>
                    <a:pt x="418516" y="539867"/>
                  </a:lnTo>
                  <a:lnTo>
                    <a:pt x="395858" y="541337"/>
                  </a:lnTo>
                  <a:lnTo>
                    <a:pt x="497039" y="541337"/>
                  </a:lnTo>
                  <a:lnTo>
                    <a:pt x="497039" y="0"/>
                  </a:lnTo>
                  <a:close/>
                </a:path>
                <a:path w="497204" h="1183004">
                  <a:moveTo>
                    <a:pt x="248254" y="540207"/>
                  </a:moveTo>
                  <a:lnTo>
                    <a:pt x="100622" y="540486"/>
                  </a:lnTo>
                  <a:lnTo>
                    <a:pt x="335893" y="540486"/>
                  </a:lnTo>
                  <a:lnTo>
                    <a:pt x="248254" y="54020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0" tIns="0" rIns="0" bIns="0" rtlCol="0"/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5469DA4-09B5-42C1-945A-909AD9C085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799289" y="5651087"/>
            <a:ext cx="396765" cy="927265"/>
            <a:chOff x="8799289" y="5651087"/>
            <a:chExt cx="396765" cy="927265"/>
          </a:xfrm>
        </p:grpSpPr>
        <p:grpSp>
          <p:nvGrpSpPr>
            <p:cNvPr id="38" name="Group 37" descr="Icon of a person holding a newborn baby" title="New Parent">
              <a:extLst>
                <a:ext uri="{FF2B5EF4-FFF2-40B4-BE49-F238E27FC236}">
                  <a16:creationId xmlns:a16="http://schemas.microsoft.com/office/drawing/2014/main" id="{8D7E5BDC-86AA-4A35-B061-AB8762DEF91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799289" y="5651087"/>
              <a:ext cx="396765" cy="640538"/>
              <a:chOff x="9036285" y="1766858"/>
              <a:chExt cx="951865" cy="1536700"/>
            </a:xfrm>
            <a:solidFill>
              <a:schemeClr val="bg1"/>
            </a:solidFill>
          </p:grpSpPr>
          <p:sp>
            <p:nvSpPr>
              <p:cNvPr id="40" name="object 15">
                <a:extLst>
                  <a:ext uri="{FF2B5EF4-FFF2-40B4-BE49-F238E27FC236}">
                    <a16:creationId xmlns:a16="http://schemas.microsoft.com/office/drawing/2014/main" id="{295ED71E-AECD-42CF-B2AD-89A68838D25F}"/>
                  </a:ext>
                </a:extLst>
              </p:cNvPr>
              <p:cNvSpPr/>
              <p:nvPr/>
            </p:nvSpPr>
            <p:spPr>
              <a:xfrm>
                <a:off x="9036285" y="1766858"/>
                <a:ext cx="951865" cy="1536700"/>
              </a:xfrm>
              <a:custGeom>
                <a:avLst/>
                <a:gdLst/>
                <a:ahLst/>
                <a:cxnLst/>
                <a:rect l="l" t="t" r="r" b="b"/>
                <a:pathLst>
                  <a:path w="951865" h="1536700">
                    <a:moveTo>
                      <a:pt x="755986" y="762000"/>
                    </a:moveTo>
                    <a:lnTo>
                      <a:pt x="667851" y="762000"/>
                    </a:lnTo>
                    <a:lnTo>
                      <a:pt x="714161" y="800100"/>
                    </a:lnTo>
                    <a:lnTo>
                      <a:pt x="755223" y="825500"/>
                    </a:lnTo>
                    <a:lnTo>
                      <a:pt x="791018" y="863600"/>
                    </a:lnTo>
                    <a:lnTo>
                      <a:pt x="821528" y="901700"/>
                    </a:lnTo>
                    <a:lnTo>
                      <a:pt x="846735" y="939800"/>
                    </a:lnTo>
                    <a:lnTo>
                      <a:pt x="866620" y="990600"/>
                    </a:lnTo>
                    <a:lnTo>
                      <a:pt x="881165" y="1041400"/>
                    </a:lnTo>
                    <a:lnTo>
                      <a:pt x="890353" y="1092200"/>
                    </a:lnTo>
                    <a:lnTo>
                      <a:pt x="894165" y="1143000"/>
                    </a:lnTo>
                    <a:lnTo>
                      <a:pt x="894950" y="1193800"/>
                    </a:lnTo>
                    <a:lnTo>
                      <a:pt x="895221" y="1231900"/>
                    </a:lnTo>
                    <a:lnTo>
                      <a:pt x="895331" y="1308100"/>
                    </a:lnTo>
                    <a:lnTo>
                      <a:pt x="895225" y="1346200"/>
                    </a:lnTo>
                    <a:lnTo>
                      <a:pt x="895003" y="1397000"/>
                    </a:lnTo>
                    <a:lnTo>
                      <a:pt x="894815" y="1447800"/>
                    </a:lnTo>
                    <a:lnTo>
                      <a:pt x="894774" y="1498600"/>
                    </a:lnTo>
                    <a:lnTo>
                      <a:pt x="894991" y="1511300"/>
                    </a:lnTo>
                    <a:lnTo>
                      <a:pt x="895489" y="1524000"/>
                    </a:lnTo>
                    <a:lnTo>
                      <a:pt x="896096" y="1536700"/>
                    </a:lnTo>
                    <a:lnTo>
                      <a:pt x="951188" y="1536700"/>
                    </a:lnTo>
                    <a:lnTo>
                      <a:pt x="951246" y="1485900"/>
                    </a:lnTo>
                    <a:lnTo>
                      <a:pt x="951678" y="1346200"/>
                    </a:lnTo>
                    <a:lnTo>
                      <a:pt x="951561" y="1231900"/>
                    </a:lnTo>
                    <a:lnTo>
                      <a:pt x="951345" y="1193800"/>
                    </a:lnTo>
                    <a:lnTo>
                      <a:pt x="950807" y="1143000"/>
                    </a:lnTo>
                    <a:lnTo>
                      <a:pt x="948076" y="1092200"/>
                    </a:lnTo>
                    <a:lnTo>
                      <a:pt x="941212" y="1041400"/>
                    </a:lnTo>
                    <a:lnTo>
                      <a:pt x="930166" y="1003300"/>
                    </a:lnTo>
                    <a:lnTo>
                      <a:pt x="914888" y="952500"/>
                    </a:lnTo>
                    <a:lnTo>
                      <a:pt x="895329" y="914400"/>
                    </a:lnTo>
                    <a:lnTo>
                      <a:pt x="871439" y="876300"/>
                    </a:lnTo>
                    <a:lnTo>
                      <a:pt x="843169" y="838200"/>
                    </a:lnTo>
                    <a:lnTo>
                      <a:pt x="810467" y="800100"/>
                    </a:lnTo>
                    <a:lnTo>
                      <a:pt x="773286" y="774700"/>
                    </a:lnTo>
                    <a:lnTo>
                      <a:pt x="755986" y="762000"/>
                    </a:lnTo>
                    <a:close/>
                  </a:path>
                  <a:path w="951865" h="1536700">
                    <a:moveTo>
                      <a:pt x="626716" y="673100"/>
                    </a:moveTo>
                    <a:lnTo>
                      <a:pt x="326488" y="673100"/>
                    </a:lnTo>
                    <a:lnTo>
                      <a:pt x="327554" y="685800"/>
                    </a:lnTo>
                    <a:lnTo>
                      <a:pt x="314092" y="685800"/>
                    </a:lnTo>
                    <a:lnTo>
                      <a:pt x="307031" y="698500"/>
                    </a:lnTo>
                    <a:lnTo>
                      <a:pt x="258295" y="711200"/>
                    </a:lnTo>
                    <a:lnTo>
                      <a:pt x="213668" y="749300"/>
                    </a:lnTo>
                    <a:lnTo>
                      <a:pt x="173169" y="774700"/>
                    </a:lnTo>
                    <a:lnTo>
                      <a:pt x="136817" y="800100"/>
                    </a:lnTo>
                    <a:lnTo>
                      <a:pt x="104630" y="838200"/>
                    </a:lnTo>
                    <a:lnTo>
                      <a:pt x="76629" y="876300"/>
                    </a:lnTo>
                    <a:lnTo>
                      <a:pt x="52833" y="927100"/>
                    </a:lnTo>
                    <a:lnTo>
                      <a:pt x="33260" y="965200"/>
                    </a:lnTo>
                    <a:lnTo>
                      <a:pt x="17929" y="1016000"/>
                    </a:lnTo>
                    <a:lnTo>
                      <a:pt x="6860" y="1066800"/>
                    </a:lnTo>
                    <a:lnTo>
                      <a:pt x="72" y="1117600"/>
                    </a:lnTo>
                    <a:lnTo>
                      <a:pt x="0" y="1143000"/>
                    </a:lnTo>
                    <a:lnTo>
                      <a:pt x="4444" y="1155700"/>
                    </a:lnTo>
                    <a:lnTo>
                      <a:pt x="15056" y="1168400"/>
                    </a:lnTo>
                    <a:lnTo>
                      <a:pt x="33486" y="1168400"/>
                    </a:lnTo>
                    <a:lnTo>
                      <a:pt x="159994" y="1206500"/>
                    </a:lnTo>
                    <a:lnTo>
                      <a:pt x="202066" y="1231900"/>
                    </a:lnTo>
                    <a:lnTo>
                      <a:pt x="471115" y="1308100"/>
                    </a:lnTo>
                    <a:lnTo>
                      <a:pt x="520844" y="1320800"/>
                    </a:lnTo>
                    <a:lnTo>
                      <a:pt x="565968" y="1308100"/>
                    </a:lnTo>
                    <a:lnTo>
                      <a:pt x="602124" y="1282700"/>
                    </a:lnTo>
                    <a:lnTo>
                      <a:pt x="609733" y="1270000"/>
                    </a:lnTo>
                    <a:lnTo>
                      <a:pt x="511184" y="1270000"/>
                    </a:lnTo>
                    <a:lnTo>
                      <a:pt x="509870" y="1244600"/>
                    </a:lnTo>
                    <a:lnTo>
                      <a:pt x="447760" y="1244600"/>
                    </a:lnTo>
                    <a:lnTo>
                      <a:pt x="346122" y="1219200"/>
                    </a:lnTo>
                    <a:lnTo>
                      <a:pt x="368419" y="1181100"/>
                    </a:lnTo>
                    <a:lnTo>
                      <a:pt x="254821" y="1181100"/>
                    </a:lnTo>
                    <a:lnTo>
                      <a:pt x="215839" y="1168400"/>
                    </a:lnTo>
                    <a:lnTo>
                      <a:pt x="184070" y="1155700"/>
                    </a:lnTo>
                    <a:lnTo>
                      <a:pt x="169704" y="1130300"/>
                    </a:lnTo>
                    <a:lnTo>
                      <a:pt x="79270" y="1130300"/>
                    </a:lnTo>
                    <a:lnTo>
                      <a:pt x="66345" y="1117600"/>
                    </a:lnTo>
                    <a:lnTo>
                      <a:pt x="60629" y="1104900"/>
                    </a:lnTo>
                    <a:lnTo>
                      <a:pt x="61159" y="1079500"/>
                    </a:lnTo>
                    <a:lnTo>
                      <a:pt x="70939" y="1028700"/>
                    </a:lnTo>
                    <a:lnTo>
                      <a:pt x="86150" y="990600"/>
                    </a:lnTo>
                    <a:lnTo>
                      <a:pt x="106776" y="939800"/>
                    </a:lnTo>
                    <a:lnTo>
                      <a:pt x="132800" y="901700"/>
                    </a:lnTo>
                    <a:lnTo>
                      <a:pt x="167204" y="850900"/>
                    </a:lnTo>
                    <a:lnTo>
                      <a:pt x="206477" y="812800"/>
                    </a:lnTo>
                    <a:lnTo>
                      <a:pt x="251006" y="787400"/>
                    </a:lnTo>
                    <a:lnTo>
                      <a:pt x="301176" y="762000"/>
                    </a:lnTo>
                    <a:lnTo>
                      <a:pt x="371735" y="762000"/>
                    </a:lnTo>
                    <a:lnTo>
                      <a:pt x="359457" y="736600"/>
                    </a:lnTo>
                    <a:lnTo>
                      <a:pt x="406453" y="723900"/>
                    </a:lnTo>
                    <a:lnTo>
                      <a:pt x="702177" y="723900"/>
                    </a:lnTo>
                    <a:lnTo>
                      <a:pt x="626716" y="673100"/>
                    </a:lnTo>
                    <a:close/>
                  </a:path>
                  <a:path w="951865" h="1536700">
                    <a:moveTo>
                      <a:pt x="608513" y="1130300"/>
                    </a:moveTo>
                    <a:lnTo>
                      <a:pt x="503957" y="1130300"/>
                    </a:lnTo>
                    <a:lnTo>
                      <a:pt x="531960" y="1143000"/>
                    </a:lnTo>
                    <a:lnTo>
                      <a:pt x="553106" y="1155700"/>
                    </a:lnTo>
                    <a:lnTo>
                      <a:pt x="566804" y="1168400"/>
                    </a:lnTo>
                    <a:lnTo>
                      <a:pt x="572461" y="1193800"/>
                    </a:lnTo>
                    <a:lnTo>
                      <a:pt x="569800" y="1219200"/>
                    </a:lnTo>
                    <a:lnTo>
                      <a:pt x="558858" y="1244600"/>
                    </a:lnTo>
                    <a:lnTo>
                      <a:pt x="539398" y="1257300"/>
                    </a:lnTo>
                    <a:lnTo>
                      <a:pt x="511184" y="1270000"/>
                    </a:lnTo>
                    <a:lnTo>
                      <a:pt x="609733" y="1270000"/>
                    </a:lnTo>
                    <a:lnTo>
                      <a:pt x="624950" y="1244600"/>
                    </a:lnTo>
                    <a:lnTo>
                      <a:pt x="630924" y="1193800"/>
                    </a:lnTo>
                    <a:lnTo>
                      <a:pt x="618356" y="1143000"/>
                    </a:lnTo>
                    <a:lnTo>
                      <a:pt x="608513" y="1130300"/>
                    </a:lnTo>
                    <a:close/>
                  </a:path>
                  <a:path w="951865" h="1536700">
                    <a:moveTo>
                      <a:pt x="588828" y="1104900"/>
                    </a:moveTo>
                    <a:lnTo>
                      <a:pt x="413013" y="1104900"/>
                    </a:lnTo>
                    <a:lnTo>
                      <a:pt x="434839" y="1117600"/>
                    </a:lnTo>
                    <a:lnTo>
                      <a:pt x="447574" y="1143000"/>
                    </a:lnTo>
                    <a:lnTo>
                      <a:pt x="451716" y="1181100"/>
                    </a:lnTo>
                    <a:lnTo>
                      <a:pt x="447760" y="1244600"/>
                    </a:lnTo>
                    <a:lnTo>
                      <a:pt x="509870" y="1244600"/>
                    </a:lnTo>
                    <a:lnTo>
                      <a:pt x="503957" y="1130300"/>
                    </a:lnTo>
                    <a:lnTo>
                      <a:pt x="608513" y="1130300"/>
                    </a:lnTo>
                    <a:lnTo>
                      <a:pt x="588828" y="1104900"/>
                    </a:lnTo>
                    <a:close/>
                  </a:path>
                  <a:path w="951865" h="1536700">
                    <a:moveTo>
                      <a:pt x="371509" y="977900"/>
                    </a:moveTo>
                    <a:lnTo>
                      <a:pt x="250923" y="977900"/>
                    </a:lnTo>
                    <a:lnTo>
                      <a:pt x="288811" y="990600"/>
                    </a:lnTo>
                    <a:lnTo>
                      <a:pt x="319734" y="1016000"/>
                    </a:lnTo>
                    <a:lnTo>
                      <a:pt x="340566" y="1041400"/>
                    </a:lnTo>
                    <a:lnTo>
                      <a:pt x="348179" y="1079500"/>
                    </a:lnTo>
                    <a:lnTo>
                      <a:pt x="341075" y="1117600"/>
                    </a:lnTo>
                    <a:lnTo>
                      <a:pt x="321493" y="1143000"/>
                    </a:lnTo>
                    <a:lnTo>
                      <a:pt x="291915" y="1168400"/>
                    </a:lnTo>
                    <a:lnTo>
                      <a:pt x="254821" y="1181100"/>
                    </a:lnTo>
                    <a:lnTo>
                      <a:pt x="368419" y="1181100"/>
                    </a:lnTo>
                    <a:lnTo>
                      <a:pt x="413013" y="1104900"/>
                    </a:lnTo>
                    <a:lnTo>
                      <a:pt x="588828" y="1104900"/>
                    </a:lnTo>
                    <a:lnTo>
                      <a:pt x="543924" y="1079500"/>
                    </a:lnTo>
                    <a:lnTo>
                      <a:pt x="521066" y="1079500"/>
                    </a:lnTo>
                    <a:lnTo>
                      <a:pt x="509543" y="1066800"/>
                    </a:lnTo>
                    <a:lnTo>
                      <a:pt x="497988" y="1066800"/>
                    </a:lnTo>
                    <a:lnTo>
                      <a:pt x="459763" y="1054100"/>
                    </a:lnTo>
                    <a:lnTo>
                      <a:pt x="423528" y="1041400"/>
                    </a:lnTo>
                    <a:lnTo>
                      <a:pt x="392904" y="1016000"/>
                    </a:lnTo>
                    <a:lnTo>
                      <a:pt x="371509" y="977900"/>
                    </a:lnTo>
                    <a:close/>
                  </a:path>
                  <a:path w="951865" h="1536700">
                    <a:moveTo>
                      <a:pt x="290400" y="838200"/>
                    </a:moveTo>
                    <a:lnTo>
                      <a:pt x="255266" y="838200"/>
                    </a:lnTo>
                    <a:lnTo>
                      <a:pt x="255559" y="850900"/>
                    </a:lnTo>
                    <a:lnTo>
                      <a:pt x="255439" y="863600"/>
                    </a:lnTo>
                    <a:lnTo>
                      <a:pt x="256464" y="876300"/>
                    </a:lnTo>
                    <a:lnTo>
                      <a:pt x="260194" y="876300"/>
                    </a:lnTo>
                    <a:lnTo>
                      <a:pt x="274521" y="901700"/>
                    </a:lnTo>
                    <a:lnTo>
                      <a:pt x="270258" y="914400"/>
                    </a:lnTo>
                    <a:lnTo>
                      <a:pt x="253889" y="927100"/>
                    </a:lnTo>
                    <a:lnTo>
                      <a:pt x="231898" y="927100"/>
                    </a:lnTo>
                    <a:lnTo>
                      <a:pt x="182392" y="939800"/>
                    </a:lnTo>
                    <a:lnTo>
                      <a:pt x="143211" y="965200"/>
                    </a:lnTo>
                    <a:lnTo>
                      <a:pt x="115616" y="1003300"/>
                    </a:lnTo>
                    <a:lnTo>
                      <a:pt x="100871" y="1054100"/>
                    </a:lnTo>
                    <a:lnTo>
                      <a:pt x="100237" y="1104900"/>
                    </a:lnTo>
                    <a:lnTo>
                      <a:pt x="101190" y="1117600"/>
                    </a:lnTo>
                    <a:lnTo>
                      <a:pt x="100364" y="1117600"/>
                    </a:lnTo>
                    <a:lnTo>
                      <a:pt x="100364" y="1130300"/>
                    </a:lnTo>
                    <a:lnTo>
                      <a:pt x="169704" y="1130300"/>
                    </a:lnTo>
                    <a:lnTo>
                      <a:pt x="162521" y="1117600"/>
                    </a:lnTo>
                    <a:lnTo>
                      <a:pt x="154199" y="1079500"/>
                    </a:lnTo>
                    <a:lnTo>
                      <a:pt x="161554" y="1041400"/>
                    </a:lnTo>
                    <a:lnTo>
                      <a:pt x="182577" y="1016000"/>
                    </a:lnTo>
                    <a:lnTo>
                      <a:pt x="213592" y="990600"/>
                    </a:lnTo>
                    <a:lnTo>
                      <a:pt x="250923" y="977900"/>
                    </a:lnTo>
                    <a:lnTo>
                      <a:pt x="369121" y="977900"/>
                    </a:lnTo>
                    <a:lnTo>
                      <a:pt x="361667" y="965200"/>
                    </a:lnTo>
                    <a:lnTo>
                      <a:pt x="355075" y="965200"/>
                    </a:lnTo>
                    <a:lnTo>
                      <a:pt x="342560" y="952500"/>
                    </a:lnTo>
                    <a:lnTo>
                      <a:pt x="334782" y="939800"/>
                    </a:lnTo>
                    <a:lnTo>
                      <a:pt x="331588" y="927100"/>
                    </a:lnTo>
                    <a:lnTo>
                      <a:pt x="332825" y="914400"/>
                    </a:lnTo>
                    <a:lnTo>
                      <a:pt x="331345" y="876300"/>
                    </a:lnTo>
                    <a:lnTo>
                      <a:pt x="316482" y="863600"/>
                    </a:lnTo>
                    <a:lnTo>
                      <a:pt x="290400" y="838200"/>
                    </a:lnTo>
                    <a:close/>
                  </a:path>
                  <a:path w="951865" h="1536700">
                    <a:moveTo>
                      <a:pt x="371735" y="762000"/>
                    </a:moveTo>
                    <a:lnTo>
                      <a:pt x="301176" y="762000"/>
                    </a:lnTo>
                    <a:lnTo>
                      <a:pt x="323961" y="800100"/>
                    </a:lnTo>
                    <a:lnTo>
                      <a:pt x="352637" y="838200"/>
                    </a:lnTo>
                    <a:lnTo>
                      <a:pt x="387537" y="863600"/>
                    </a:lnTo>
                    <a:lnTo>
                      <a:pt x="428993" y="889000"/>
                    </a:lnTo>
                    <a:lnTo>
                      <a:pt x="524677" y="889000"/>
                    </a:lnTo>
                    <a:lnTo>
                      <a:pt x="565133" y="863600"/>
                    </a:lnTo>
                    <a:lnTo>
                      <a:pt x="598981" y="838200"/>
                    </a:lnTo>
                    <a:lnTo>
                      <a:pt x="481694" y="838200"/>
                    </a:lnTo>
                    <a:lnTo>
                      <a:pt x="441188" y="825500"/>
                    </a:lnTo>
                    <a:lnTo>
                      <a:pt x="405850" y="812800"/>
                    </a:lnTo>
                    <a:lnTo>
                      <a:pt x="377874" y="774700"/>
                    </a:lnTo>
                    <a:lnTo>
                      <a:pt x="371735" y="762000"/>
                    </a:lnTo>
                    <a:close/>
                  </a:path>
                  <a:path w="951865" h="1536700">
                    <a:moveTo>
                      <a:pt x="702177" y="723900"/>
                    </a:moveTo>
                    <a:lnTo>
                      <a:pt x="544528" y="723900"/>
                    </a:lnTo>
                    <a:lnTo>
                      <a:pt x="590178" y="736600"/>
                    </a:lnTo>
                    <a:lnTo>
                      <a:pt x="576603" y="774700"/>
                    </a:lnTo>
                    <a:lnTo>
                      <a:pt x="552595" y="800100"/>
                    </a:lnTo>
                    <a:lnTo>
                      <a:pt x="520258" y="825500"/>
                    </a:lnTo>
                    <a:lnTo>
                      <a:pt x="481694" y="838200"/>
                    </a:lnTo>
                    <a:lnTo>
                      <a:pt x="598981" y="838200"/>
                    </a:lnTo>
                    <a:lnTo>
                      <a:pt x="626495" y="800100"/>
                    </a:lnTo>
                    <a:lnTo>
                      <a:pt x="647950" y="762000"/>
                    </a:lnTo>
                    <a:lnTo>
                      <a:pt x="755986" y="762000"/>
                    </a:lnTo>
                    <a:lnTo>
                      <a:pt x="738685" y="749300"/>
                    </a:lnTo>
                    <a:lnTo>
                      <a:pt x="702177" y="723900"/>
                    </a:lnTo>
                    <a:close/>
                  </a:path>
                  <a:path w="951865" h="1536700">
                    <a:moveTo>
                      <a:pt x="601701" y="12700"/>
                    </a:moveTo>
                    <a:lnTo>
                      <a:pt x="432560" y="12700"/>
                    </a:lnTo>
                    <a:lnTo>
                      <a:pt x="396401" y="25400"/>
                    </a:lnTo>
                    <a:lnTo>
                      <a:pt x="351709" y="38100"/>
                    </a:lnTo>
                    <a:lnTo>
                      <a:pt x="311077" y="63500"/>
                    </a:lnTo>
                    <a:lnTo>
                      <a:pt x="275013" y="88900"/>
                    </a:lnTo>
                    <a:lnTo>
                      <a:pt x="244027" y="114300"/>
                    </a:lnTo>
                    <a:lnTo>
                      <a:pt x="218625" y="152400"/>
                    </a:lnTo>
                    <a:lnTo>
                      <a:pt x="199317" y="190500"/>
                    </a:lnTo>
                    <a:lnTo>
                      <a:pt x="186610" y="241300"/>
                    </a:lnTo>
                    <a:lnTo>
                      <a:pt x="180155" y="304800"/>
                    </a:lnTo>
                    <a:lnTo>
                      <a:pt x="179520" y="342900"/>
                    </a:lnTo>
                    <a:lnTo>
                      <a:pt x="178710" y="381000"/>
                    </a:lnTo>
                    <a:lnTo>
                      <a:pt x="179644" y="431800"/>
                    </a:lnTo>
                    <a:lnTo>
                      <a:pt x="186812" y="482600"/>
                    </a:lnTo>
                    <a:lnTo>
                      <a:pt x="200475" y="520700"/>
                    </a:lnTo>
                    <a:lnTo>
                      <a:pt x="220895" y="571500"/>
                    </a:lnTo>
                    <a:lnTo>
                      <a:pt x="248334" y="609600"/>
                    </a:lnTo>
                    <a:lnTo>
                      <a:pt x="283055" y="647700"/>
                    </a:lnTo>
                    <a:lnTo>
                      <a:pt x="325319" y="673100"/>
                    </a:lnTo>
                    <a:lnTo>
                      <a:pt x="637663" y="673100"/>
                    </a:lnTo>
                    <a:lnTo>
                      <a:pt x="643886" y="660400"/>
                    </a:lnTo>
                    <a:lnTo>
                      <a:pt x="466044" y="660400"/>
                    </a:lnTo>
                    <a:lnTo>
                      <a:pt x="421727" y="647700"/>
                    </a:lnTo>
                    <a:lnTo>
                      <a:pt x="380584" y="635000"/>
                    </a:lnTo>
                    <a:lnTo>
                      <a:pt x="343266" y="622300"/>
                    </a:lnTo>
                    <a:lnTo>
                      <a:pt x="310423" y="596900"/>
                    </a:lnTo>
                    <a:lnTo>
                      <a:pt x="282705" y="558800"/>
                    </a:lnTo>
                    <a:lnTo>
                      <a:pt x="260762" y="520700"/>
                    </a:lnTo>
                    <a:lnTo>
                      <a:pt x="245246" y="482600"/>
                    </a:lnTo>
                    <a:lnTo>
                      <a:pt x="241495" y="457200"/>
                    </a:lnTo>
                    <a:lnTo>
                      <a:pt x="239040" y="444500"/>
                    </a:lnTo>
                    <a:lnTo>
                      <a:pt x="237136" y="419100"/>
                    </a:lnTo>
                    <a:lnTo>
                      <a:pt x="235035" y="406400"/>
                    </a:lnTo>
                    <a:lnTo>
                      <a:pt x="237003" y="406400"/>
                    </a:lnTo>
                    <a:lnTo>
                      <a:pt x="237145" y="393700"/>
                    </a:lnTo>
                    <a:lnTo>
                      <a:pt x="237365" y="393700"/>
                    </a:lnTo>
                    <a:lnTo>
                      <a:pt x="237357" y="381000"/>
                    </a:lnTo>
                    <a:lnTo>
                      <a:pt x="236813" y="381000"/>
                    </a:lnTo>
                    <a:lnTo>
                      <a:pt x="237180" y="355600"/>
                    </a:lnTo>
                    <a:lnTo>
                      <a:pt x="243760" y="342900"/>
                    </a:lnTo>
                    <a:lnTo>
                      <a:pt x="514053" y="342900"/>
                    </a:lnTo>
                    <a:lnTo>
                      <a:pt x="573623" y="317500"/>
                    </a:lnTo>
                    <a:lnTo>
                      <a:pt x="776380" y="317500"/>
                    </a:lnTo>
                    <a:lnTo>
                      <a:pt x="776197" y="292100"/>
                    </a:lnTo>
                    <a:lnTo>
                      <a:pt x="241423" y="292100"/>
                    </a:lnTo>
                    <a:lnTo>
                      <a:pt x="245585" y="241300"/>
                    </a:lnTo>
                    <a:lnTo>
                      <a:pt x="258567" y="203200"/>
                    </a:lnTo>
                    <a:lnTo>
                      <a:pt x="279694" y="165100"/>
                    </a:lnTo>
                    <a:lnTo>
                      <a:pt x="308291" y="127000"/>
                    </a:lnTo>
                    <a:lnTo>
                      <a:pt x="343683" y="101600"/>
                    </a:lnTo>
                    <a:lnTo>
                      <a:pt x="385195" y="88900"/>
                    </a:lnTo>
                    <a:lnTo>
                      <a:pt x="432152" y="76200"/>
                    </a:lnTo>
                    <a:lnTo>
                      <a:pt x="457004" y="76200"/>
                    </a:lnTo>
                    <a:lnTo>
                      <a:pt x="482047" y="63500"/>
                    </a:lnTo>
                    <a:lnTo>
                      <a:pt x="641943" y="63500"/>
                    </a:lnTo>
                    <a:lnTo>
                      <a:pt x="624404" y="38100"/>
                    </a:lnTo>
                    <a:lnTo>
                      <a:pt x="601701" y="12700"/>
                    </a:lnTo>
                    <a:close/>
                  </a:path>
                  <a:path w="951865" h="1536700">
                    <a:moveTo>
                      <a:pt x="776380" y="317500"/>
                    </a:moveTo>
                    <a:lnTo>
                      <a:pt x="647963" y="317500"/>
                    </a:lnTo>
                    <a:lnTo>
                      <a:pt x="655845" y="330200"/>
                    </a:lnTo>
                    <a:lnTo>
                      <a:pt x="663990" y="330200"/>
                    </a:lnTo>
                    <a:lnTo>
                      <a:pt x="697445" y="342900"/>
                    </a:lnTo>
                    <a:lnTo>
                      <a:pt x="714344" y="355600"/>
                    </a:lnTo>
                    <a:lnTo>
                      <a:pt x="719820" y="381000"/>
                    </a:lnTo>
                    <a:lnTo>
                      <a:pt x="719006" y="419100"/>
                    </a:lnTo>
                    <a:lnTo>
                      <a:pt x="711796" y="469900"/>
                    </a:lnTo>
                    <a:lnTo>
                      <a:pt x="695472" y="520700"/>
                    </a:lnTo>
                    <a:lnTo>
                      <a:pt x="671056" y="558800"/>
                    </a:lnTo>
                    <a:lnTo>
                      <a:pt x="639568" y="596900"/>
                    </a:lnTo>
                    <a:lnTo>
                      <a:pt x="602029" y="622300"/>
                    </a:lnTo>
                    <a:lnTo>
                      <a:pt x="559462" y="647700"/>
                    </a:lnTo>
                    <a:lnTo>
                      <a:pt x="512885" y="660400"/>
                    </a:lnTo>
                    <a:lnTo>
                      <a:pt x="643886" y="660400"/>
                    </a:lnTo>
                    <a:lnTo>
                      <a:pt x="682613" y="635000"/>
                    </a:lnTo>
                    <a:lnTo>
                      <a:pt x="714871" y="596900"/>
                    </a:lnTo>
                    <a:lnTo>
                      <a:pt x="740473" y="558800"/>
                    </a:lnTo>
                    <a:lnTo>
                      <a:pt x="759226" y="520700"/>
                    </a:lnTo>
                    <a:lnTo>
                      <a:pt x="770943" y="469900"/>
                    </a:lnTo>
                    <a:lnTo>
                      <a:pt x="775433" y="419100"/>
                    </a:lnTo>
                    <a:lnTo>
                      <a:pt x="776112" y="368300"/>
                    </a:lnTo>
                    <a:lnTo>
                      <a:pt x="776380" y="317500"/>
                    </a:lnTo>
                    <a:close/>
                  </a:path>
                  <a:path w="951865" h="1536700">
                    <a:moveTo>
                      <a:pt x="642718" y="215900"/>
                    </a:moveTo>
                    <a:lnTo>
                      <a:pt x="590457" y="215900"/>
                    </a:lnTo>
                    <a:lnTo>
                      <a:pt x="581072" y="254000"/>
                    </a:lnTo>
                    <a:lnTo>
                      <a:pt x="561571" y="266700"/>
                    </a:lnTo>
                    <a:lnTo>
                      <a:pt x="534479" y="279400"/>
                    </a:lnTo>
                    <a:lnTo>
                      <a:pt x="502319" y="292100"/>
                    </a:lnTo>
                    <a:lnTo>
                      <a:pt x="776197" y="292100"/>
                    </a:lnTo>
                    <a:lnTo>
                      <a:pt x="776105" y="279400"/>
                    </a:lnTo>
                    <a:lnTo>
                      <a:pt x="685469" y="279400"/>
                    </a:lnTo>
                    <a:lnTo>
                      <a:pt x="665251" y="266700"/>
                    </a:lnTo>
                    <a:lnTo>
                      <a:pt x="651533" y="241300"/>
                    </a:lnTo>
                    <a:lnTo>
                      <a:pt x="642718" y="215900"/>
                    </a:lnTo>
                    <a:close/>
                  </a:path>
                  <a:path w="951865" h="1536700">
                    <a:moveTo>
                      <a:pt x="641943" y="63500"/>
                    </a:moveTo>
                    <a:lnTo>
                      <a:pt x="561677" y="63500"/>
                    </a:lnTo>
                    <a:lnTo>
                      <a:pt x="579422" y="76200"/>
                    </a:lnTo>
                    <a:lnTo>
                      <a:pt x="589026" y="88900"/>
                    </a:lnTo>
                    <a:lnTo>
                      <a:pt x="593937" y="114300"/>
                    </a:lnTo>
                    <a:lnTo>
                      <a:pt x="594610" y="127000"/>
                    </a:lnTo>
                    <a:lnTo>
                      <a:pt x="595524" y="127000"/>
                    </a:lnTo>
                    <a:lnTo>
                      <a:pt x="596274" y="139700"/>
                    </a:lnTo>
                    <a:lnTo>
                      <a:pt x="655209" y="139700"/>
                    </a:lnTo>
                    <a:lnTo>
                      <a:pt x="692831" y="152400"/>
                    </a:lnTo>
                    <a:lnTo>
                      <a:pt x="712738" y="177800"/>
                    </a:lnTo>
                    <a:lnTo>
                      <a:pt x="718524" y="228600"/>
                    </a:lnTo>
                    <a:lnTo>
                      <a:pt x="713787" y="279400"/>
                    </a:lnTo>
                    <a:lnTo>
                      <a:pt x="776105" y="279400"/>
                    </a:lnTo>
                    <a:lnTo>
                      <a:pt x="774785" y="215900"/>
                    </a:lnTo>
                    <a:lnTo>
                      <a:pt x="767687" y="165100"/>
                    </a:lnTo>
                    <a:lnTo>
                      <a:pt x="718196" y="101600"/>
                    </a:lnTo>
                    <a:lnTo>
                      <a:pt x="673350" y="88900"/>
                    </a:lnTo>
                    <a:lnTo>
                      <a:pt x="664024" y="88900"/>
                    </a:lnTo>
                    <a:lnTo>
                      <a:pt x="654970" y="76200"/>
                    </a:lnTo>
                    <a:lnTo>
                      <a:pt x="647254" y="76200"/>
                    </a:lnTo>
                    <a:lnTo>
                      <a:pt x="641943" y="63500"/>
                    </a:lnTo>
                    <a:close/>
                  </a:path>
                  <a:path w="951865" h="1536700">
                    <a:moveTo>
                      <a:pt x="544039" y="0"/>
                    </a:moveTo>
                    <a:lnTo>
                      <a:pt x="506765" y="12700"/>
                    </a:lnTo>
                    <a:lnTo>
                      <a:pt x="574643" y="12700"/>
                    </a:lnTo>
                    <a:lnTo>
                      <a:pt x="544039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1" name="object 21">
                <a:extLst>
                  <a:ext uri="{FF2B5EF4-FFF2-40B4-BE49-F238E27FC236}">
                    <a16:creationId xmlns:a16="http://schemas.microsoft.com/office/drawing/2014/main" id="{A6F38094-3668-4ED6-B9D7-B864C5E7EC8D}"/>
                  </a:ext>
                </a:extLst>
              </p:cNvPr>
              <p:cNvSpPr/>
              <p:nvPr/>
            </p:nvSpPr>
            <p:spPr>
              <a:xfrm>
                <a:off x="9305932" y="2807844"/>
                <a:ext cx="50800" cy="66040"/>
              </a:xfrm>
              <a:custGeom>
                <a:avLst/>
                <a:gdLst/>
                <a:ahLst/>
                <a:cxnLst/>
                <a:rect l="l" t="t" r="r" b="b"/>
                <a:pathLst>
                  <a:path w="50800" h="66039">
                    <a:moveTo>
                      <a:pt x="27139" y="0"/>
                    </a:moveTo>
                    <a:lnTo>
                      <a:pt x="18384" y="3735"/>
                    </a:lnTo>
                    <a:lnTo>
                      <a:pt x="9836" y="9983"/>
                    </a:lnTo>
                    <a:lnTo>
                      <a:pt x="3154" y="17568"/>
                    </a:lnTo>
                    <a:lnTo>
                      <a:pt x="0" y="25311"/>
                    </a:lnTo>
                    <a:lnTo>
                      <a:pt x="1843" y="32890"/>
                    </a:lnTo>
                    <a:lnTo>
                      <a:pt x="8004" y="41724"/>
                    </a:lnTo>
                    <a:lnTo>
                      <a:pt x="16998" y="52412"/>
                    </a:lnTo>
                    <a:lnTo>
                      <a:pt x="27343" y="65557"/>
                    </a:lnTo>
                    <a:lnTo>
                      <a:pt x="36017" y="52019"/>
                    </a:lnTo>
                    <a:lnTo>
                      <a:pt x="43529" y="41016"/>
                    </a:lnTo>
                    <a:lnTo>
                      <a:pt x="48745" y="31758"/>
                    </a:lnTo>
                    <a:lnTo>
                      <a:pt x="50533" y="23456"/>
                    </a:lnTo>
                    <a:lnTo>
                      <a:pt x="47585" y="15909"/>
                    </a:lnTo>
                    <a:lnTo>
                      <a:pt x="40970" y="7899"/>
                    </a:lnTo>
                    <a:lnTo>
                      <a:pt x="33288" y="1804"/>
                    </a:lnTo>
                    <a:lnTo>
                      <a:pt x="27139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2" name="object 22">
                <a:extLst>
                  <a:ext uri="{FF2B5EF4-FFF2-40B4-BE49-F238E27FC236}">
                    <a16:creationId xmlns:a16="http://schemas.microsoft.com/office/drawing/2014/main" id="{6A0B7F2E-0D91-4EBC-A950-7F276C5B1196}"/>
                  </a:ext>
                </a:extLst>
              </p:cNvPr>
              <p:cNvSpPr/>
              <p:nvPr/>
            </p:nvSpPr>
            <p:spPr>
              <a:xfrm>
                <a:off x="9432652" y="2248955"/>
                <a:ext cx="162560" cy="77470"/>
              </a:xfrm>
              <a:custGeom>
                <a:avLst/>
                <a:gdLst/>
                <a:ahLst/>
                <a:cxnLst/>
                <a:rect l="l" t="t" r="r" b="b"/>
                <a:pathLst>
                  <a:path w="162559" h="77469">
                    <a:moveTo>
                      <a:pt x="162471" y="0"/>
                    </a:moveTo>
                    <a:lnTo>
                      <a:pt x="0" y="0"/>
                    </a:lnTo>
                    <a:lnTo>
                      <a:pt x="12007" y="34291"/>
                    </a:lnTo>
                    <a:lnTo>
                      <a:pt x="29825" y="58391"/>
                    </a:lnTo>
                    <a:lnTo>
                      <a:pt x="53349" y="72523"/>
                    </a:lnTo>
                    <a:lnTo>
                      <a:pt x="82473" y="76911"/>
                    </a:lnTo>
                    <a:lnTo>
                      <a:pt x="111911" y="71780"/>
                    </a:lnTo>
                    <a:lnTo>
                      <a:pt x="135226" y="57238"/>
                    </a:lnTo>
                    <a:lnTo>
                      <a:pt x="152164" y="33305"/>
                    </a:lnTo>
                    <a:lnTo>
                      <a:pt x="162471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3" name="object 23">
                <a:extLst>
                  <a:ext uri="{FF2B5EF4-FFF2-40B4-BE49-F238E27FC236}">
                    <a16:creationId xmlns:a16="http://schemas.microsoft.com/office/drawing/2014/main" id="{A2B3371B-D963-457B-8D1B-89C00780388B}"/>
                  </a:ext>
                </a:extLst>
              </p:cNvPr>
              <p:cNvSpPr/>
              <p:nvPr/>
            </p:nvSpPr>
            <p:spPr>
              <a:xfrm>
                <a:off x="9305932" y="2807844"/>
                <a:ext cx="50800" cy="66040"/>
              </a:xfrm>
              <a:custGeom>
                <a:avLst/>
                <a:gdLst/>
                <a:ahLst/>
                <a:cxnLst/>
                <a:rect l="l" t="t" r="r" b="b"/>
                <a:pathLst>
                  <a:path w="50800" h="66039">
                    <a:moveTo>
                      <a:pt x="27139" y="0"/>
                    </a:moveTo>
                    <a:lnTo>
                      <a:pt x="18384" y="3735"/>
                    </a:lnTo>
                    <a:lnTo>
                      <a:pt x="9836" y="9983"/>
                    </a:lnTo>
                    <a:lnTo>
                      <a:pt x="3154" y="17568"/>
                    </a:lnTo>
                    <a:lnTo>
                      <a:pt x="0" y="25311"/>
                    </a:lnTo>
                    <a:lnTo>
                      <a:pt x="1843" y="32890"/>
                    </a:lnTo>
                    <a:lnTo>
                      <a:pt x="8004" y="41724"/>
                    </a:lnTo>
                    <a:lnTo>
                      <a:pt x="16998" y="52412"/>
                    </a:lnTo>
                    <a:lnTo>
                      <a:pt x="27343" y="65557"/>
                    </a:lnTo>
                    <a:lnTo>
                      <a:pt x="36017" y="52019"/>
                    </a:lnTo>
                    <a:lnTo>
                      <a:pt x="43529" y="41016"/>
                    </a:lnTo>
                    <a:lnTo>
                      <a:pt x="48745" y="31758"/>
                    </a:lnTo>
                    <a:lnTo>
                      <a:pt x="50533" y="23456"/>
                    </a:lnTo>
                    <a:lnTo>
                      <a:pt x="47585" y="15909"/>
                    </a:lnTo>
                    <a:lnTo>
                      <a:pt x="40970" y="7899"/>
                    </a:lnTo>
                    <a:lnTo>
                      <a:pt x="33288" y="1804"/>
                    </a:lnTo>
                    <a:lnTo>
                      <a:pt x="27139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39" name="object 9">
              <a:extLst>
                <a:ext uri="{FF2B5EF4-FFF2-40B4-BE49-F238E27FC236}">
                  <a16:creationId xmlns:a16="http://schemas.microsoft.com/office/drawing/2014/main" id="{DC8B08C8-6479-49F3-8D6C-F8C837F63A11}"/>
                </a:ext>
              </a:extLst>
            </p:cNvPr>
            <p:cNvSpPr/>
            <p:nvPr/>
          </p:nvSpPr>
          <p:spPr>
            <a:xfrm>
              <a:off x="8901170" y="6084617"/>
              <a:ext cx="207512" cy="493735"/>
            </a:xfrm>
            <a:custGeom>
              <a:avLst/>
              <a:gdLst/>
              <a:ahLst/>
              <a:cxnLst/>
              <a:rect l="l" t="t" r="r" b="b"/>
              <a:pathLst>
                <a:path w="497204" h="1183004">
                  <a:moveTo>
                    <a:pt x="54101" y="311454"/>
                  </a:moveTo>
                  <a:lnTo>
                    <a:pt x="0" y="311454"/>
                  </a:lnTo>
                  <a:lnTo>
                    <a:pt x="0" y="1182509"/>
                  </a:lnTo>
                  <a:lnTo>
                    <a:pt x="55079" y="1182509"/>
                  </a:lnTo>
                  <a:lnTo>
                    <a:pt x="55079" y="599186"/>
                  </a:lnTo>
                  <a:lnTo>
                    <a:pt x="340546" y="599186"/>
                  </a:lnTo>
                  <a:lnTo>
                    <a:pt x="403326" y="598411"/>
                  </a:lnTo>
                  <a:lnTo>
                    <a:pt x="497039" y="598411"/>
                  </a:lnTo>
                  <a:lnTo>
                    <a:pt x="497039" y="541337"/>
                  </a:lnTo>
                  <a:lnTo>
                    <a:pt x="395858" y="541337"/>
                  </a:lnTo>
                  <a:lnTo>
                    <a:pt x="335893" y="540486"/>
                  </a:lnTo>
                  <a:lnTo>
                    <a:pt x="100622" y="540486"/>
                  </a:lnTo>
                  <a:lnTo>
                    <a:pt x="89886" y="540204"/>
                  </a:lnTo>
                  <a:lnTo>
                    <a:pt x="78795" y="539526"/>
                  </a:lnTo>
                  <a:lnTo>
                    <a:pt x="54101" y="537756"/>
                  </a:lnTo>
                  <a:lnTo>
                    <a:pt x="54101" y="311454"/>
                  </a:lnTo>
                  <a:close/>
                </a:path>
                <a:path w="497204" h="1183004">
                  <a:moveTo>
                    <a:pt x="497039" y="598411"/>
                  </a:moveTo>
                  <a:lnTo>
                    <a:pt x="403326" y="598411"/>
                  </a:lnTo>
                  <a:lnTo>
                    <a:pt x="423661" y="600366"/>
                  </a:lnTo>
                  <a:lnTo>
                    <a:pt x="435964" y="607534"/>
                  </a:lnTo>
                  <a:lnTo>
                    <a:pt x="441986" y="620587"/>
                  </a:lnTo>
                  <a:lnTo>
                    <a:pt x="443483" y="640194"/>
                  </a:lnTo>
                  <a:lnTo>
                    <a:pt x="443148" y="689938"/>
                  </a:lnTo>
                  <a:lnTo>
                    <a:pt x="442916" y="739683"/>
                  </a:lnTo>
                  <a:lnTo>
                    <a:pt x="442772" y="789430"/>
                  </a:lnTo>
                  <a:lnTo>
                    <a:pt x="442704" y="938673"/>
                  </a:lnTo>
                  <a:lnTo>
                    <a:pt x="442861" y="1181341"/>
                  </a:lnTo>
                  <a:lnTo>
                    <a:pt x="497039" y="1181341"/>
                  </a:lnTo>
                  <a:lnTo>
                    <a:pt x="497039" y="598411"/>
                  </a:lnTo>
                  <a:close/>
                </a:path>
                <a:path w="497204" h="1183004">
                  <a:moveTo>
                    <a:pt x="340546" y="599186"/>
                  </a:moveTo>
                  <a:lnTo>
                    <a:pt x="55079" y="599186"/>
                  </a:lnTo>
                  <a:lnTo>
                    <a:pt x="206354" y="599512"/>
                  </a:lnTo>
                  <a:lnTo>
                    <a:pt x="340546" y="599186"/>
                  </a:lnTo>
                  <a:close/>
                </a:path>
                <a:path w="497204" h="1183004">
                  <a:moveTo>
                    <a:pt x="497039" y="0"/>
                  </a:moveTo>
                  <a:lnTo>
                    <a:pt x="444830" y="0"/>
                  </a:lnTo>
                  <a:lnTo>
                    <a:pt x="444225" y="11324"/>
                  </a:lnTo>
                  <a:lnTo>
                    <a:pt x="443614" y="21929"/>
                  </a:lnTo>
                  <a:lnTo>
                    <a:pt x="443140" y="32054"/>
                  </a:lnTo>
                  <a:lnTo>
                    <a:pt x="442950" y="41935"/>
                  </a:lnTo>
                  <a:lnTo>
                    <a:pt x="442868" y="92270"/>
                  </a:lnTo>
                  <a:lnTo>
                    <a:pt x="442591" y="192940"/>
                  </a:lnTo>
                  <a:lnTo>
                    <a:pt x="442517" y="343939"/>
                  </a:lnTo>
                  <a:lnTo>
                    <a:pt x="442750" y="394268"/>
                  </a:lnTo>
                  <a:lnTo>
                    <a:pt x="443181" y="444595"/>
                  </a:lnTo>
                  <a:lnTo>
                    <a:pt x="443852" y="494919"/>
                  </a:lnTo>
                  <a:lnTo>
                    <a:pt x="441639" y="518648"/>
                  </a:lnTo>
                  <a:lnTo>
                    <a:pt x="433485" y="532968"/>
                  </a:lnTo>
                  <a:lnTo>
                    <a:pt x="418516" y="539867"/>
                  </a:lnTo>
                  <a:lnTo>
                    <a:pt x="395858" y="541337"/>
                  </a:lnTo>
                  <a:lnTo>
                    <a:pt x="497039" y="541337"/>
                  </a:lnTo>
                  <a:lnTo>
                    <a:pt x="497039" y="0"/>
                  </a:lnTo>
                  <a:close/>
                </a:path>
                <a:path w="497204" h="1183004">
                  <a:moveTo>
                    <a:pt x="248254" y="540207"/>
                  </a:moveTo>
                  <a:lnTo>
                    <a:pt x="100622" y="540486"/>
                  </a:lnTo>
                  <a:lnTo>
                    <a:pt x="335893" y="540486"/>
                  </a:lnTo>
                  <a:lnTo>
                    <a:pt x="248254" y="54020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821977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0" grpId="0" animBg="1"/>
      <p:bldP spid="11" grpId="0" animBg="1"/>
      <p:bldP spid="12" grpId="0" animBg="1"/>
    </p:bldLst>
  </p:timing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y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672852"/>
            <a:ext cx="11655078" cy="899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289767"/>
            <a:ext cx="11653523" cy="41036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4"/>
                </a:solidFill>
                <a:latin typeface="+mn-lt"/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 dirty="0"/>
              <a:t>Chapter title </a:t>
            </a:r>
            <a:r>
              <a:rPr lang="en-US" dirty="0" err="1"/>
              <a:t>breadcr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875596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2" y="342905"/>
            <a:ext cx="11151917" cy="747897"/>
          </a:xfrm>
        </p:spPr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719340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620429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6"/>
              </a:lnSpc>
              <a:defRPr sz="3600" strike="noStrike" baseline="0">
                <a:solidFill>
                  <a:srgbClr val="2F2F2F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732441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6" hidden="1"/>
          <p:cNvSpPr txBox="1">
            <a:spLocks/>
          </p:cNvSpPr>
          <p:nvPr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E901D344-ED89-49CF-99A7-86594AEA4B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317" y="426031"/>
            <a:ext cx="11277599" cy="635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en-US" sz="32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A99162F-3F7B-2242-A1B2-486A63B6C5DF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37316" y="876469"/>
            <a:ext cx="11277600" cy="685800"/>
          </a:xfrm>
        </p:spPr>
        <p:txBody>
          <a:bodyPr/>
          <a:lstStyle>
            <a:lvl1pPr marL="0" indent="0" algn="l" defTabSz="914132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  <a:buClr>
                <a:schemeClr val="bg1"/>
              </a:buClr>
              <a:buSzPct val="120000"/>
              <a:buFontTx/>
              <a:buNone/>
              <a:defRPr lang="en-US" sz="20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Segoe UI Light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F4F531-1753-1544-8A42-F788362A04E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010899" y="6442502"/>
            <a:ext cx="1180135" cy="415498"/>
          </a:xfrm>
          <a:prstGeom prst="rect">
            <a:avLst/>
          </a:prstGeom>
        </p:spPr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288157B8-476F-EA4F-A047-5A8BD09DED6D}"/>
              </a:ext>
            </a:extLst>
          </p:cNvPr>
          <p:cNvSpPr txBox="1">
            <a:spLocks/>
          </p:cNvSpPr>
          <p:nvPr userDrawn="1"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113A430-F6A1-4E86-9240-781A33179C75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457200" y="1866900"/>
            <a:ext cx="11277599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132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  <a:buClr>
                <a:schemeClr val="bg1"/>
              </a:buClr>
              <a:buSzPct val="120000"/>
              <a:buFontTx/>
              <a:buNone/>
              <a:defRPr lang="en-US" sz="28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5685319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727781-31E4-4698-92BD-B6F0C54802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F8CB1F-38AC-46C7-A231-C0E3F5CC3B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0C1814-A6E0-428D-B668-1993FAC963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CF214A-198F-407F-8FE3-B3AC3A176EBE}" type="datetimeFigureOut">
              <a:rPr lang="en-US" smtClean="0"/>
              <a:t>3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B3DB2-3807-4171-B3EC-54F74C8F1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DAE0FD-AAD7-46C6-ACA0-B7426B65D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A2508-B113-4409-9B69-AA793A7764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19720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9" y="2139703"/>
            <a:ext cx="11325144" cy="125976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73"/>
              </a:spcAft>
              <a:buNone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54" indent="0">
              <a:lnSpc>
                <a:spcPct val="90000"/>
              </a:lnSpc>
              <a:spcBef>
                <a:spcPts val="0"/>
              </a:spcBef>
              <a:spcAft>
                <a:spcPts val="1273"/>
              </a:spcAft>
              <a:buNone/>
              <a:defRPr sz="1961">
                <a:solidFill>
                  <a:srgbClr val="000000"/>
                </a:solidFill>
              </a:defRPr>
            </a:lvl2pPr>
            <a:lvl3pPr marL="448107" indent="0">
              <a:spcBef>
                <a:spcPts val="0"/>
              </a:spcBef>
              <a:spcAft>
                <a:spcPts val="1273"/>
              </a:spcAft>
              <a:buNone/>
              <a:defRPr sz="196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First level Segoe UI 26pt</a:t>
            </a:r>
          </a:p>
          <a:p>
            <a:pPr lvl="1"/>
            <a:r>
              <a:rPr lang="en-US"/>
              <a:t>Second level Segoe UI 20pt</a:t>
            </a:r>
          </a:p>
          <a:p>
            <a:pPr lvl="2"/>
            <a:r>
              <a:rPr lang="en-US"/>
              <a:t>Third level Segoe UI 20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6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</p:spTree>
    <p:extLst>
      <p:ext uri="{BB962C8B-B14F-4D97-AF65-F5344CB8AC3E}">
        <p14:creationId xmlns:p14="http://schemas.microsoft.com/office/powerpoint/2010/main" val="89975429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E53F648-0F25-90A8-E012-2D0B8C79D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44CA8DF-F5E0-942B-E4B4-811436A4CA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28C17B9D-068D-E9A2-4EA6-C68827211BB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86D28267-7281-786F-1B39-0DC2946E01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482F300F-7B67-E388-7764-C9DC693167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A090A61E-C2CB-8857-F999-B70E408FD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87C3D-0CD7-4DE8-8E20-3325E67BF882}" type="datetimeFigureOut">
              <a:rPr lang="zh-CN" altLang="en-US" smtClean="0"/>
              <a:t>2025/3/13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EB455C57-1BEA-E3A2-9CE6-2B6245313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69AA40BF-CEA8-22A0-C528-703D09202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6E31E1-2282-4FFC-841C-8BE00078B94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261834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79AE568-28D0-4EDC-9AEB-B535CA10FF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79AE568-28D0-4EDC-9AEB-B535CA10F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D357E75B-67B2-4B34-A147-F62961CA48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9240" y="6593624"/>
            <a:ext cx="3188155" cy="137160"/>
          </a:xfrm>
          <a:prstGeom prst="rect">
            <a:avLst/>
          </a:prstGeom>
        </p:spPr>
        <p:txBody>
          <a:bodyPr lIns="0" rIns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C7375C8F-B7A2-455E-AF76-C2F27E7575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6665" y="6593624"/>
            <a:ext cx="636097" cy="137160"/>
          </a:xfrm>
          <a:prstGeom prst="rect">
            <a:avLst/>
          </a:prstGeom>
        </p:spPr>
        <p:txBody>
          <a:bodyPr rIns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989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Sub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8"/>
            <a:ext cx="11655840" cy="806897"/>
          </a:xfrm>
        </p:spPr>
        <p:txBody>
          <a:bodyPr/>
          <a:lstStyle>
            <a:lvl1pPr marL="0" algn="l" defTabSz="896046" rtl="0" eaLnBrk="1" latinLnBrk="0" hangingPunct="1">
              <a:spcBef>
                <a:spcPct val="0"/>
              </a:spcBef>
              <a:buNone/>
              <a:defRPr lang="en-US" sz="4400" b="0" i="0" u="none" kern="1200" spc="-147" baseline="0" dirty="0">
                <a:solidFill>
                  <a:schemeClr val="bg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8508063"/>
      </p:ext>
    </p:extLst>
  </p:cSld>
  <p:clrMapOvr>
    <a:masterClrMapping/>
  </p:clrMapOvr>
  <p:transition>
    <p:fade/>
  </p:transition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6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1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62027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28507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Slide Number"/>
          <p:cNvSpPr>
            <a:spLocks noGrp="1"/>
          </p:cNvSpPr>
          <p:nvPr>
            <p:ph type="sldNum" sz="quarter" idx="2"/>
          </p:nvPr>
        </p:nvSpPr>
        <p:spPr>
          <a:xfrm>
            <a:off x="11105194" y="6412611"/>
            <a:ext cx="248609" cy="252604"/>
          </a:xfrm>
          <a:prstGeom prst="rect">
            <a:avLst/>
          </a:prstGeom>
        </p:spPr>
        <p:txBody>
          <a:bodyPr lIns="34289" tIns="34289" rIns="34289" bIns="34289"/>
          <a:lstStyle>
            <a:lvl1pPr defTabSz="914070">
              <a:defRPr sz="12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39657660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317461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2739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DDD5744-6F42-3B40-AD5F-62F4AE00CB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94682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407354"/>
            <a:ext cx="11277599" cy="8420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457199" y="1266372"/>
            <a:ext cx="11277599" cy="249299"/>
          </a:xfrm>
        </p:spPr>
        <p:txBody>
          <a:bodyPr wrap="square">
            <a:spAutoFit/>
          </a:bodyPr>
          <a:lstStyle>
            <a:lvl1pPr marL="0" indent="0">
              <a:buNone/>
              <a:defRPr sz="1800" spc="-3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8567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934638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199" y="1965960"/>
            <a:ext cx="3456432" cy="43068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457200" y="411480"/>
            <a:ext cx="11277599" cy="842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1"/>
          </p:nvPr>
        </p:nvSpPr>
        <p:spPr>
          <a:xfrm>
            <a:off x="4363823" y="1965960"/>
            <a:ext cx="3456432" cy="43068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12"/>
          </p:nvPr>
        </p:nvSpPr>
        <p:spPr>
          <a:xfrm>
            <a:off x="8270447" y="1965960"/>
            <a:ext cx="3456432" cy="43068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457199" y="1271016"/>
            <a:ext cx="11277599" cy="249299"/>
          </a:xfrm>
        </p:spPr>
        <p:txBody>
          <a:bodyPr wrap="square">
            <a:spAutoFit/>
          </a:bodyPr>
          <a:lstStyle>
            <a:lvl1pPr marL="0" indent="0">
              <a:buNone/>
              <a:defRPr sz="1800" spc="-3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172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81C17D7-19E9-AB35-9F9A-344764D355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1AAD8B5B-1006-71B3-B453-75424BC8D2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87C3D-0CD7-4DE8-8E20-3325E67BF882}" type="datetimeFigureOut">
              <a:rPr lang="zh-CN" altLang="en-US" smtClean="0"/>
              <a:t>2025/3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8879532-BBD8-9292-6158-F18A32B985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E5821CD4-214E-F8A1-2898-627AF4C4E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6E31E1-2282-4FFC-841C-8BE00078B94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1950617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ea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2"/>
          <p:cNvSpPr>
            <a:spLocks noGrp="1"/>
          </p:cNvSpPr>
          <p:nvPr>
            <p:ph idx="1"/>
          </p:nvPr>
        </p:nvSpPr>
        <p:spPr>
          <a:xfrm>
            <a:off x="5143058" y="1965960"/>
            <a:ext cx="6591744" cy="43068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 sz="1600">
                <a:solidFill>
                  <a:schemeClr val="tx1"/>
                </a:solidFill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21"/>
          <p:cNvSpPr>
            <a:spLocks noGrp="1"/>
          </p:cNvSpPr>
          <p:nvPr>
            <p:ph type="title"/>
          </p:nvPr>
        </p:nvSpPr>
        <p:spPr>
          <a:xfrm>
            <a:off x="5143059" y="411480"/>
            <a:ext cx="6584648" cy="842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5143057" y="1271016"/>
            <a:ext cx="6591745" cy="249299"/>
          </a:xfrm>
        </p:spPr>
        <p:txBody>
          <a:bodyPr wrap="square">
            <a:spAutoFit/>
          </a:bodyPr>
          <a:lstStyle>
            <a:lvl1pPr marL="0" indent="0">
              <a:buNone/>
              <a:defRPr sz="1800" spc="-3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0"/>
            <a:ext cx="4767575" cy="6858000"/>
          </a:xfrm>
          <a:custGeom>
            <a:avLst/>
            <a:gdLst>
              <a:gd name="connsiteX0" fmla="*/ 0 w 4767575"/>
              <a:gd name="connsiteY0" fmla="*/ 0 h 6858000"/>
              <a:gd name="connsiteX1" fmla="*/ 4767575 w 4767575"/>
              <a:gd name="connsiteY1" fmla="*/ 0 h 6858000"/>
              <a:gd name="connsiteX2" fmla="*/ 4651359 w 4767575"/>
              <a:gd name="connsiteY2" fmla="*/ 226908 h 6858000"/>
              <a:gd name="connsiteX3" fmla="*/ 3923030 w 4767575"/>
              <a:gd name="connsiteY3" fmla="*/ 3429000 h 6858000"/>
              <a:gd name="connsiteX4" fmla="*/ 4651359 w 4767575"/>
              <a:gd name="connsiteY4" fmla="*/ 6631092 h 6858000"/>
              <a:gd name="connsiteX5" fmla="*/ 4767575 w 4767575"/>
              <a:gd name="connsiteY5" fmla="*/ 6858000 h 6858000"/>
              <a:gd name="connsiteX6" fmla="*/ 0 w 476757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67575" h="6858000">
                <a:moveTo>
                  <a:pt x="0" y="0"/>
                </a:moveTo>
                <a:lnTo>
                  <a:pt x="4767575" y="0"/>
                </a:lnTo>
                <a:lnTo>
                  <a:pt x="4651359" y="226908"/>
                </a:lnTo>
                <a:cubicBezTo>
                  <a:pt x="4184601" y="1195589"/>
                  <a:pt x="3923030" y="2281748"/>
                  <a:pt x="3923030" y="3429000"/>
                </a:cubicBezTo>
                <a:cubicBezTo>
                  <a:pt x="3923030" y="4576252"/>
                  <a:pt x="4184601" y="5662411"/>
                  <a:pt x="4651359" y="6631092"/>
                </a:cubicBezTo>
                <a:lnTo>
                  <a:pt x="47675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Drag picture to </a:t>
            </a:r>
            <a:br>
              <a:rPr lang="en-US" dirty="0"/>
            </a:br>
            <a:r>
              <a:rPr lang="en-US" dirty="0"/>
              <a:t>placeholder </a:t>
            </a:r>
            <a:br>
              <a:rPr lang="en-US" dirty="0"/>
            </a:br>
            <a:r>
              <a:rPr lang="en-US" dirty="0"/>
              <a:t>or click icon to add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957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700" y="289512"/>
            <a:ext cx="11658380" cy="899665"/>
          </a:xfrm>
          <a:noFill/>
        </p:spPr>
        <p:txBody>
          <a:bodyPr/>
          <a:lstStyle>
            <a:lvl1pPr>
              <a:defRPr sz="480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8975147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18445D-726A-4388-99D8-510F7A91DC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803" y="413150"/>
            <a:ext cx="11658601" cy="602903"/>
          </a:xfrm>
          <a:prstGeom prst="rect">
            <a:avLst/>
          </a:prstGeo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2F882B-6029-424C-B821-1BF376E085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4803" y="1016052"/>
            <a:ext cx="11658601" cy="278733"/>
          </a:xfrm>
        </p:spPr>
        <p:txBody>
          <a:bodyPr wrap="square" lIns="9144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765" b="0" i="0">
                <a:solidFill>
                  <a:srgbClr val="0077D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 err="1"/>
              <a:t>Subhead</a:t>
            </a:r>
            <a:r>
              <a:rPr lang="pt-BR"/>
              <a:t> Segoe UI Regular 18pt</a:t>
            </a:r>
          </a:p>
        </p:txBody>
      </p:sp>
    </p:spTree>
    <p:extLst>
      <p:ext uri="{BB962C8B-B14F-4D97-AF65-F5344CB8AC3E}">
        <p14:creationId xmlns:p14="http://schemas.microsoft.com/office/powerpoint/2010/main" val="96965828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3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4571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EBC5016-39BA-414D-BEE9-6CAE7ACF55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4" y="1108104"/>
            <a:ext cx="11018520" cy="307777"/>
          </a:xfrm>
        </p:spPr>
        <p:txBody>
          <a:bodyPr/>
          <a:lstStyle>
            <a:lvl1pPr marL="0" indent="0">
              <a:buNone/>
              <a:defRPr sz="2000" b="1" i="0">
                <a:solidFill>
                  <a:schemeClr val="accent3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72435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228601" y="902172"/>
            <a:ext cx="11734800" cy="226326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19052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F3F3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9180574" y="6248511"/>
            <a:ext cx="2742188" cy="364224"/>
          </a:xfrm>
          <a:prstGeom prst="rect">
            <a:avLst/>
          </a:prstGeom>
        </p:spPr>
        <p:txBody>
          <a:bodyPr vert="horz" lIns="91440" tIns="45720" rIns="146304" bIns="45720" rtlCol="0" anchor="ctr"/>
          <a:lstStyle>
            <a:lvl1pPr marL="0" algn="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rgbClr val="D7D7D7"/>
                    </a:gs>
                    <a:gs pos="100000">
                      <a:srgbClr val="D7D7D7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461BA605-C888-4326-8417-118ADDBFD3D5}" type="slidenum">
              <a:rPr kumimoji="0" lang="en-US" sz="1961" b="0" i="0" u="none" strike="noStrike" kern="1200" cap="none" spc="0" normalizeH="0" baseline="0" noProof="0" smtClean="0">
                <a:ln>
                  <a:noFill/>
                </a:ln>
                <a:gradFill>
                  <a:gsLst>
                    <a:gs pos="2917">
                      <a:srgbClr val="D7D7D7"/>
                    </a:gs>
                    <a:gs pos="100000">
                      <a:srgbClr val="D7D7D7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pPr marL="0" marR="0" lvl="0" indent="0" algn="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961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D7D7D7"/>
                  </a:gs>
                  <a:gs pos="100000">
                    <a:srgbClr val="D7D7D7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1719477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4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0842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0842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0841"/>
            <a:ext cx="3630521" cy="2611809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571456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257733508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 layout: three columns graphic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C74E6E5-9DAD-4A14-9C20-D9F9150874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Graphic layout: three columns graphic an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B052D15-67DF-4845-863F-FEC853640A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4927922"/>
            <a:ext cx="3627659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 b="1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5ECD4C7-D870-4003-9FA8-85EBBED879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2" y="4927922"/>
            <a:ext cx="3623051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A9BECBA-B2CC-4EE6-B54E-9ADB03EB25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4927922"/>
            <a:ext cx="3635502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9126975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7A9BB6C4-F059-121B-68E6-510197511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87C3D-0CD7-4DE8-8E20-3325E67BF882}" type="datetimeFigureOut">
              <a:rPr lang="zh-CN" altLang="en-US" smtClean="0"/>
              <a:t>2025/3/13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48D20AB-B947-DEB6-9F53-2BA9D33484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FF36089-D462-C375-C521-D1400F98E0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6E31E1-2282-4FFC-841C-8BE00078B94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49066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339575"/>
            <a:ext cx="11336038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304813882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B504AD2-D01E-5A4D-B24F-732A02BB8C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4" y="1108104"/>
            <a:ext cx="11018520" cy="307777"/>
          </a:xfrm>
        </p:spPr>
        <p:txBody>
          <a:bodyPr/>
          <a:lstStyle>
            <a:lvl1pPr marL="0" indent="0">
              <a:buNone/>
              <a:defRPr sz="2000" b="1" i="0">
                <a:solidFill>
                  <a:schemeClr val="accent3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8366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36635" y="97113"/>
            <a:ext cx="11939751" cy="82517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40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136526" y="1024209"/>
            <a:ext cx="11939588" cy="5427067"/>
          </a:xfrm>
          <a:prstGeom prst="rect">
            <a:avLst/>
          </a:prstGeom>
        </p:spPr>
        <p:txBody>
          <a:bodyPr/>
          <a:lstStyle>
            <a:lvl1pPr marL="571486" indent="-571486">
              <a:buSzPct val="90000"/>
              <a:buFont typeface="Wingdings" panose="05000000000000000000" pitchFamily="2" charset="2"/>
              <a:buChar char="§"/>
              <a:defRPr sz="3600">
                <a:solidFill>
                  <a:schemeClr val="accent3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914377" indent="-457189">
              <a:buSzPct val="80000"/>
              <a:buFont typeface="Wingdings" panose="05000000000000000000" pitchFamily="2" charset="2"/>
              <a:buChar char="§"/>
              <a:defRPr sz="3200">
                <a:solidFill>
                  <a:schemeClr val="accent3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1257269" indent="-342891">
              <a:buSzPct val="80000"/>
              <a:buFont typeface="Wingdings" panose="05000000000000000000" pitchFamily="2" charset="2"/>
              <a:buChar char="§"/>
              <a:defRPr sz="2400">
                <a:solidFill>
                  <a:schemeClr val="accent3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1714457" indent="-342891">
              <a:buSzPct val="80000"/>
              <a:buFont typeface="Wingdings" panose="05000000000000000000" pitchFamily="2" charset="2"/>
              <a:buChar char="§"/>
              <a:defRPr sz="2400">
                <a:solidFill>
                  <a:schemeClr val="accent3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2171646" indent="-342891"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accent3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92357358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4443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939816"/>
            <a:ext cx="11339774" cy="271613"/>
          </a:xfrm>
        </p:spPr>
        <p:txBody>
          <a:bodyPr wrap="square" lIns="0" tIns="0" rIns="0" bIns="0">
            <a:spAutoFit/>
          </a:bodyPr>
          <a:lstStyle>
            <a:lvl1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765" b="0" i="0" kern="1200" spc="0" baseline="0" dirty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765">
                <a:solidFill>
                  <a:srgbClr val="000000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37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4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054922-7BB2-4879-9591-0FC564128406}"/>
              </a:ext>
            </a:extLst>
          </p:cNvPr>
          <p:cNvSpPr txBox="1"/>
          <p:nvPr userDrawn="1"/>
        </p:nvSpPr>
        <p:spPr>
          <a:xfrm>
            <a:off x="436379" y="6431005"/>
            <a:ext cx="960199" cy="949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© Microsoft Corporation</a:t>
            </a:r>
            <a:endParaRPr kumimoji="0" lang="en-US" sz="784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8192654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13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95000"/>
              </a:lnSpc>
              <a:defRPr sz="2745" strike="noStrike">
                <a:solidFill>
                  <a:srgbClr val="2F2F2F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75204468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8" y="620431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075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Device layout 1: one colum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8" y="1882335"/>
            <a:ext cx="4758211" cy="589905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07"/>
              </a:lnSpc>
              <a:buNone/>
              <a:defRPr sz="1961" b="0" i="0">
                <a:solidFill>
                  <a:schemeClr val="tx1"/>
                </a:solidFill>
                <a:latin typeface="+mn-lt"/>
              </a:defRPr>
            </a:lvl1pPr>
            <a:lvl2pPr marL="219685" indent="0">
              <a:buNone/>
              <a:defRPr/>
            </a:lvl2pPr>
            <a:lvl3pPr marL="439368" indent="0">
              <a:buNone/>
              <a:defRPr/>
            </a:lvl3pPr>
            <a:lvl4pPr marL="659054" indent="0">
              <a:buNone/>
              <a:defRPr/>
            </a:lvl4pPr>
            <a:lvl5pPr marL="878738" indent="0">
              <a:buNone/>
              <a:defRPr/>
            </a:lvl5pPr>
          </a:lstStyle>
          <a:p>
            <a:pPr lvl="0"/>
            <a:r>
              <a:rPr lang="pt-BR"/>
              <a:t>Subhead Segoe UI Regular 20/24. Em volor resequaectur.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2707600"/>
            <a:ext cx="4758210" cy="2383473"/>
          </a:xfrm>
        </p:spPr>
        <p:txBody>
          <a:bodyPr lIns="0" tIns="0" rIns="0" bIns="0"/>
          <a:lstStyle>
            <a:lvl1pPr marL="274606" indent="-274606">
              <a:lnSpc>
                <a:spcPts val="173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2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30"/>
              </a:lnSpc>
              <a:spcBef>
                <a:spcPts val="0"/>
              </a:spcBef>
              <a:buNone/>
              <a:defRPr sz="1345">
                <a:solidFill>
                  <a:schemeClr val="tx1"/>
                </a:solidFill>
              </a:defRPr>
            </a:lvl2pPr>
            <a:lvl3pPr marL="439368" indent="0">
              <a:buNone/>
              <a:defRPr/>
            </a:lvl3pPr>
            <a:lvl4pPr marL="659054" indent="0">
              <a:buNone/>
              <a:defRPr/>
            </a:lvl4pPr>
            <a:lvl5pPr marL="878738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38061158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72399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72399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14088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blu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7322536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896600" cy="868362"/>
          </a:xfrm>
        </p:spPr>
        <p:txBody>
          <a:bodyPr/>
          <a:lstStyle/>
          <a:p>
            <a:r>
              <a:rPr lang="en-US" dirty="0"/>
              <a:t>Text Slide with Bullets, Arial 36pt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600" y="1371600"/>
            <a:ext cx="5257800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0" i="0">
                <a:solidFill>
                  <a:srgbClr val="65656A"/>
                </a:solidFill>
                <a:latin typeface="Arial" charset="0"/>
                <a:ea typeface="Arial" charset="0"/>
                <a:cs typeface="Arial" charset="0"/>
              </a:defRPr>
            </a:lvl1pPr>
            <a:lvl2pPr marL="465138" indent="-227013">
              <a:tabLst/>
              <a:defRPr sz="1800" b="0" i="0">
                <a:solidFill>
                  <a:srgbClr val="65656A"/>
                </a:solidFill>
                <a:latin typeface="Arial" charset="0"/>
                <a:ea typeface="Arial" charset="0"/>
                <a:cs typeface="Arial" charset="0"/>
              </a:defRPr>
            </a:lvl2pPr>
            <a:lvl3pPr marL="693738" indent="-228600">
              <a:tabLst/>
              <a:defRPr sz="1600" b="0" i="0">
                <a:solidFill>
                  <a:srgbClr val="65656A"/>
                </a:solidFill>
                <a:latin typeface="Arial" charset="0"/>
                <a:ea typeface="Arial" charset="0"/>
                <a:cs typeface="Arial" charset="0"/>
              </a:defRPr>
            </a:lvl3pPr>
          </a:lstStyle>
          <a:p>
            <a:pPr lvl="0"/>
            <a:r>
              <a:rPr lang="en-US" dirty="0"/>
              <a:t>First Level Body Text, Arial Regular, 20pt</a:t>
            </a:r>
          </a:p>
          <a:p>
            <a:pPr lvl="1"/>
            <a:r>
              <a:rPr lang="en-US" dirty="0"/>
              <a:t>Second Level Bullet, Arial Regular, 18pt.</a:t>
            </a:r>
          </a:p>
          <a:p>
            <a:pPr lvl="2"/>
            <a:r>
              <a:rPr lang="en-US" dirty="0"/>
              <a:t>Third Level Bullet, Arial Regular, 16pt.</a:t>
            </a:r>
          </a:p>
          <a:p>
            <a:pPr lvl="2"/>
            <a:r>
              <a:rPr lang="en-US" dirty="0"/>
              <a:t>Third Level Bullet, Arial Regular, 16pt.</a:t>
            </a:r>
          </a:p>
          <a:p>
            <a:pPr lvl="2"/>
            <a:endParaRPr lang="en-US" dirty="0"/>
          </a:p>
          <a:p>
            <a:pPr lvl="0"/>
            <a:r>
              <a:rPr lang="en-US" dirty="0"/>
              <a:t>First Level Body Text, Arial Regular, 20pt</a:t>
            </a:r>
          </a:p>
          <a:p>
            <a:pPr lvl="1"/>
            <a:r>
              <a:rPr lang="en-US" dirty="0"/>
              <a:t>Second Level Bullet, Arial Regular, 18pt.</a:t>
            </a:r>
          </a:p>
          <a:p>
            <a:pPr lvl="2"/>
            <a:r>
              <a:rPr lang="en-US" dirty="0"/>
              <a:t>Third Level Bullet, Arial Regular, 16pt.</a:t>
            </a:r>
          </a:p>
          <a:p>
            <a:pPr lvl="2"/>
            <a:r>
              <a:rPr lang="en-US" dirty="0"/>
              <a:t>Third Level Bullet, Arial Regular, 16pt.</a:t>
            </a:r>
          </a:p>
          <a:p>
            <a:pPr lvl="2"/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48400" y="1371600"/>
            <a:ext cx="5257800" cy="4351338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rgbClr val="65656A"/>
                </a:solidFill>
                <a:latin typeface="Arial" charset="0"/>
                <a:ea typeface="Arial" charset="0"/>
                <a:cs typeface="Arial" charset="0"/>
              </a:defRPr>
            </a:lvl1pPr>
            <a:lvl2pPr marL="465138" indent="-227013">
              <a:tabLst/>
              <a:defRPr sz="1800" b="0" i="0">
                <a:solidFill>
                  <a:srgbClr val="65656A"/>
                </a:solidFill>
                <a:latin typeface="Arial" charset="0"/>
                <a:ea typeface="Arial" charset="0"/>
                <a:cs typeface="Arial" charset="0"/>
              </a:defRPr>
            </a:lvl2pPr>
            <a:lvl3pPr marL="693738" indent="-228600">
              <a:tabLst/>
              <a:defRPr sz="1600" b="0" i="0">
                <a:solidFill>
                  <a:srgbClr val="65656A"/>
                </a:solidFill>
                <a:latin typeface="Arial" charset="0"/>
                <a:ea typeface="Arial" charset="0"/>
                <a:cs typeface="Arial" charset="0"/>
              </a:defRPr>
            </a:lvl3pPr>
          </a:lstStyle>
          <a:p>
            <a:pPr lvl="0"/>
            <a:r>
              <a:rPr lang="en-US" dirty="0"/>
              <a:t>First Level Body Text, Arial Regular, 20pt</a:t>
            </a:r>
          </a:p>
          <a:p>
            <a:pPr lvl="1"/>
            <a:r>
              <a:rPr lang="en-US" dirty="0"/>
              <a:t>Second Level Bullet, Arial Regular, 18pt.</a:t>
            </a:r>
          </a:p>
          <a:p>
            <a:pPr lvl="2"/>
            <a:r>
              <a:rPr lang="en-US" dirty="0"/>
              <a:t>Third Level Bullet, Arial Regular, 16pt.</a:t>
            </a:r>
          </a:p>
          <a:p>
            <a:pPr lvl="2"/>
            <a:r>
              <a:rPr lang="en-US" dirty="0"/>
              <a:t>Third Level Bullet, Arial Regular, 16pt.</a:t>
            </a:r>
          </a:p>
          <a:p>
            <a:pPr lvl="1"/>
            <a:r>
              <a:rPr lang="en-US" dirty="0"/>
              <a:t>Second Level Bullet, Arial Regular, 18pt.</a:t>
            </a:r>
          </a:p>
          <a:p>
            <a:pPr lvl="2"/>
            <a:r>
              <a:rPr lang="en-US" dirty="0"/>
              <a:t>Third Level Bullet, Arial Regular, 16pt.</a:t>
            </a:r>
          </a:p>
          <a:p>
            <a:pPr lvl="2"/>
            <a:r>
              <a:rPr lang="en-US" dirty="0"/>
              <a:t>Third Level Bullet, Arial Regular, 16pt.</a:t>
            </a:r>
          </a:p>
          <a:p>
            <a:pPr lvl="2"/>
            <a:endParaRPr lang="en-US" dirty="0"/>
          </a:p>
          <a:p>
            <a:pPr lvl="0"/>
            <a:r>
              <a:rPr lang="en-US" dirty="0"/>
              <a:t>First Level Body Text, Arial Regular, 20pt</a:t>
            </a:r>
          </a:p>
          <a:p>
            <a:pPr lvl="1"/>
            <a:r>
              <a:rPr lang="en-US" dirty="0"/>
              <a:t>Second Level Bullet, Arial Regular, 18pt.</a:t>
            </a:r>
          </a:p>
          <a:p>
            <a:pPr lvl="2"/>
            <a:r>
              <a:rPr lang="en-US" dirty="0"/>
              <a:t>Third Level Bullet, Arial Regular, 16pt.</a:t>
            </a:r>
          </a:p>
          <a:p>
            <a:pPr lvl="2"/>
            <a:r>
              <a:rPr lang="en-US" dirty="0"/>
              <a:t>Third Level Bullet, Arial Regular, 16pt.</a:t>
            </a: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0"/>
            <a:endParaRPr lang="en-US" dirty="0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1935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9E01288-54FD-8567-30D9-172123F345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D084E39-F9A4-7E84-1920-DDC71C453F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2BE6FE7-0258-54C7-BC89-E71E99FB57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1555DD57-B359-DA11-E1CF-DA8DAF0A4F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87C3D-0CD7-4DE8-8E20-3325E67BF882}" type="datetimeFigureOut">
              <a:rPr lang="zh-CN" altLang="en-US" smtClean="0"/>
              <a:t>2025/3/1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CD225AB-4F9D-8D09-CDD0-11C423BBD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FC2B40A-6EB3-856B-4C04-03D0CDFFB8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6E31E1-2282-4FFC-841C-8BE00078B94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3389735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6FAD87F-DBF5-4E2F-A61B-3CCEC5C7D0B9}"/>
              </a:ext>
            </a:extLst>
          </p:cNvPr>
          <p:cNvGrpSpPr/>
          <p:nvPr userDrawn="1"/>
        </p:nvGrpSpPr>
        <p:grpSpPr bwMode="ltGray">
          <a:xfrm>
            <a:off x="8710812" y="1771650"/>
            <a:ext cx="3481189" cy="4196081"/>
            <a:chOff x="8710812" y="1771650"/>
            <a:chExt cx="3481189" cy="4196081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6B0365F1-E7DF-4958-962E-9FFD3A39414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3720628"/>
              <a:ext cx="531187" cy="974975"/>
            </a:xfrm>
            <a:custGeom>
              <a:avLst/>
              <a:gdLst>
                <a:gd name="T0" fmla="*/ 547 w 547"/>
                <a:gd name="T1" fmla="*/ 704 h 1004"/>
                <a:gd name="T2" fmla="*/ 0 w 547"/>
                <a:gd name="T3" fmla="*/ 1004 h 1004"/>
                <a:gd name="T4" fmla="*/ 0 w 547"/>
                <a:gd name="T5" fmla="*/ 300 h 1004"/>
                <a:gd name="T6" fmla="*/ 547 w 547"/>
                <a:gd name="T7" fmla="*/ 0 h 1004"/>
                <a:gd name="T8" fmla="*/ 547 w 547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4"/>
                  </a:moveTo>
                  <a:lnTo>
                    <a:pt x="0" y="1004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4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39253E4C-431D-4257-8CC7-C1456CD2F32D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8040" y="3720628"/>
              <a:ext cx="532157" cy="974975"/>
            </a:xfrm>
            <a:custGeom>
              <a:avLst/>
              <a:gdLst>
                <a:gd name="T0" fmla="*/ 0 w 548"/>
                <a:gd name="T1" fmla="*/ 704 h 1004"/>
                <a:gd name="T2" fmla="*/ 548 w 548"/>
                <a:gd name="T3" fmla="*/ 1004 h 1004"/>
                <a:gd name="T4" fmla="*/ 548 w 548"/>
                <a:gd name="T5" fmla="*/ 300 h 1004"/>
                <a:gd name="T6" fmla="*/ 0 w 548"/>
                <a:gd name="T7" fmla="*/ 0 h 1004"/>
                <a:gd name="T8" fmla="*/ 0 w 548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4"/>
                  </a:moveTo>
                  <a:lnTo>
                    <a:pt x="548" y="1004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4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E928826C-9C74-4194-A556-98EC9A96F6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4404276"/>
              <a:ext cx="1063344" cy="586538"/>
            </a:xfrm>
            <a:custGeom>
              <a:avLst/>
              <a:gdLst>
                <a:gd name="T0" fmla="*/ 547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7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7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7ACB5DE1-DAC6-4C99-B2CC-0EB12CE0D5F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5D630C8B-3A7C-4321-A3EF-B1D0A698F7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2969" y="2748567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A590461-2675-4E4A-B9BB-BF5471E895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3434156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48EAECFD-0CA3-492F-BA94-22EF6EB2205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62FFEC32-2F2F-43F4-9C21-7F15A26966A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3434157"/>
              <a:ext cx="1063345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  <a:gd name="connsiteX0" fmla="*/ 5005 w 10000"/>
                <a:gd name="connsiteY0" fmla="*/ 0 h 10000"/>
                <a:gd name="connsiteX1" fmla="*/ 0 w 10000"/>
                <a:gd name="connsiteY1" fmla="*/ 4967 h 10000"/>
                <a:gd name="connsiteX2" fmla="*/ 5048 w 10000"/>
                <a:gd name="connsiteY2" fmla="*/ 10000 h 10000"/>
                <a:gd name="connsiteX3" fmla="*/ 10000 w 10000"/>
                <a:gd name="connsiteY3" fmla="*/ 4967 h 10000"/>
                <a:gd name="connsiteX4" fmla="*/ 5005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5005" y="0"/>
                  </a:moveTo>
                  <a:lnTo>
                    <a:pt x="0" y="4967"/>
                  </a:lnTo>
                  <a:lnTo>
                    <a:pt x="5048" y="10000"/>
                  </a:lnTo>
                  <a:lnTo>
                    <a:pt x="10000" y="4967"/>
                  </a:lnTo>
                  <a:lnTo>
                    <a:pt x="5005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647709D2-F4CC-4414-B183-427A6D2A22A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1823" y="2748566"/>
              <a:ext cx="534332" cy="982635"/>
            </a:xfrm>
            <a:custGeom>
              <a:avLst/>
              <a:gdLst>
                <a:gd name="T0" fmla="*/ 0 w 548"/>
                <a:gd name="T1" fmla="*/ 706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6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72928ABA-DF2E-4C8E-B194-7FA5282298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3616" y="3434158"/>
              <a:ext cx="1060195" cy="586539"/>
            </a:xfrm>
            <a:custGeom>
              <a:avLst/>
              <a:gdLst>
                <a:gd name="T0" fmla="*/ 548 w 1096"/>
                <a:gd name="T1" fmla="*/ 0 h 604"/>
                <a:gd name="T2" fmla="*/ 0 w 1096"/>
                <a:gd name="T3" fmla="*/ 300 h 604"/>
                <a:gd name="T4" fmla="*/ 560 w 1096"/>
                <a:gd name="T5" fmla="*/ 604 h 604"/>
                <a:gd name="T6" fmla="*/ 1096 w 1096"/>
                <a:gd name="T7" fmla="*/ 300 h 604"/>
                <a:gd name="T8" fmla="*/ 548 w 1096"/>
                <a:gd name="T9" fmla="*/ 0 h 604"/>
                <a:gd name="connsiteX0" fmla="*/ 5000 w 9956"/>
                <a:gd name="connsiteY0" fmla="*/ 0 h 10000"/>
                <a:gd name="connsiteX1" fmla="*/ 0 w 9956"/>
                <a:gd name="connsiteY1" fmla="*/ 4967 h 10000"/>
                <a:gd name="connsiteX2" fmla="*/ 5109 w 9956"/>
                <a:gd name="connsiteY2" fmla="*/ 10000 h 10000"/>
                <a:gd name="connsiteX3" fmla="*/ 9956 w 9956"/>
                <a:gd name="connsiteY3" fmla="*/ 4967 h 10000"/>
                <a:gd name="connsiteX4" fmla="*/ 5000 w 995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6" h="10000">
                  <a:moveTo>
                    <a:pt x="5000" y="0"/>
                  </a:moveTo>
                  <a:lnTo>
                    <a:pt x="0" y="4967"/>
                  </a:lnTo>
                  <a:lnTo>
                    <a:pt x="5109" y="10000"/>
                  </a:lnTo>
                  <a:lnTo>
                    <a:pt x="9956" y="4967"/>
                  </a:lnTo>
                  <a:lnTo>
                    <a:pt x="5000" y="0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A52C6C9-8220-4E26-B41D-1AA4F49DF9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1771650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8548CD94-9B34-4B91-BB2B-8736861E89E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1673" y="1771650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CFFFDB94-105D-4570-A938-4AD7CE4AE78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2457240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AC2A78A9-4071-45DC-BAE8-1C643EDD9B0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1" y="1771650"/>
              <a:ext cx="531187" cy="976917"/>
            </a:xfrm>
            <a:custGeom>
              <a:avLst/>
              <a:gdLst>
                <a:gd name="T0" fmla="*/ 547 w 547"/>
                <a:gd name="T1" fmla="*/ 706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0EEF9B-FB8E-409B-A24F-BD7570B8820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895988" y="1771650"/>
              <a:ext cx="296013" cy="847641"/>
            </a:xfrm>
            <a:custGeom>
              <a:avLst/>
              <a:gdLst>
                <a:gd name="connsiteX0" fmla="*/ 0 w 296013"/>
                <a:gd name="connsiteY0" fmla="*/ 0 h 847641"/>
                <a:gd name="connsiteX1" fmla="*/ 296013 w 296013"/>
                <a:gd name="connsiteY1" fmla="*/ 162051 h 847641"/>
                <a:gd name="connsiteX2" fmla="*/ 296013 w 296013"/>
                <a:gd name="connsiteY2" fmla="*/ 847641 h 847641"/>
                <a:gd name="connsiteX3" fmla="*/ 0 w 296013"/>
                <a:gd name="connsiteY3" fmla="*/ 685590 h 84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013" h="847641">
                  <a:moveTo>
                    <a:pt x="0" y="0"/>
                  </a:moveTo>
                  <a:lnTo>
                    <a:pt x="296013" y="162051"/>
                  </a:lnTo>
                  <a:lnTo>
                    <a:pt x="296013" y="847641"/>
                  </a:lnTo>
                  <a:lnTo>
                    <a:pt x="0" y="685590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90FC8DE-C4AD-4BD3-9506-276C17F0C33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0" y="2457240"/>
              <a:ext cx="827200" cy="593577"/>
            </a:xfrm>
            <a:custGeom>
              <a:avLst/>
              <a:gdLst>
                <a:gd name="connsiteX0" fmla="*/ 531141 w 827200"/>
                <a:gd name="connsiteY0" fmla="*/ 0 h 593577"/>
                <a:gd name="connsiteX1" fmla="*/ 827200 w 827200"/>
                <a:gd name="connsiteY1" fmla="*/ 162066 h 593577"/>
                <a:gd name="connsiteX2" fmla="*/ 827200 w 827200"/>
                <a:gd name="connsiteY2" fmla="*/ 425095 h 593577"/>
                <a:gd name="connsiteX3" fmla="*/ 529758 w 827200"/>
                <a:gd name="connsiteY3" fmla="*/ 593577 h 593577"/>
                <a:gd name="connsiteX4" fmla="*/ 0 w 827200"/>
                <a:gd name="connsiteY4" fmla="*/ 291334 h 59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7200" h="593577">
                  <a:moveTo>
                    <a:pt x="531141" y="0"/>
                  </a:moveTo>
                  <a:lnTo>
                    <a:pt x="827200" y="162066"/>
                  </a:lnTo>
                  <a:lnTo>
                    <a:pt x="827200" y="425095"/>
                  </a:lnTo>
                  <a:lnTo>
                    <a:pt x="529758" y="593577"/>
                  </a:lnTo>
                  <a:lnTo>
                    <a:pt x="0" y="291334"/>
                  </a:lnTo>
                  <a:close/>
                </a:path>
              </a:pathLst>
            </a:custGeom>
            <a:solidFill>
              <a:srgbClr val="303030"/>
            </a:solidFill>
            <a:ln w="9525">
              <a:solidFill>
                <a:srgbClr val="30303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77297A5A-69AC-4DF4-95F9-A09D48D814E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4400391"/>
              <a:ext cx="531187" cy="976917"/>
            </a:xfrm>
            <a:custGeom>
              <a:avLst/>
              <a:gdLst>
                <a:gd name="T0" fmla="*/ 547 w 547"/>
                <a:gd name="T1" fmla="*/ 707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7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7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E65087DC-7AC8-4AA7-9010-A067ADE1CF79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47210" y="4400391"/>
              <a:ext cx="532157" cy="976917"/>
            </a:xfrm>
            <a:custGeom>
              <a:avLst/>
              <a:gdLst>
                <a:gd name="T0" fmla="*/ 0 w 548"/>
                <a:gd name="T1" fmla="*/ 707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7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7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3B4C2EBB-4C89-4380-A5E7-A7BD40C2B90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5086952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0D7CD4FA-6D18-4E1F-9C7D-91AA2E32B2B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4697545"/>
              <a:ext cx="531187" cy="974975"/>
            </a:xfrm>
            <a:custGeom>
              <a:avLst/>
              <a:gdLst>
                <a:gd name="T0" fmla="*/ 547 w 547"/>
                <a:gd name="T1" fmla="*/ 705 h 1004"/>
                <a:gd name="T2" fmla="*/ 0 w 547"/>
                <a:gd name="T3" fmla="*/ 1004 h 1004"/>
                <a:gd name="T4" fmla="*/ 0 w 547"/>
                <a:gd name="T5" fmla="*/ 298 h 1004"/>
                <a:gd name="T6" fmla="*/ 547 w 547"/>
                <a:gd name="T7" fmla="*/ 0 h 1004"/>
                <a:gd name="T8" fmla="*/ 547 w 547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5"/>
                  </a:moveTo>
                  <a:lnTo>
                    <a:pt x="0" y="1004"/>
                  </a:lnTo>
                  <a:lnTo>
                    <a:pt x="0" y="298"/>
                  </a:lnTo>
                  <a:lnTo>
                    <a:pt x="547" y="0"/>
                  </a:lnTo>
                  <a:lnTo>
                    <a:pt x="547" y="705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5D06D6BE-8F81-4F1F-9E44-429E129C195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51709" y="4697545"/>
              <a:ext cx="532157" cy="974975"/>
            </a:xfrm>
            <a:custGeom>
              <a:avLst/>
              <a:gdLst>
                <a:gd name="T0" fmla="*/ 0 w 548"/>
                <a:gd name="T1" fmla="*/ 705 h 1004"/>
                <a:gd name="T2" fmla="*/ 548 w 548"/>
                <a:gd name="T3" fmla="*/ 1004 h 1004"/>
                <a:gd name="T4" fmla="*/ 548 w 548"/>
                <a:gd name="T5" fmla="*/ 298 h 1004"/>
                <a:gd name="T6" fmla="*/ 0 w 548"/>
                <a:gd name="T7" fmla="*/ 0 h 1004"/>
                <a:gd name="T8" fmla="*/ 0 w 548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5"/>
                  </a:moveTo>
                  <a:lnTo>
                    <a:pt x="548" y="1004"/>
                  </a:lnTo>
                  <a:lnTo>
                    <a:pt x="548" y="298"/>
                  </a:lnTo>
                  <a:lnTo>
                    <a:pt x="0" y="0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3F7CF64D-F067-41E4-8D9F-41FF3897282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5382163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8919240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>
                <a:latin typeface="+mj-lt"/>
              </a:rPr>
              <a:t>Session code here</a:t>
            </a:r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DCBAFEF-FDA0-4148-B6F8-D1D9029A0218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9BE868E-A240-4959-BD66-6BC44EE5A4A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DDB4654-32A2-47CE-B324-C597C756E402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18BE353-242E-4429-9D4C-1D50CEEC277C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2B25198-469F-44A8-946B-689A24DC3C72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5460766-0EE4-4C99-BD2E-1BAD7FD9C3AC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EFBC909F-DC50-4DDC-91C9-2509E0F5633F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0DC1718-52A4-4705-AE14-45A352ACBC2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D51C16AF-F6FA-4CD2-B0A5-3663CD02799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A105041-F999-49D6-BE4B-7630F1204F6C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190B08C-67D4-4DAD-8158-2B4D4A1318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43F7B37-FD03-4D73-932B-77D49AB6A515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F01A60D-F904-4399-87EA-23E33C45969F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450C50C-26FC-42C5-BA39-AE97627B772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8924B0-E78A-4770-AF30-C78056E7AAAB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D8AB0228-AC44-413D-A029-1BBF7B18CBCC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9C067BE-7550-4D8F-9A42-B78AB594CD54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4D97435-6932-4E2A-A217-DEA06FDA510A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FF9C9FB6-79F2-41F1-872D-2184B91C8E00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577AEC4-9502-4D2D-B373-2F1CB4EFF9B8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13EA48F-163A-410A-8C97-A08AA1B2EE50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3E1E199B-B230-4884-9F60-9B781B11B8FF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B98E4A3-2599-4DEB-8ECC-F004500FBF6A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B74F55-4583-4B26-A4E0-71C00B14AFF6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C4D1900-D812-4B27-AC50-B2795AD953C3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83ECFC2-9749-4525-973B-EAA0BC0FC62B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A3ABF7E-B2D4-4B7A-9B6E-0EB3223E4EE4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74831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603159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92317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87398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5875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17095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15238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064857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200F7B6E-608C-4712-A939-BEBE059E295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DC5E8A2-8275-4F90-BA55-9B66D81C4A9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C563208-4732-48A3-81E6-533A2E2DD53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D0ADC22-C4D5-4BE8-99A8-91566ADDBF5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91C4D457-0F93-4853-AB02-01C200DE6658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E8D605B0-4DEE-4101-AC83-CD1D15D14DB9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EF14ED5-2275-4C01-96DD-1D24FE9FD6EE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F31E8C76-6A67-4E1C-BCC4-8D2ABCC0212A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ABDD9FA-82C7-4E69-9895-354AD0BDD19E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A7CD18E-2839-44B2-9BA7-6356529D686A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0B7E64CE-434E-410A-823C-4872E71DD278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0D92AA81-D52A-4877-AE2C-AB5B4D374D19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BE84D11A-0DE4-40A8-BB80-889FF30CCE03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0E0B5D-2F12-4C6E-92C5-3765C579ADE8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765DAB00-242D-4D78-B6BF-F678C14B519F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D824698C-3D67-4D42-9DE6-531F5A0C7EA3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99246CD-F05A-4044-B7A4-384A7B272509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6930CAB-4305-4191-AD01-9D22AAD264D9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FBC50E9-9F0E-4D62-9AA6-DC145681D1EA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9610B7D-2856-472A-B98F-5684402C6C99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173E078-D753-4C8F-98BB-75D0CBE314FE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EAA82456-62CD-4C42-91A4-3FFD8F19BCBD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41ABB687-FC0A-4A48-8466-BF8A1129E230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EEA91BF-1A44-4FB0-92F0-23098E7BBFCD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11C6A8E-CEC6-4129-9FB2-A426C6CE84EB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205B8F1F-9F8A-42BF-8770-AEABCEC35D18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36EE7F2A-0858-47D2-B1D0-D33BCD933AB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26720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3FE50A-33CB-986F-75C7-EAC343325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5363986C-DABF-D03B-7311-8AB47055DBC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821EDE59-E236-5231-8520-41CC712DF7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058B4B70-2D77-0B3D-D1F4-14789711C5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87C3D-0CD7-4DE8-8E20-3325E67BF882}" type="datetimeFigureOut">
              <a:rPr lang="zh-CN" altLang="en-US" smtClean="0"/>
              <a:t>2025/3/1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63643C0C-CD65-5C00-18B2-E324F3B356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E770A01-31C0-5162-2715-766ADC035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6E31E1-2282-4FFC-841C-8BE00078B94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6671858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C39AAC9F-C8B8-422E-93FC-08A064104000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09379AA-B540-4886-8794-46BA10F3D91B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9E5BC201-014B-48F5-BAC0-4FBBACCBF586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F72CD027-1ABE-4E4A-BE9E-EF73250F92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52C85D91-63CC-4FF7-A826-BE886CDB017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55C67E6-D930-403F-9550-70EC2A102AB5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DB9C074-A5A6-4082-9FCD-D487FD8013E5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E3D79EB-E5E0-4CA3-A7CE-50069CC73F1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2F892FB-2465-40CF-A81F-AC989DC09CE4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8BADF38-50C7-4E4B-AA00-660BF4161C96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51B782C-38CF-4C16-8A55-9C1BEA5AF3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61A234A0-3B09-4E85-880A-C885FBEE2401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B6516D46-39CD-420E-9263-03065B10F8F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8F64C-F49A-4F09-A9C2-8502680A64D7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AE00412-2C1C-4CAB-B1D4-B046A4B37C24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01030AB7-3DE7-407A-98DE-751351FCBFB5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074BD83-98DD-4084-9D1E-CDACFD005AFF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47C85498-5D07-457D-BA73-99E2EB50130B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3DF2CE11-90A6-43A8-B2DC-45295F10CB64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65F154A-ABA1-4F9A-97F8-C50108DD1A97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4AC8DFE-7BB0-4D98-AA21-405DB4B06225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F39938CF-5CFF-4707-BBDD-DD19FA0A50F1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73332E5E-0308-4370-A841-A20570A69BDF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E46D602-7D42-411E-8BA6-6F74E13FE60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53F344C1-9929-4E86-BB1A-05E12D1570DF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6933AFD-19AA-49B8-BCF7-2D0EAA89273D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FB75AC2-D122-402F-B448-B0118576BB4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2059519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B08910-F1C3-47B2-8C69-1B107282064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E7A031-B4AB-4071-98FF-24E766F9BB5C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DC7067D-3957-4163-9442-C167A0A6216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AE235F-4F6C-4565-AADC-752626D64B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EAADF52-7CC0-4715-8BAC-4186C7CE9B0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AC140A-9DFB-45B7-82C2-CF25166A0D41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436FDC7-3DF0-4E6A-B4A8-7EB4FF30AAF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72FB5AA-3C69-4BB6-9C10-682E95EF1AAE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0321A7F-C5FC-4514-A3AC-41CC16FA85FD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3C4B3CE-95D2-45A5-917E-A5389B118222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A5270AF0-DA91-4FF8-9B1C-35937E49D88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B4AB4EC-0302-4902-B797-9B84C91FDE1B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941D13F-2DD6-4121-8220-CC08400DD382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98F2381-17CE-4672-96D3-D3E4A8C1115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6A42BAE-DCEA-4A1A-8779-E499D67DA7B9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D7995E7-6761-41BA-BE88-30DD0DF70D22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4D7B6AA-459B-44CF-9930-A05720C41315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EBE7D0E-F0D6-4EA3-A151-C26BF3138977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118A379-1639-4C1C-9E5B-A39F1CD0A9D9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8DE972F-9FF1-4743-BF7F-15CC5403A6C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95596FA-D3B2-4953-81FC-9958337AF5DC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D57090A-B887-4CA7-A022-90564F12A9A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9749B2E-C284-42A2-A061-B635FBBBD461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A74F4CD-889D-4E91-AB27-CCB11E8677AE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CE97AB5-F3D1-4D1A-8F2F-166F6F85A189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5281A29-9018-48AF-8B81-EB9F71FE5ABA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B1B3F07-773E-4FC0-9A04-73F52683190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1068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867548-8B9A-436D-9AB6-D7EA0AC78267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298AA2D-C933-41C0-B3A0-5E1B5429C617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E45CCA4-1611-4A15-8D76-0CD4304233D4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B20432D-F3B6-4212-B616-45AD62D0A8BA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CB285A8-E7EF-4B70-8B71-2D09BE26853D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D552378-B8A4-40F9-8A64-367F9EC304F0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DED4FF8-FEAE-4CC0-8F5B-9FC2B47E570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4DD2AD2-299E-4049-881B-2BC838B6DB02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30A103C-9EC8-479D-9AEA-2FA30D0B683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FF762A67-8800-4EDC-ACA0-235237807007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C1E21E3-4EFA-46DB-B62D-888B912FEC3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C90FB2C-AED4-45EF-B005-A6F9315E6638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9EFEACE-63D5-4DE9-AE7A-022D10CBBAD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83FC86B-2504-437F-9155-736D3776FBC0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4BE281D9-0C46-4685-8A97-79D102C868ED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B982782-C326-41A6-88DF-60D0069AAC1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C69C78E5-CDD7-45AD-9FAC-A193057F255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5E678CA-56AB-4822-8F79-1B384711F464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4D454C8-0C5D-4654-B977-447674D5459E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FD26513-923A-4E4E-88AB-484CF7F390D1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5F3DAB6-E46E-498F-AC8D-245DB12E86FA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2FF22795-13BD-4A36-8B98-FAE4B2B9567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6E68192-BBC2-4E66-BC2E-A6F5E839A4EC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74CE4AB-E3EC-4485-A9DB-D3875DE15509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8D9197E-BD70-40A3-872D-2F635C47602A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A35C218-6C8E-4E07-9EA7-15A37B43AD66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47F6A62-B1EC-420D-A385-9A9A03966E9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39191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11618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92866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75375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681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986159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56407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9383" y="2124908"/>
            <a:ext cx="11333080" cy="149878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961"/>
              </a:spcBef>
              <a:spcAft>
                <a:spcPts val="0"/>
              </a:spcAft>
              <a:buNone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1961"/>
              </a:spcBef>
              <a:spcAft>
                <a:spcPts val="0"/>
              </a:spcAft>
              <a:buNone/>
              <a:defRPr sz="1961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1961"/>
              </a:spcBef>
              <a:spcAft>
                <a:spcPts val="0"/>
              </a:spcAft>
              <a:buNone/>
              <a:defRPr sz="1961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26</a:t>
            </a:r>
          </a:p>
          <a:p>
            <a:pPr lvl="1"/>
            <a:r>
              <a:rPr lang="en-US"/>
              <a:t>Second level Segoe UI 20</a:t>
            </a:r>
          </a:p>
          <a:p>
            <a:pPr lvl="2"/>
            <a:r>
              <a:rPr lang="en-US"/>
              <a:t>Third level Segoe UI 20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383" y="437538"/>
            <a:ext cx="11333080" cy="742300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</a:t>
            </a:r>
          </a:p>
        </p:txBody>
      </p:sp>
    </p:spTree>
    <p:extLst>
      <p:ext uri="{BB962C8B-B14F-4D97-AF65-F5344CB8AC3E}">
        <p14:creationId xmlns:p14="http://schemas.microsoft.com/office/powerpoint/2010/main" val="300712618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33.xml"/><Relationship Id="rId42" Type="http://schemas.openxmlformats.org/officeDocument/2006/relationships/slideLayout" Target="../slideLayouts/slideLayout54.xml"/><Relationship Id="rId47" Type="http://schemas.openxmlformats.org/officeDocument/2006/relationships/slideLayout" Target="../slideLayouts/slideLayout59.xml"/><Relationship Id="rId63" Type="http://schemas.openxmlformats.org/officeDocument/2006/relationships/slideLayout" Target="../slideLayouts/slideLayout75.xml"/><Relationship Id="rId68" Type="http://schemas.openxmlformats.org/officeDocument/2006/relationships/theme" Target="../theme/theme3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slideLayout" Target="../slideLayouts/slideLayout57.xml"/><Relationship Id="rId53" Type="http://schemas.openxmlformats.org/officeDocument/2006/relationships/slideLayout" Target="../slideLayouts/slideLayout65.xml"/><Relationship Id="rId58" Type="http://schemas.openxmlformats.org/officeDocument/2006/relationships/slideLayout" Target="../slideLayouts/slideLayout70.xml"/><Relationship Id="rId66" Type="http://schemas.openxmlformats.org/officeDocument/2006/relationships/slideLayout" Target="../slideLayouts/slideLayout78.xml"/><Relationship Id="rId5" Type="http://schemas.openxmlformats.org/officeDocument/2006/relationships/slideLayout" Target="../slideLayouts/slideLayout17.xml"/><Relationship Id="rId61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slideLayout" Target="../slideLayouts/slideLayout55.xml"/><Relationship Id="rId48" Type="http://schemas.openxmlformats.org/officeDocument/2006/relationships/slideLayout" Target="../slideLayouts/slideLayout60.xml"/><Relationship Id="rId56" Type="http://schemas.openxmlformats.org/officeDocument/2006/relationships/slideLayout" Target="../slideLayouts/slideLayout68.xml"/><Relationship Id="rId64" Type="http://schemas.openxmlformats.org/officeDocument/2006/relationships/slideLayout" Target="../slideLayouts/slideLayout76.xml"/><Relationship Id="rId69" Type="http://schemas.openxmlformats.org/officeDocument/2006/relationships/image" Target="../media/image1.emf"/><Relationship Id="rId8" Type="http://schemas.openxmlformats.org/officeDocument/2006/relationships/slideLayout" Target="../slideLayouts/slideLayout20.xml"/><Relationship Id="rId51" Type="http://schemas.openxmlformats.org/officeDocument/2006/relationships/slideLayout" Target="../slideLayouts/slideLayout63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slideLayout" Target="../slideLayouts/slideLayout58.xml"/><Relationship Id="rId59" Type="http://schemas.openxmlformats.org/officeDocument/2006/relationships/slideLayout" Target="../slideLayouts/slideLayout71.xml"/><Relationship Id="rId67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32.xml"/><Relationship Id="rId41" Type="http://schemas.openxmlformats.org/officeDocument/2006/relationships/slideLayout" Target="../slideLayouts/slideLayout53.xml"/><Relationship Id="rId54" Type="http://schemas.openxmlformats.org/officeDocument/2006/relationships/slideLayout" Target="../slideLayouts/slideLayout66.xml"/><Relationship Id="rId6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49" Type="http://schemas.openxmlformats.org/officeDocument/2006/relationships/slideLayout" Target="../slideLayouts/slideLayout61.xml"/><Relationship Id="rId57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22.xml"/><Relationship Id="rId31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56.xml"/><Relationship Id="rId52" Type="http://schemas.openxmlformats.org/officeDocument/2006/relationships/slideLayout" Target="../slideLayouts/slideLayout64.xml"/><Relationship Id="rId60" Type="http://schemas.openxmlformats.org/officeDocument/2006/relationships/slideLayout" Target="../slideLayouts/slideLayout72.xml"/><Relationship Id="rId65" Type="http://schemas.openxmlformats.org/officeDocument/2006/relationships/slideLayout" Target="../slideLayouts/slideLayout77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9" Type="http://schemas.openxmlformats.org/officeDocument/2006/relationships/slideLayout" Target="../slideLayouts/slideLayout51.xml"/><Relationship Id="rId34" Type="http://schemas.openxmlformats.org/officeDocument/2006/relationships/slideLayout" Target="../slideLayouts/slideLayout46.xml"/><Relationship Id="rId50" Type="http://schemas.openxmlformats.org/officeDocument/2006/relationships/slideLayout" Target="../slideLayouts/slideLayout62.xml"/><Relationship Id="rId55" Type="http://schemas.openxmlformats.org/officeDocument/2006/relationships/slideLayout" Target="../slideLayouts/slideLayout6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82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slideLayout" Target="../slideLayouts/slideLayout99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89.xml"/><Relationship Id="rId19" Type="http://schemas.openxmlformats.org/officeDocument/2006/relationships/slideLayout" Target="../slideLayouts/slideLayout98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2.xml"/><Relationship Id="rId18" Type="http://schemas.openxmlformats.org/officeDocument/2006/relationships/slideLayout" Target="../slideLayouts/slideLayout117.xml"/><Relationship Id="rId26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02.xml"/><Relationship Id="rId21" Type="http://schemas.openxmlformats.org/officeDocument/2006/relationships/slideLayout" Target="../slideLayouts/slideLayout120.xml"/><Relationship Id="rId34" Type="http://schemas.openxmlformats.org/officeDocument/2006/relationships/theme" Target="../theme/theme5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slideLayout" Target="../slideLayouts/slideLayout116.xml"/><Relationship Id="rId25" Type="http://schemas.openxmlformats.org/officeDocument/2006/relationships/slideLayout" Target="../slideLayouts/slideLayout124.xml"/><Relationship Id="rId33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01.xml"/><Relationship Id="rId16" Type="http://schemas.openxmlformats.org/officeDocument/2006/relationships/slideLayout" Target="../slideLayouts/slideLayout115.xml"/><Relationship Id="rId20" Type="http://schemas.openxmlformats.org/officeDocument/2006/relationships/slideLayout" Target="../slideLayouts/slideLayout119.xml"/><Relationship Id="rId29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24" Type="http://schemas.openxmlformats.org/officeDocument/2006/relationships/slideLayout" Target="../slideLayouts/slideLayout123.xml"/><Relationship Id="rId32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23" Type="http://schemas.openxmlformats.org/officeDocument/2006/relationships/slideLayout" Target="../slideLayouts/slideLayout122.xml"/><Relationship Id="rId28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9.xml"/><Relationship Id="rId19" Type="http://schemas.openxmlformats.org/officeDocument/2006/relationships/slideLayout" Target="../slideLayouts/slideLayout118.xml"/><Relationship Id="rId31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Relationship Id="rId22" Type="http://schemas.openxmlformats.org/officeDocument/2006/relationships/slideLayout" Target="../slideLayouts/slideLayout121.xml"/><Relationship Id="rId27" Type="http://schemas.openxmlformats.org/officeDocument/2006/relationships/slideLayout" Target="../slideLayouts/slideLayout126.xml"/><Relationship Id="rId30" Type="http://schemas.openxmlformats.org/officeDocument/2006/relationships/slideLayout" Target="../slideLayouts/slideLayout129.xml"/><Relationship Id="rId35" Type="http://schemas.openxmlformats.org/officeDocument/2006/relationships/image" Target="../media/image10.png"/><Relationship Id="rId8" Type="http://schemas.openxmlformats.org/officeDocument/2006/relationships/slideLayout" Target="../slideLayouts/slideLayout1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6A6AFC46-6445-2E9E-223B-84043F7B5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926FA9B-8699-0996-4172-DFE3A92AA1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CCB2A3F-839A-3350-671C-759227AA4A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987C3D-0CD7-4DE8-8E20-3325E67BF882}" type="datetimeFigureOut">
              <a:rPr lang="zh-CN" altLang="en-US" smtClean="0"/>
              <a:t>2025/3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EB1C841-3F2D-E05F-E53C-04E0585F3F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EDD988E-0833-B0EA-A323-8E2BE7D50C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6E31E1-2282-4FFC-841C-8BE00078B94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36828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C0710C9E-C806-46FA-BE05-63A4CDC594CB}"/>
              </a:ext>
            </a:extLst>
          </p:cNvPr>
          <p:cNvSpPr/>
          <p:nvPr userDrawn="1"/>
        </p:nvSpPr>
        <p:spPr>
          <a:xfrm>
            <a:off x="-46532800" y="-21234400"/>
            <a:ext cx="1828800" cy="1828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6FC31C2-FD9C-4EDA-8BA9-CBAEA3785C69}"/>
              </a:ext>
            </a:extLst>
          </p:cNvPr>
          <p:cNvSpPr/>
          <p:nvPr userDrawn="1"/>
        </p:nvSpPr>
        <p:spPr>
          <a:xfrm>
            <a:off x="59334400" y="27635200"/>
            <a:ext cx="1828800" cy="1828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8860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6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9224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02" r:id="rId40"/>
    <p:sldLayoutId id="2147483703" r:id="rId41"/>
    <p:sldLayoutId id="2147483704" r:id="rId42"/>
    <p:sldLayoutId id="2147483705" r:id="rId43"/>
    <p:sldLayoutId id="2147483706" r:id="rId44"/>
    <p:sldLayoutId id="2147483707" r:id="rId45"/>
    <p:sldLayoutId id="2147483708" r:id="rId46"/>
    <p:sldLayoutId id="2147483709" r:id="rId47"/>
    <p:sldLayoutId id="2147483710" r:id="rId48"/>
    <p:sldLayoutId id="2147483711" r:id="rId49"/>
    <p:sldLayoutId id="2147483712" r:id="rId50"/>
    <p:sldLayoutId id="2147483713" r:id="rId51"/>
    <p:sldLayoutId id="2147483714" r:id="rId52"/>
    <p:sldLayoutId id="2147483715" r:id="rId53"/>
    <p:sldLayoutId id="2147483716" r:id="rId54"/>
    <p:sldLayoutId id="2147483717" r:id="rId55"/>
    <p:sldLayoutId id="2147483718" r:id="rId56"/>
    <p:sldLayoutId id="2147483720" r:id="rId57"/>
    <p:sldLayoutId id="2147483721" r:id="rId58"/>
    <p:sldLayoutId id="2147483722" r:id="rId59"/>
    <p:sldLayoutId id="2147483723" r:id="rId60"/>
    <p:sldLayoutId id="2147483724" r:id="rId61"/>
    <p:sldLayoutId id="2147483725" r:id="rId62"/>
    <p:sldLayoutId id="2147483726" r:id="rId63"/>
    <p:sldLayoutId id="2147483727" r:id="rId64"/>
    <p:sldLayoutId id="2147483728" r:id="rId65"/>
    <p:sldLayoutId id="2147483729" r:id="rId66"/>
    <p:sldLayoutId id="2147483730" r:id="rId67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36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  <p:sldLayoutId id="2147483749" r:id="rId18"/>
    <p:sldLayoutId id="2147483750" r:id="rId19"/>
    <p:sldLayoutId id="2147483751" r:id="rId20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186820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445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  <p:sldLayoutId id="2147483773" r:id="rId21"/>
    <p:sldLayoutId id="2147483774" r:id="rId22"/>
    <p:sldLayoutId id="2147483775" r:id="rId23"/>
    <p:sldLayoutId id="2147483776" r:id="rId24"/>
    <p:sldLayoutId id="2147483777" r:id="rId25"/>
    <p:sldLayoutId id="2147483778" r:id="rId26"/>
    <p:sldLayoutId id="2147483780" r:id="rId27"/>
    <p:sldLayoutId id="2147483781" r:id="rId28"/>
    <p:sldLayoutId id="2147483782" r:id="rId29"/>
    <p:sldLayoutId id="2147483783" r:id="rId30"/>
    <p:sldLayoutId id="2147483784" r:id="rId31"/>
    <p:sldLayoutId id="2147483785" r:id="rId32"/>
    <p:sldLayoutId id="2147483786" r:id="rId33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8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microsoft.com/office/2007/relationships/hdphoto" Target="../media/hdphoto2.wdp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45E4B0BB-E7BB-8D7E-D9D9-F3B6ED65C4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9878" y="0"/>
            <a:ext cx="4716379" cy="6786975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F1C971DC-B1BB-1B8B-7185-D1861E9CF1B4}"/>
              </a:ext>
            </a:extLst>
          </p:cNvPr>
          <p:cNvSpPr txBox="1"/>
          <p:nvPr/>
        </p:nvSpPr>
        <p:spPr>
          <a:xfrm>
            <a:off x="4121233" y="695446"/>
            <a:ext cx="3549567" cy="3573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57200">
              <a:lnSpc>
                <a:spcPts val="2500"/>
              </a:lnSpc>
            </a:pPr>
            <a:r>
              <a:rPr lang="zh-CN" altLang="en-US" sz="1500" b="1" dirty="0">
                <a:latin typeface="宋体" panose="02010600030101010101" pitchFamily="2" charset="-122"/>
                <a:ea typeface="宋体" panose="02010600030101010101" pitchFamily="2" charset="-122"/>
              </a:rPr>
              <a:t>过了不久，我突然接到一张套红的金字请帖。打开一看，原来是毛主席派人送来的请帖，要在中南海家中宴请我。当时我的心情既激动又不安，毛主席是党和国家的最高领导人，日理万机，还想到我，甚至要设宴招待，这该是多么荣幸的事情呀!但是，想到自己曾负罪于人民，参加工作以来尚未给国家做出什么贡献，却身受种种优厚的待遇，现在又蒙毛主席亲自接见，心中甚觉愧疚。见了毛主席，我该说些什么呢?</a:t>
            </a:r>
          </a:p>
        </p:txBody>
      </p:sp>
    </p:spTree>
    <p:extLst>
      <p:ext uri="{BB962C8B-B14F-4D97-AF65-F5344CB8AC3E}">
        <p14:creationId xmlns:p14="http://schemas.microsoft.com/office/powerpoint/2010/main" val="22924688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27">
            <a:extLst>
              <a:ext uri="{FF2B5EF4-FFF2-40B4-BE49-F238E27FC236}">
                <a16:creationId xmlns:a16="http://schemas.microsoft.com/office/drawing/2014/main" id="{04E6C0B3-2C11-5A88-2F27-54C70EC8A41F}"/>
              </a:ext>
            </a:extLst>
          </p:cNvPr>
          <p:cNvSpPr/>
          <p:nvPr/>
        </p:nvSpPr>
        <p:spPr bwMode="auto">
          <a:xfrm>
            <a:off x="-14200" y="3197342"/>
            <a:ext cx="14653046" cy="2537572"/>
          </a:xfrm>
          <a:custGeom>
            <a:avLst/>
            <a:gdLst>
              <a:gd name="connsiteX0" fmla="*/ 0 w 6313714"/>
              <a:gd name="connsiteY0" fmla="*/ 0 h 6858000"/>
              <a:gd name="connsiteX1" fmla="*/ 5433970 w 6313714"/>
              <a:gd name="connsiteY1" fmla="*/ 0 h 6858000"/>
              <a:gd name="connsiteX2" fmla="*/ 6313714 w 6313714"/>
              <a:gd name="connsiteY2" fmla="*/ 3429000 h 6858000"/>
              <a:gd name="connsiteX3" fmla="*/ 5433970 w 6313714"/>
              <a:gd name="connsiteY3" fmla="*/ 6858000 h 6858000"/>
              <a:gd name="connsiteX4" fmla="*/ 0 w 6313714"/>
              <a:gd name="connsiteY4" fmla="*/ 6858000 h 6858000"/>
              <a:gd name="connsiteX5" fmla="*/ 0 w 631371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3714" h="6858000">
                <a:moveTo>
                  <a:pt x="0" y="0"/>
                </a:moveTo>
                <a:lnTo>
                  <a:pt x="5433970" y="0"/>
                </a:lnTo>
                <a:lnTo>
                  <a:pt x="6313714" y="3429000"/>
                </a:lnTo>
                <a:lnTo>
                  <a:pt x="543397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>
            <a:innerShdw blurRad="254000" dist="50800" dir="18900000">
              <a:prstClr val="black">
                <a:alpha val="35000"/>
              </a:prst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Freeform: Shape 27">
            <a:extLst>
              <a:ext uri="{FF2B5EF4-FFF2-40B4-BE49-F238E27FC236}">
                <a16:creationId xmlns:a16="http://schemas.microsoft.com/office/drawing/2014/main" id="{FC8B44C2-7BB9-00DC-7A84-1723BEE5A405}"/>
              </a:ext>
            </a:extLst>
          </p:cNvPr>
          <p:cNvSpPr/>
          <p:nvPr/>
        </p:nvSpPr>
        <p:spPr bwMode="auto">
          <a:xfrm>
            <a:off x="0" y="1255260"/>
            <a:ext cx="14653046" cy="1147156"/>
          </a:xfrm>
          <a:custGeom>
            <a:avLst/>
            <a:gdLst>
              <a:gd name="connsiteX0" fmla="*/ 0 w 6313714"/>
              <a:gd name="connsiteY0" fmla="*/ 0 h 6858000"/>
              <a:gd name="connsiteX1" fmla="*/ 5433970 w 6313714"/>
              <a:gd name="connsiteY1" fmla="*/ 0 h 6858000"/>
              <a:gd name="connsiteX2" fmla="*/ 6313714 w 6313714"/>
              <a:gd name="connsiteY2" fmla="*/ 3429000 h 6858000"/>
              <a:gd name="connsiteX3" fmla="*/ 5433970 w 6313714"/>
              <a:gd name="connsiteY3" fmla="*/ 6858000 h 6858000"/>
              <a:gd name="connsiteX4" fmla="*/ 0 w 6313714"/>
              <a:gd name="connsiteY4" fmla="*/ 6858000 h 6858000"/>
              <a:gd name="connsiteX5" fmla="*/ 0 w 631371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3714" h="6858000">
                <a:moveTo>
                  <a:pt x="0" y="0"/>
                </a:moveTo>
                <a:lnTo>
                  <a:pt x="5433970" y="0"/>
                </a:lnTo>
                <a:lnTo>
                  <a:pt x="6313714" y="3429000"/>
                </a:lnTo>
                <a:lnTo>
                  <a:pt x="543397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>
            <a:innerShdw blurRad="254000" dist="50800" dir="18900000">
              <a:prstClr val="black">
                <a:alpha val="35000"/>
              </a:prst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1E10DD69-5CA6-406D-A5A7-AFD6C4E50441}"/>
              </a:ext>
            </a:extLst>
          </p:cNvPr>
          <p:cNvSpPr txBox="1"/>
          <p:nvPr/>
        </p:nvSpPr>
        <p:spPr>
          <a:xfrm>
            <a:off x="104027" y="727068"/>
            <a:ext cx="11983946" cy="66753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altLang="zh-CN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【</a:t>
            </a:r>
            <a:r>
              <a:rPr lang="zh-CN" altLang="en-US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究其源</a:t>
            </a:r>
            <a:r>
              <a:rPr lang="en-US" altLang="zh-CN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】</a:t>
            </a:r>
          </a:p>
          <a:p>
            <a:pPr algn="l">
              <a:lnSpc>
                <a:spcPct val="150000"/>
              </a:lnSpc>
            </a:pPr>
            <a:r>
              <a:rPr lang="zh-CN" altLang="en-US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材料一：</a:t>
            </a:r>
            <a:r>
              <a:rPr lang="en-US" altLang="zh-CN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1937</a:t>
            </a:r>
            <a:r>
              <a:rPr lang="zh-CN" altLang="en-US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年</a:t>
            </a:r>
            <a:r>
              <a:rPr lang="en-US" altLang="zh-CN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7</a:t>
            </a:r>
            <a:r>
              <a:rPr lang="zh-CN" altLang="en-US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月</a:t>
            </a:r>
            <a:r>
              <a:rPr lang="en-US" altLang="zh-CN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17</a:t>
            </a:r>
            <a:r>
              <a:rPr lang="zh-CN" altLang="en-US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日，蒋介石先生发表了著名的庐山演说，表示抗日“只有牺牲到底，无丝毫侥幸求免之理。如果战端一开，那就是地无分南北，年无分老幼，无论何人，皆有守土抗战之责任，皆应抱定牺牲一切之决心”。</a:t>
            </a:r>
            <a:endParaRPr lang="en-US" altLang="zh-CN" b="1" i="0" dirty="0">
              <a:solidFill>
                <a:srgbClr val="404040"/>
              </a:solidFill>
              <a:effectLst/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algn="l">
              <a:lnSpc>
                <a:spcPct val="150000"/>
              </a:lnSpc>
            </a:pP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                                                                          ——</a:t>
            </a:r>
            <a:r>
              <a:rPr lang="en-US" altLang="zh-CN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《</a:t>
            </a:r>
            <a:r>
              <a:rPr lang="zh-CN" altLang="en-US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郑洞国回忆录</a:t>
            </a:r>
            <a:r>
              <a:rPr lang="en-US" altLang="zh-CN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》</a:t>
            </a:r>
            <a:endParaRPr lang="en-US" altLang="zh-CN" b="1" dirty="0">
              <a:solidFill>
                <a:srgbClr val="404040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algn="l">
              <a:lnSpc>
                <a:spcPct val="150000"/>
              </a:lnSpc>
            </a:pPr>
            <a:r>
              <a:rPr lang="zh-CN" altLang="en-US" b="1" i="0" dirty="0">
                <a:solidFill>
                  <a:srgbClr val="40404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（</a:t>
            </a:r>
            <a:r>
              <a:rPr lang="en-US" altLang="zh-CN" b="1" i="0" dirty="0">
                <a:solidFill>
                  <a:srgbClr val="40404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1</a:t>
            </a:r>
            <a:r>
              <a:rPr lang="zh-CN" altLang="en-US" b="1" i="0" dirty="0">
                <a:solidFill>
                  <a:srgbClr val="40404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）材料一</a:t>
            </a:r>
            <a:r>
              <a:rPr lang="zh-CN" altLang="en-US" b="1" dirty="0">
                <a:solidFill>
                  <a:srgbClr val="40404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中蒋介石庐山演讲的背景是什么？</a:t>
            </a:r>
            <a:r>
              <a:rPr lang="zh-CN" altLang="en-US" b="1" i="0" dirty="0">
                <a:solidFill>
                  <a:srgbClr val="40404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反映出国民党对日态度发生了转变？发生这些转变的深层原因是什么？</a:t>
            </a:r>
            <a:endParaRPr lang="en-US" altLang="zh-CN" b="1" i="0" dirty="0">
              <a:solidFill>
                <a:srgbClr val="404040"/>
              </a:solidFill>
              <a:effectLst/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【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看</a:t>
            </a:r>
            <a:r>
              <a:rPr lang="zh-CN" altLang="en-US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其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实</a:t>
            </a:r>
            <a:r>
              <a:rPr lang="en-US" altLang="zh-CN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】</a:t>
            </a:r>
          </a:p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材料二：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“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中条山战役危急时，彭德怀部突袭正太铁路，迫使日军回援。战区参谋长感叹：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‘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若非八路军围魏救赵，吾辈皆成俘虏矣！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’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”                                                           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——《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李默庵回忆录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》</a:t>
            </a:r>
          </a:p>
          <a:p>
            <a:pPr algn="l">
              <a:lnSpc>
                <a:spcPct val="150000"/>
              </a:lnSpc>
            </a:pPr>
            <a:r>
              <a:rPr lang="zh-CN" altLang="en-US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材料三：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在保定战役失利后，郑洞国率部撤退时因辎重丢失陷入困境：那时我们的辎重粮草都丢光了，部队没有饭吃，幸亏沿途百姓帮助，才饥一顿、饱一顿地挨了下来。”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                                ——</a:t>
            </a:r>
            <a:r>
              <a:rPr lang="en-US" altLang="zh-CN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《</a:t>
            </a:r>
            <a:r>
              <a:rPr lang="zh-CN" altLang="en-US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郑洞国回忆录</a:t>
            </a:r>
            <a:r>
              <a:rPr lang="en-US" altLang="zh-CN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》</a:t>
            </a:r>
            <a:endParaRPr lang="en-US" altLang="zh-CN" b="1" dirty="0">
              <a:solidFill>
                <a:srgbClr val="404040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材料四：淞沪会战期间，美国纽约华侨游行募捐，新加坡华侨胡文虎捐款 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3 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万元及药品，菲律宾华侨李清泉募捐 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15 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架飞机组成 “菲律宾华侨飞机队”。十九路军共获华侨捐款 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700 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余万元。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——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抗日战争纪念网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《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华侨与淞沪抗战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》</a:t>
            </a:r>
          </a:p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40404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（</a:t>
            </a:r>
            <a:r>
              <a:rPr lang="en-US" altLang="zh-CN" b="1" dirty="0">
                <a:solidFill>
                  <a:srgbClr val="40404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2</a:t>
            </a:r>
            <a:r>
              <a:rPr lang="zh-CN" altLang="en-US" b="1" dirty="0">
                <a:solidFill>
                  <a:srgbClr val="40404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）材料二说明敌后战场与正面战场存在何种关系？材料三、四反映了哪些人在援助抗战？以上三段材料与</a:t>
            </a:r>
            <a:r>
              <a:rPr lang="en-US" altLang="zh-CN" b="1" dirty="0">
                <a:solidFill>
                  <a:srgbClr val="40404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《</a:t>
            </a:r>
            <a:r>
              <a:rPr lang="zh-CN" altLang="en-US" b="1" dirty="0">
                <a:solidFill>
                  <a:srgbClr val="40404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论持久战</a:t>
            </a:r>
            <a:r>
              <a:rPr lang="en-US" altLang="zh-CN" b="1" dirty="0">
                <a:solidFill>
                  <a:srgbClr val="40404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》</a:t>
            </a:r>
            <a:r>
              <a:rPr lang="zh-CN" altLang="en-US" b="1" dirty="0">
                <a:solidFill>
                  <a:srgbClr val="40404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哪一思想不谋而合？</a:t>
            </a:r>
            <a:endParaRPr lang="en-US" altLang="zh-CN" b="1" dirty="0">
              <a:solidFill>
                <a:srgbClr val="40404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>
              <a:lnSpc>
                <a:spcPct val="150000"/>
              </a:lnSpc>
            </a:pPr>
            <a:b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</a:br>
            <a:endParaRPr lang="en-US" altLang="zh-CN" b="1" dirty="0">
              <a:solidFill>
                <a:srgbClr val="404040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</p:txBody>
      </p:sp>
      <p:sp>
        <p:nvSpPr>
          <p:cNvPr id="4" name="任意多边形: 形状 3">
            <a:extLst>
              <a:ext uri="{FF2B5EF4-FFF2-40B4-BE49-F238E27FC236}">
                <a16:creationId xmlns:a16="http://schemas.microsoft.com/office/drawing/2014/main" id="{99F7CFC4-38FF-3DD0-2062-2F41CA01F145}"/>
              </a:ext>
            </a:extLst>
          </p:cNvPr>
          <p:cNvSpPr>
            <a:spLocks/>
          </p:cNvSpPr>
          <p:nvPr/>
        </p:nvSpPr>
        <p:spPr bwMode="auto">
          <a:xfrm>
            <a:off x="3188809" y="-194437"/>
            <a:ext cx="6060959" cy="921505"/>
          </a:xfrm>
          <a:custGeom>
            <a:avLst/>
            <a:gdLst>
              <a:gd name="connsiteX0" fmla="*/ 883995 w 5227821"/>
              <a:gd name="connsiteY0" fmla="*/ 1158893 h 1257266"/>
              <a:gd name="connsiteX1" fmla="*/ 891058 w 5227821"/>
              <a:gd name="connsiteY1" fmla="*/ 1159121 h 1257266"/>
              <a:gd name="connsiteX2" fmla="*/ 883539 w 5227821"/>
              <a:gd name="connsiteY2" fmla="*/ 1159121 h 1257266"/>
              <a:gd name="connsiteX3" fmla="*/ 4615788 w 5227821"/>
              <a:gd name="connsiteY3" fmla="*/ 826594 h 1257266"/>
              <a:gd name="connsiteX4" fmla="*/ 4616959 w 5227821"/>
              <a:gd name="connsiteY4" fmla="*/ 827767 h 1257266"/>
              <a:gd name="connsiteX5" fmla="*/ 4617450 w 5227821"/>
              <a:gd name="connsiteY5" fmla="*/ 827029 h 1257266"/>
              <a:gd name="connsiteX6" fmla="*/ 4610559 w 5227821"/>
              <a:gd name="connsiteY6" fmla="*/ 825984 h 1257266"/>
              <a:gd name="connsiteX7" fmla="*/ 4591373 w 5227821"/>
              <a:gd name="connsiteY7" fmla="*/ 828386 h 1257266"/>
              <a:gd name="connsiteX8" fmla="*/ 4584680 w 5227821"/>
              <a:gd name="connsiteY8" fmla="*/ 830752 h 1257266"/>
              <a:gd name="connsiteX9" fmla="*/ 4583122 w 5227821"/>
              <a:gd name="connsiteY9" fmla="*/ 831532 h 1257266"/>
              <a:gd name="connsiteX10" fmla="*/ 4598161 w 5227821"/>
              <a:gd name="connsiteY10" fmla="*/ 835298 h 1257266"/>
              <a:gd name="connsiteX11" fmla="*/ 4600041 w 5227821"/>
              <a:gd name="connsiteY11" fmla="*/ 833886 h 1257266"/>
              <a:gd name="connsiteX12" fmla="*/ 4763331 w 5227821"/>
              <a:gd name="connsiteY12" fmla="*/ 809097 h 1257266"/>
              <a:gd name="connsiteX13" fmla="*/ 4764025 w 5227821"/>
              <a:gd name="connsiteY13" fmla="*/ 815097 h 1257266"/>
              <a:gd name="connsiteX14" fmla="*/ 4768080 w 5227821"/>
              <a:gd name="connsiteY14" fmla="*/ 809559 h 1257266"/>
              <a:gd name="connsiteX15" fmla="*/ 4653526 w 5227821"/>
              <a:gd name="connsiteY15" fmla="*/ 808089 h 1257266"/>
              <a:gd name="connsiteX16" fmla="*/ 4644009 w 5227821"/>
              <a:gd name="connsiteY16" fmla="*/ 820856 h 1257266"/>
              <a:gd name="connsiteX17" fmla="*/ 4659047 w 5227821"/>
              <a:gd name="connsiteY17" fmla="*/ 828386 h 1257266"/>
              <a:gd name="connsiteX18" fmla="*/ 4642634 w 5227821"/>
              <a:gd name="connsiteY18" fmla="*/ 833009 h 1257266"/>
              <a:gd name="connsiteX19" fmla="*/ 4658317 w 5227821"/>
              <a:gd name="connsiteY19" fmla="*/ 846594 h 1257266"/>
              <a:gd name="connsiteX20" fmla="*/ 4684635 w 5227821"/>
              <a:gd name="connsiteY20" fmla="*/ 816471 h 1257266"/>
              <a:gd name="connsiteX21" fmla="*/ 4683861 w 5227821"/>
              <a:gd name="connsiteY21" fmla="*/ 813370 h 1257266"/>
              <a:gd name="connsiteX22" fmla="*/ 4669387 w 5227821"/>
              <a:gd name="connsiteY22" fmla="*/ 809089 h 1257266"/>
              <a:gd name="connsiteX23" fmla="*/ 4653526 w 5227821"/>
              <a:gd name="connsiteY23" fmla="*/ 808089 h 1257266"/>
              <a:gd name="connsiteX24" fmla="*/ 4720496 w 5227821"/>
              <a:gd name="connsiteY24" fmla="*/ 800558 h 1257266"/>
              <a:gd name="connsiteX25" fmla="*/ 4704165 w 5227821"/>
              <a:gd name="connsiteY25" fmla="*/ 809559 h 1257266"/>
              <a:gd name="connsiteX26" fmla="*/ 4711684 w 5227821"/>
              <a:gd name="connsiteY26" fmla="*/ 817090 h 1257266"/>
              <a:gd name="connsiteX27" fmla="*/ 4703433 w 5227821"/>
              <a:gd name="connsiteY27" fmla="*/ 816325 h 1257266"/>
              <a:gd name="connsiteX28" fmla="*/ 4703433 w 5227821"/>
              <a:gd name="connsiteY28" fmla="*/ 824001 h 1257266"/>
              <a:gd name="connsiteX29" fmla="*/ 4718473 w 5227821"/>
              <a:gd name="connsiteY29" fmla="*/ 820236 h 1257266"/>
              <a:gd name="connsiteX30" fmla="*/ 4733511 w 5227821"/>
              <a:gd name="connsiteY30" fmla="*/ 846594 h 1257266"/>
              <a:gd name="connsiteX31" fmla="*/ 4710953 w 5227821"/>
              <a:gd name="connsiteY31" fmla="*/ 850359 h 1257266"/>
              <a:gd name="connsiteX32" fmla="*/ 4692155 w 5227821"/>
              <a:gd name="connsiteY32" fmla="*/ 842828 h 1257266"/>
              <a:gd name="connsiteX33" fmla="*/ 4658317 w 5227821"/>
              <a:gd name="connsiteY33" fmla="*/ 854125 h 1257266"/>
              <a:gd name="connsiteX34" fmla="*/ 4677115 w 5227821"/>
              <a:gd name="connsiteY34" fmla="*/ 854125 h 1257266"/>
              <a:gd name="connsiteX35" fmla="*/ 4673355 w 5227821"/>
              <a:gd name="connsiteY35" fmla="*/ 857890 h 1257266"/>
              <a:gd name="connsiteX36" fmla="*/ 4741031 w 5227821"/>
              <a:gd name="connsiteY36" fmla="*/ 857890 h 1257266"/>
              <a:gd name="connsiteX37" fmla="*/ 4748551 w 5227821"/>
              <a:gd name="connsiteY37" fmla="*/ 861655 h 1257266"/>
              <a:gd name="connsiteX38" fmla="*/ 4752310 w 5227821"/>
              <a:gd name="connsiteY38" fmla="*/ 857890 h 1257266"/>
              <a:gd name="connsiteX39" fmla="*/ 4763589 w 5227821"/>
              <a:gd name="connsiteY39" fmla="*/ 854125 h 1257266"/>
              <a:gd name="connsiteX40" fmla="*/ 4752310 w 5227821"/>
              <a:gd name="connsiteY40" fmla="*/ 854125 h 1257266"/>
              <a:gd name="connsiteX41" fmla="*/ 4756070 w 5227821"/>
              <a:gd name="connsiteY41" fmla="*/ 835298 h 1257266"/>
              <a:gd name="connsiteX42" fmla="*/ 4744321 w 5227821"/>
              <a:gd name="connsiteY42" fmla="*/ 817412 h 1257266"/>
              <a:gd name="connsiteX43" fmla="*/ 4747974 w 5227821"/>
              <a:gd name="connsiteY43" fmla="*/ 806649 h 1257266"/>
              <a:gd name="connsiteX44" fmla="*/ 4736122 w 5227821"/>
              <a:gd name="connsiteY44" fmla="*/ 802499 h 1257266"/>
              <a:gd name="connsiteX45" fmla="*/ 4720496 w 5227821"/>
              <a:gd name="connsiteY45" fmla="*/ 800558 h 1257266"/>
              <a:gd name="connsiteX46" fmla="*/ 1676438 w 5227821"/>
              <a:gd name="connsiteY46" fmla="*/ 90716 h 1257266"/>
              <a:gd name="connsiteX47" fmla="*/ 1850993 w 5227821"/>
              <a:gd name="connsiteY47" fmla="*/ 94135 h 1257266"/>
              <a:gd name="connsiteX48" fmla="*/ 2046029 w 5227821"/>
              <a:gd name="connsiteY48" fmla="*/ 97900 h 1257266"/>
              <a:gd name="connsiteX49" fmla="*/ 2057308 w 5227821"/>
              <a:gd name="connsiteY49" fmla="*/ 101666 h 1257266"/>
              <a:gd name="connsiteX50" fmla="*/ 1850523 w 5227821"/>
              <a:gd name="connsiteY50" fmla="*/ 97900 h 1257266"/>
              <a:gd name="connsiteX51" fmla="*/ 1692614 w 5227821"/>
              <a:gd name="connsiteY51" fmla="*/ 94135 h 1257266"/>
              <a:gd name="connsiteX52" fmla="*/ 1675636 w 5227821"/>
              <a:gd name="connsiteY52" fmla="*/ 90546 h 1257266"/>
              <a:gd name="connsiteX53" fmla="*/ 1676438 w 5227821"/>
              <a:gd name="connsiteY53" fmla="*/ 90716 h 1257266"/>
              <a:gd name="connsiteX54" fmla="*/ 1674865 w 5227821"/>
              <a:gd name="connsiteY54" fmla="*/ 90685 h 1257266"/>
              <a:gd name="connsiteX55" fmla="*/ 2005634 w 5227821"/>
              <a:gd name="connsiteY55" fmla="*/ 36919 h 1257266"/>
              <a:gd name="connsiteX56" fmla="*/ 2008432 w 5227821"/>
              <a:gd name="connsiteY56" fmla="*/ 37654 h 1257266"/>
              <a:gd name="connsiteX57" fmla="*/ 2000912 w 5227821"/>
              <a:gd name="connsiteY57" fmla="*/ 37654 h 1257266"/>
              <a:gd name="connsiteX58" fmla="*/ 1594861 w 5227821"/>
              <a:gd name="connsiteY58" fmla="*/ 0 h 1257266"/>
              <a:gd name="connsiteX59" fmla="*/ 1655016 w 5227821"/>
              <a:gd name="connsiteY59" fmla="*/ 11296 h 1257266"/>
              <a:gd name="connsiteX60" fmla="*/ 1651257 w 5227821"/>
              <a:gd name="connsiteY60" fmla="*/ 18827 h 1257266"/>
              <a:gd name="connsiteX61" fmla="*/ 1767809 w 5227821"/>
              <a:gd name="connsiteY61" fmla="*/ 22593 h 1257266"/>
              <a:gd name="connsiteX62" fmla="*/ 2230256 w 5227821"/>
              <a:gd name="connsiteY62" fmla="*/ 26358 h 1257266"/>
              <a:gd name="connsiteX63" fmla="*/ 2275373 w 5227821"/>
              <a:gd name="connsiteY63" fmla="*/ 30123 h 1257266"/>
              <a:gd name="connsiteX64" fmla="*/ 2046029 w 5227821"/>
              <a:gd name="connsiteY64" fmla="*/ 33889 h 1257266"/>
              <a:gd name="connsiteX65" fmla="*/ 2022061 w 5227821"/>
              <a:gd name="connsiteY65" fmla="*/ 34359 h 1257266"/>
              <a:gd name="connsiteX66" fmla="*/ 2005634 w 5227821"/>
              <a:gd name="connsiteY66" fmla="*/ 36919 h 1257266"/>
              <a:gd name="connsiteX67" fmla="*/ 1983817 w 5227821"/>
              <a:gd name="connsiteY67" fmla="*/ 31183 h 1257266"/>
              <a:gd name="connsiteX68" fmla="*/ 1888120 w 5227821"/>
              <a:gd name="connsiteY68" fmla="*/ 30123 h 1257266"/>
              <a:gd name="connsiteX69" fmla="*/ 1662536 w 5227821"/>
              <a:gd name="connsiteY69" fmla="*/ 26358 h 1257266"/>
              <a:gd name="connsiteX70" fmla="*/ 1655016 w 5227821"/>
              <a:gd name="connsiteY70" fmla="*/ 37654 h 1257266"/>
              <a:gd name="connsiteX71" fmla="*/ 1609900 w 5227821"/>
              <a:gd name="connsiteY71" fmla="*/ 30123 h 1257266"/>
              <a:gd name="connsiteX72" fmla="*/ 1553503 w 5227821"/>
              <a:gd name="connsiteY72" fmla="*/ 52716 h 1257266"/>
              <a:gd name="connsiteX73" fmla="*/ 1587341 w 5227821"/>
              <a:gd name="connsiteY73" fmla="*/ 56481 h 1257266"/>
              <a:gd name="connsiteX74" fmla="*/ 1542224 w 5227821"/>
              <a:gd name="connsiteY74" fmla="*/ 56481 h 1257266"/>
              <a:gd name="connsiteX75" fmla="*/ 1527185 w 5227821"/>
              <a:gd name="connsiteY75" fmla="*/ 71543 h 1257266"/>
              <a:gd name="connsiteX76" fmla="*/ 1478309 w 5227821"/>
              <a:gd name="connsiteY76" fmla="*/ 79073 h 1257266"/>
              <a:gd name="connsiteX77" fmla="*/ 1658776 w 5227821"/>
              <a:gd name="connsiteY77" fmla="*/ 90370 h 1257266"/>
              <a:gd name="connsiteX78" fmla="*/ 1674865 w 5227821"/>
              <a:gd name="connsiteY78" fmla="*/ 90685 h 1257266"/>
              <a:gd name="connsiteX79" fmla="*/ 1658306 w 5227821"/>
              <a:gd name="connsiteY79" fmla="*/ 93664 h 1257266"/>
              <a:gd name="connsiteX80" fmla="*/ 1621179 w 5227821"/>
              <a:gd name="connsiteY80" fmla="*/ 101666 h 1257266"/>
              <a:gd name="connsiteX81" fmla="*/ 1579822 w 5227821"/>
              <a:gd name="connsiteY81" fmla="*/ 128024 h 1257266"/>
              <a:gd name="connsiteX82" fmla="*/ 1576062 w 5227821"/>
              <a:gd name="connsiteY82" fmla="*/ 120493 h 1257266"/>
              <a:gd name="connsiteX83" fmla="*/ 1598620 w 5227821"/>
              <a:gd name="connsiteY83" fmla="*/ 112962 h 1257266"/>
              <a:gd name="connsiteX84" fmla="*/ 1587341 w 5227821"/>
              <a:gd name="connsiteY84" fmla="*/ 109197 h 1257266"/>
              <a:gd name="connsiteX85" fmla="*/ 1564783 w 5227821"/>
              <a:gd name="connsiteY85" fmla="*/ 109197 h 1257266"/>
              <a:gd name="connsiteX86" fmla="*/ 1553503 w 5227821"/>
              <a:gd name="connsiteY86" fmla="*/ 105431 h 1257266"/>
              <a:gd name="connsiteX87" fmla="*/ 1621179 w 5227821"/>
              <a:gd name="connsiteY87" fmla="*/ 94135 h 1257266"/>
              <a:gd name="connsiteX88" fmla="*/ 1448231 w 5227821"/>
              <a:gd name="connsiteY88" fmla="*/ 86604 h 1257266"/>
              <a:gd name="connsiteX89" fmla="*/ 1410633 w 5227821"/>
              <a:gd name="connsiteY89" fmla="*/ 97900 h 1257266"/>
              <a:gd name="connsiteX90" fmla="*/ 1444471 w 5227821"/>
              <a:gd name="connsiteY90" fmla="*/ 101666 h 1257266"/>
              <a:gd name="connsiteX91" fmla="*/ 1380555 w 5227821"/>
              <a:gd name="connsiteY91" fmla="*/ 131789 h 1257266"/>
              <a:gd name="connsiteX92" fmla="*/ 1380555 w 5227821"/>
              <a:gd name="connsiteY92" fmla="*/ 112962 h 1257266"/>
              <a:gd name="connsiteX93" fmla="*/ 1369276 w 5227821"/>
              <a:gd name="connsiteY93" fmla="*/ 131789 h 1257266"/>
              <a:gd name="connsiteX94" fmla="*/ 1357997 w 5227821"/>
              <a:gd name="connsiteY94" fmla="*/ 131789 h 1257266"/>
              <a:gd name="connsiteX95" fmla="*/ 1354237 w 5227821"/>
              <a:gd name="connsiteY95" fmla="*/ 146851 h 1257266"/>
              <a:gd name="connsiteX96" fmla="*/ 1350478 w 5227821"/>
              <a:gd name="connsiteY96" fmla="*/ 139320 h 1257266"/>
              <a:gd name="connsiteX97" fmla="*/ 1327919 w 5227821"/>
              <a:gd name="connsiteY97" fmla="*/ 161912 h 1257266"/>
              <a:gd name="connsiteX98" fmla="*/ 1436952 w 5227821"/>
              <a:gd name="connsiteY98" fmla="*/ 173208 h 1257266"/>
              <a:gd name="connsiteX99" fmla="*/ 1459510 w 5227821"/>
              <a:gd name="connsiteY99" fmla="*/ 192035 h 1257266"/>
              <a:gd name="connsiteX100" fmla="*/ 1421913 w 5227821"/>
              <a:gd name="connsiteY100" fmla="*/ 207097 h 1257266"/>
              <a:gd name="connsiteX101" fmla="*/ 1451990 w 5227821"/>
              <a:gd name="connsiteY101" fmla="*/ 207097 h 1257266"/>
              <a:gd name="connsiteX102" fmla="*/ 1451990 w 5227821"/>
              <a:gd name="connsiteY102" fmla="*/ 210862 h 1257266"/>
              <a:gd name="connsiteX103" fmla="*/ 1512146 w 5227821"/>
              <a:gd name="connsiteY103" fmla="*/ 210862 h 1257266"/>
              <a:gd name="connsiteX104" fmla="*/ 1512146 w 5227821"/>
              <a:gd name="connsiteY104" fmla="*/ 214628 h 1257266"/>
              <a:gd name="connsiteX105" fmla="*/ 1534705 w 5227821"/>
              <a:gd name="connsiteY105" fmla="*/ 214628 h 1257266"/>
              <a:gd name="connsiteX106" fmla="*/ 1538464 w 5227821"/>
              <a:gd name="connsiteY106" fmla="*/ 210862 h 1257266"/>
              <a:gd name="connsiteX107" fmla="*/ 1538464 w 5227821"/>
              <a:gd name="connsiteY107" fmla="*/ 218393 h 1257266"/>
              <a:gd name="connsiteX108" fmla="*/ 1515906 w 5227821"/>
              <a:gd name="connsiteY108" fmla="*/ 225924 h 1257266"/>
              <a:gd name="connsiteX109" fmla="*/ 1549744 w 5227821"/>
              <a:gd name="connsiteY109" fmla="*/ 229689 h 1257266"/>
              <a:gd name="connsiteX110" fmla="*/ 1542224 w 5227821"/>
              <a:gd name="connsiteY110" fmla="*/ 237220 h 1257266"/>
              <a:gd name="connsiteX111" fmla="*/ 1722692 w 5227821"/>
              <a:gd name="connsiteY111" fmla="*/ 225924 h 1257266"/>
              <a:gd name="connsiteX112" fmla="*/ 1764049 w 5227821"/>
              <a:gd name="connsiteY112" fmla="*/ 218393 h 1257266"/>
              <a:gd name="connsiteX113" fmla="*/ 1801646 w 5227821"/>
              <a:gd name="connsiteY113" fmla="*/ 218393 h 1257266"/>
              <a:gd name="connsiteX114" fmla="*/ 1809166 w 5227821"/>
              <a:gd name="connsiteY114" fmla="*/ 214628 h 1257266"/>
              <a:gd name="connsiteX115" fmla="*/ 1940757 w 5227821"/>
              <a:gd name="connsiteY115" fmla="*/ 214628 h 1257266"/>
              <a:gd name="connsiteX116" fmla="*/ 2083627 w 5227821"/>
              <a:gd name="connsiteY116" fmla="*/ 203331 h 1257266"/>
              <a:gd name="connsiteX117" fmla="*/ 2124984 w 5227821"/>
              <a:gd name="connsiteY117" fmla="*/ 203331 h 1257266"/>
              <a:gd name="connsiteX118" fmla="*/ 2128744 w 5227821"/>
              <a:gd name="connsiteY118" fmla="*/ 199566 h 1257266"/>
              <a:gd name="connsiteX119" fmla="*/ 2117464 w 5227821"/>
              <a:gd name="connsiteY119" fmla="*/ 195801 h 1257266"/>
              <a:gd name="connsiteX120" fmla="*/ 2128744 w 5227821"/>
              <a:gd name="connsiteY120" fmla="*/ 192035 h 1257266"/>
              <a:gd name="connsiteX121" fmla="*/ 2121224 w 5227821"/>
              <a:gd name="connsiteY121" fmla="*/ 188270 h 1257266"/>
              <a:gd name="connsiteX122" fmla="*/ 2192659 w 5227821"/>
              <a:gd name="connsiteY122" fmla="*/ 184504 h 1257266"/>
              <a:gd name="connsiteX123" fmla="*/ 2196419 w 5227821"/>
              <a:gd name="connsiteY123" fmla="*/ 199566 h 1257266"/>
              <a:gd name="connsiteX124" fmla="*/ 2215218 w 5227821"/>
              <a:gd name="connsiteY124" fmla="*/ 195801 h 1257266"/>
              <a:gd name="connsiteX125" fmla="*/ 2203938 w 5227821"/>
              <a:gd name="connsiteY125" fmla="*/ 188270 h 1257266"/>
              <a:gd name="connsiteX126" fmla="*/ 2271614 w 5227821"/>
              <a:gd name="connsiteY126" fmla="*/ 188270 h 1257266"/>
              <a:gd name="connsiteX127" fmla="*/ 2395685 w 5227821"/>
              <a:gd name="connsiteY127" fmla="*/ 184504 h 1257266"/>
              <a:gd name="connsiteX128" fmla="*/ 2422003 w 5227821"/>
              <a:gd name="connsiteY128" fmla="*/ 169443 h 1257266"/>
              <a:gd name="connsiteX129" fmla="*/ 2564873 w 5227821"/>
              <a:gd name="connsiteY129" fmla="*/ 180739 h 1257266"/>
              <a:gd name="connsiteX130" fmla="*/ 2737821 w 5227821"/>
              <a:gd name="connsiteY130" fmla="*/ 176974 h 1257266"/>
              <a:gd name="connsiteX131" fmla="*/ 2737821 w 5227821"/>
              <a:gd name="connsiteY131" fmla="*/ 169443 h 1257266"/>
              <a:gd name="connsiteX132" fmla="*/ 2794217 w 5227821"/>
              <a:gd name="connsiteY132" fmla="*/ 176974 h 1257266"/>
              <a:gd name="connsiteX133" fmla="*/ 2805496 w 5227821"/>
              <a:gd name="connsiteY133" fmla="*/ 169443 h 1257266"/>
              <a:gd name="connsiteX134" fmla="*/ 3568723 w 5227821"/>
              <a:gd name="connsiteY134" fmla="*/ 165678 h 1257266"/>
              <a:gd name="connsiteX135" fmla="*/ 3673996 w 5227821"/>
              <a:gd name="connsiteY135" fmla="*/ 158147 h 1257266"/>
              <a:gd name="connsiteX136" fmla="*/ 3719113 w 5227821"/>
              <a:gd name="connsiteY136" fmla="*/ 161912 h 1257266"/>
              <a:gd name="connsiteX137" fmla="*/ 3880782 w 5227821"/>
              <a:gd name="connsiteY137" fmla="*/ 150616 h 1257266"/>
              <a:gd name="connsiteX138" fmla="*/ 3869503 w 5227821"/>
              <a:gd name="connsiteY138" fmla="*/ 161912 h 1257266"/>
              <a:gd name="connsiteX139" fmla="*/ 3922139 w 5227821"/>
              <a:gd name="connsiteY139" fmla="*/ 169443 h 1257266"/>
              <a:gd name="connsiteX140" fmla="*/ 4046210 w 5227821"/>
              <a:gd name="connsiteY140" fmla="*/ 165678 h 1257266"/>
              <a:gd name="connsiteX141" fmla="*/ 4083807 w 5227821"/>
              <a:gd name="connsiteY141" fmla="*/ 165678 h 1257266"/>
              <a:gd name="connsiteX142" fmla="*/ 4083807 w 5227821"/>
              <a:gd name="connsiteY142" fmla="*/ 169443 h 1257266"/>
              <a:gd name="connsiteX143" fmla="*/ 4181561 w 5227821"/>
              <a:gd name="connsiteY143" fmla="*/ 173208 h 1257266"/>
              <a:gd name="connsiteX144" fmla="*/ 4264275 w 5227821"/>
              <a:gd name="connsiteY144" fmla="*/ 173208 h 1257266"/>
              <a:gd name="connsiteX145" fmla="*/ 4316911 w 5227821"/>
              <a:gd name="connsiteY145" fmla="*/ 184504 h 1257266"/>
              <a:gd name="connsiteX146" fmla="*/ 4440983 w 5227821"/>
              <a:gd name="connsiteY146" fmla="*/ 184504 h 1257266"/>
              <a:gd name="connsiteX147" fmla="*/ 4433463 w 5227821"/>
              <a:gd name="connsiteY147" fmla="*/ 192035 h 1257266"/>
              <a:gd name="connsiteX148" fmla="*/ 4512418 w 5227821"/>
              <a:gd name="connsiteY148" fmla="*/ 199566 h 1257266"/>
              <a:gd name="connsiteX149" fmla="*/ 4550015 w 5227821"/>
              <a:gd name="connsiteY149" fmla="*/ 203331 h 1257266"/>
              <a:gd name="connsiteX150" fmla="*/ 4557535 w 5227821"/>
              <a:gd name="connsiteY150" fmla="*/ 199566 h 1257266"/>
              <a:gd name="connsiteX151" fmla="*/ 4568814 w 5227821"/>
              <a:gd name="connsiteY151" fmla="*/ 207097 h 1257266"/>
              <a:gd name="connsiteX152" fmla="*/ 4644009 w 5227821"/>
              <a:gd name="connsiteY152" fmla="*/ 233455 h 1257266"/>
              <a:gd name="connsiteX153" fmla="*/ 4775599 w 5227821"/>
              <a:gd name="connsiteY153" fmla="*/ 237220 h 1257266"/>
              <a:gd name="connsiteX154" fmla="*/ 4828236 w 5227821"/>
              <a:gd name="connsiteY154" fmla="*/ 199566 h 1257266"/>
              <a:gd name="connsiteX155" fmla="*/ 4783119 w 5227821"/>
              <a:gd name="connsiteY155" fmla="*/ 188270 h 1257266"/>
              <a:gd name="connsiteX156" fmla="*/ 4828236 w 5227821"/>
              <a:gd name="connsiteY156" fmla="*/ 195801 h 1257266"/>
              <a:gd name="connsiteX157" fmla="*/ 4850795 w 5227821"/>
              <a:gd name="connsiteY157" fmla="*/ 180739 h 1257266"/>
              <a:gd name="connsiteX158" fmla="*/ 4794399 w 5227821"/>
              <a:gd name="connsiteY158" fmla="*/ 150616 h 1257266"/>
              <a:gd name="connsiteX159" fmla="*/ 4813197 w 5227821"/>
              <a:gd name="connsiteY159" fmla="*/ 143085 h 1257266"/>
              <a:gd name="connsiteX160" fmla="*/ 4738002 w 5227821"/>
              <a:gd name="connsiteY160" fmla="*/ 135554 h 1257266"/>
              <a:gd name="connsiteX161" fmla="*/ 4677847 w 5227821"/>
              <a:gd name="connsiteY161" fmla="*/ 139320 h 1257266"/>
              <a:gd name="connsiteX162" fmla="*/ 4644009 w 5227821"/>
              <a:gd name="connsiteY162" fmla="*/ 116727 h 1257266"/>
              <a:gd name="connsiteX163" fmla="*/ 4516177 w 5227821"/>
              <a:gd name="connsiteY163" fmla="*/ 109197 h 1257266"/>
              <a:gd name="connsiteX164" fmla="*/ 4444743 w 5227821"/>
              <a:gd name="connsiteY164" fmla="*/ 90370 h 1257266"/>
              <a:gd name="connsiteX165" fmla="*/ 4380827 w 5227821"/>
              <a:gd name="connsiteY165" fmla="*/ 82839 h 1257266"/>
              <a:gd name="connsiteX166" fmla="*/ 4365788 w 5227821"/>
              <a:gd name="connsiteY166" fmla="*/ 90370 h 1257266"/>
              <a:gd name="connsiteX167" fmla="*/ 4354509 w 5227821"/>
              <a:gd name="connsiteY167" fmla="*/ 86604 h 1257266"/>
              <a:gd name="connsiteX168" fmla="*/ 4331951 w 5227821"/>
              <a:gd name="connsiteY168" fmla="*/ 82839 h 1257266"/>
              <a:gd name="connsiteX169" fmla="*/ 4335710 w 5227821"/>
              <a:gd name="connsiteY169" fmla="*/ 67777 h 1257266"/>
              <a:gd name="connsiteX170" fmla="*/ 4474821 w 5227821"/>
              <a:gd name="connsiteY170" fmla="*/ 79073 h 1257266"/>
              <a:gd name="connsiteX171" fmla="*/ 4561295 w 5227821"/>
              <a:gd name="connsiteY171" fmla="*/ 90370 h 1257266"/>
              <a:gd name="connsiteX172" fmla="*/ 4681606 w 5227821"/>
              <a:gd name="connsiteY172" fmla="*/ 94135 h 1257266"/>
              <a:gd name="connsiteX173" fmla="*/ 4685366 w 5227821"/>
              <a:gd name="connsiteY173" fmla="*/ 97900 h 1257266"/>
              <a:gd name="connsiteX174" fmla="*/ 4801918 w 5227821"/>
              <a:gd name="connsiteY174" fmla="*/ 109197 h 1257266"/>
              <a:gd name="connsiteX175" fmla="*/ 4809437 w 5227821"/>
              <a:gd name="connsiteY175" fmla="*/ 112962 h 1257266"/>
              <a:gd name="connsiteX176" fmla="*/ 4824476 w 5227821"/>
              <a:gd name="connsiteY176" fmla="*/ 105431 h 1257266"/>
              <a:gd name="connsiteX177" fmla="*/ 4828236 w 5227821"/>
              <a:gd name="connsiteY177" fmla="*/ 109197 h 1257266"/>
              <a:gd name="connsiteX178" fmla="*/ 4805677 w 5227821"/>
              <a:gd name="connsiteY178" fmla="*/ 124258 h 1257266"/>
              <a:gd name="connsiteX179" fmla="*/ 4903431 w 5227821"/>
              <a:gd name="connsiteY179" fmla="*/ 124258 h 1257266"/>
              <a:gd name="connsiteX180" fmla="*/ 4925989 w 5227821"/>
              <a:gd name="connsiteY180" fmla="*/ 143085 h 1257266"/>
              <a:gd name="connsiteX181" fmla="*/ 4941028 w 5227821"/>
              <a:gd name="connsiteY181" fmla="*/ 143085 h 1257266"/>
              <a:gd name="connsiteX182" fmla="*/ 4922229 w 5227821"/>
              <a:gd name="connsiteY182" fmla="*/ 109197 h 1257266"/>
              <a:gd name="connsiteX183" fmla="*/ 4956067 w 5227821"/>
              <a:gd name="connsiteY183" fmla="*/ 97900 h 1257266"/>
              <a:gd name="connsiteX184" fmla="*/ 4959827 w 5227821"/>
              <a:gd name="connsiteY184" fmla="*/ 94135 h 1257266"/>
              <a:gd name="connsiteX185" fmla="*/ 4922229 w 5227821"/>
              <a:gd name="connsiteY185" fmla="*/ 97900 h 1257266"/>
              <a:gd name="connsiteX186" fmla="*/ 4903431 w 5227821"/>
              <a:gd name="connsiteY186" fmla="*/ 86604 h 1257266"/>
              <a:gd name="connsiteX187" fmla="*/ 4933509 w 5227821"/>
              <a:gd name="connsiteY187" fmla="*/ 75308 h 1257266"/>
              <a:gd name="connsiteX188" fmla="*/ 4929749 w 5227821"/>
              <a:gd name="connsiteY188" fmla="*/ 71543 h 1257266"/>
              <a:gd name="connsiteX189" fmla="*/ 5068859 w 5227821"/>
              <a:gd name="connsiteY189" fmla="*/ 79073 h 1257266"/>
              <a:gd name="connsiteX190" fmla="*/ 5061339 w 5227821"/>
              <a:gd name="connsiteY190" fmla="*/ 75308 h 1257266"/>
              <a:gd name="connsiteX191" fmla="*/ 5132775 w 5227821"/>
              <a:gd name="connsiteY191" fmla="*/ 75308 h 1257266"/>
              <a:gd name="connsiteX192" fmla="*/ 5136535 w 5227821"/>
              <a:gd name="connsiteY192" fmla="*/ 71543 h 1257266"/>
              <a:gd name="connsiteX193" fmla="*/ 5087658 w 5227821"/>
              <a:gd name="connsiteY193" fmla="*/ 71543 h 1257266"/>
              <a:gd name="connsiteX194" fmla="*/ 5189171 w 5227821"/>
              <a:gd name="connsiteY194" fmla="*/ 52716 h 1257266"/>
              <a:gd name="connsiteX195" fmla="*/ 5095177 w 5227821"/>
              <a:gd name="connsiteY195" fmla="*/ 101666 h 1257266"/>
              <a:gd name="connsiteX196" fmla="*/ 5065099 w 5227821"/>
              <a:gd name="connsiteY196" fmla="*/ 131789 h 1257266"/>
              <a:gd name="connsiteX197" fmla="*/ 4971106 w 5227821"/>
              <a:gd name="connsiteY197" fmla="*/ 161912 h 1257266"/>
              <a:gd name="connsiteX198" fmla="*/ 5035021 w 5227821"/>
              <a:gd name="connsiteY198" fmla="*/ 165678 h 1257266"/>
              <a:gd name="connsiteX199" fmla="*/ 5023743 w 5227821"/>
              <a:gd name="connsiteY199" fmla="*/ 184504 h 1257266"/>
              <a:gd name="connsiteX200" fmla="*/ 4869593 w 5227821"/>
              <a:gd name="connsiteY200" fmla="*/ 263578 h 1257266"/>
              <a:gd name="connsiteX201" fmla="*/ 4884632 w 5227821"/>
              <a:gd name="connsiteY201" fmla="*/ 267343 h 1257266"/>
              <a:gd name="connsiteX202" fmla="*/ 4798158 w 5227821"/>
              <a:gd name="connsiteY202" fmla="*/ 312528 h 1257266"/>
              <a:gd name="connsiteX203" fmla="*/ 4809437 w 5227821"/>
              <a:gd name="connsiteY203" fmla="*/ 316293 h 1257266"/>
              <a:gd name="connsiteX204" fmla="*/ 4783119 w 5227821"/>
              <a:gd name="connsiteY204" fmla="*/ 327589 h 1257266"/>
              <a:gd name="connsiteX205" fmla="*/ 4783119 w 5227821"/>
              <a:gd name="connsiteY205" fmla="*/ 304997 h 1257266"/>
              <a:gd name="connsiteX206" fmla="*/ 4760561 w 5227821"/>
              <a:gd name="connsiteY206" fmla="*/ 335120 h 1257266"/>
              <a:gd name="connsiteX207" fmla="*/ 4801918 w 5227821"/>
              <a:gd name="connsiteY207" fmla="*/ 342651 h 1257266"/>
              <a:gd name="connsiteX208" fmla="*/ 4801918 w 5227821"/>
              <a:gd name="connsiteY208" fmla="*/ 350182 h 1257266"/>
              <a:gd name="connsiteX209" fmla="*/ 4820717 w 5227821"/>
              <a:gd name="connsiteY209" fmla="*/ 346416 h 1257266"/>
              <a:gd name="connsiteX210" fmla="*/ 4816957 w 5227821"/>
              <a:gd name="connsiteY210" fmla="*/ 342651 h 1257266"/>
              <a:gd name="connsiteX211" fmla="*/ 4850795 w 5227821"/>
              <a:gd name="connsiteY211" fmla="*/ 342651 h 1257266"/>
              <a:gd name="connsiteX212" fmla="*/ 4850795 w 5227821"/>
              <a:gd name="connsiteY212" fmla="*/ 331355 h 1257266"/>
              <a:gd name="connsiteX213" fmla="*/ 4910950 w 5227821"/>
              <a:gd name="connsiteY213" fmla="*/ 323824 h 1257266"/>
              <a:gd name="connsiteX214" fmla="*/ 4918469 w 5227821"/>
              <a:gd name="connsiteY214" fmla="*/ 293701 h 1257266"/>
              <a:gd name="connsiteX215" fmla="*/ 4937269 w 5227821"/>
              <a:gd name="connsiteY215" fmla="*/ 278639 h 1257266"/>
              <a:gd name="connsiteX216" fmla="*/ 4941028 w 5227821"/>
              <a:gd name="connsiteY216" fmla="*/ 278639 h 1257266"/>
              <a:gd name="connsiteX217" fmla="*/ 4997424 w 5227821"/>
              <a:gd name="connsiteY217" fmla="*/ 256047 h 1257266"/>
              <a:gd name="connsiteX218" fmla="*/ 5042541 w 5227821"/>
              <a:gd name="connsiteY218" fmla="*/ 263578 h 1257266"/>
              <a:gd name="connsiteX219" fmla="*/ 5027502 w 5227821"/>
              <a:gd name="connsiteY219" fmla="*/ 278639 h 1257266"/>
              <a:gd name="connsiteX220" fmla="*/ 5061339 w 5227821"/>
              <a:gd name="connsiteY220" fmla="*/ 278639 h 1257266"/>
              <a:gd name="connsiteX221" fmla="*/ 5019983 w 5227821"/>
              <a:gd name="connsiteY221" fmla="*/ 323824 h 1257266"/>
              <a:gd name="connsiteX222" fmla="*/ 5012463 w 5227821"/>
              <a:gd name="connsiteY222" fmla="*/ 342651 h 1257266"/>
              <a:gd name="connsiteX223" fmla="*/ 5001184 w 5227821"/>
              <a:gd name="connsiteY223" fmla="*/ 335120 h 1257266"/>
              <a:gd name="connsiteX224" fmla="*/ 5001184 w 5227821"/>
              <a:gd name="connsiteY224" fmla="*/ 327589 h 1257266"/>
              <a:gd name="connsiteX225" fmla="*/ 4986145 w 5227821"/>
              <a:gd name="connsiteY225" fmla="*/ 335120 h 1257266"/>
              <a:gd name="connsiteX226" fmla="*/ 4978625 w 5227821"/>
              <a:gd name="connsiteY226" fmla="*/ 335120 h 1257266"/>
              <a:gd name="connsiteX227" fmla="*/ 4993665 w 5227821"/>
              <a:gd name="connsiteY227" fmla="*/ 301232 h 1257266"/>
              <a:gd name="connsiteX228" fmla="*/ 5008703 w 5227821"/>
              <a:gd name="connsiteY228" fmla="*/ 297466 h 1257266"/>
              <a:gd name="connsiteX229" fmla="*/ 5012463 w 5227821"/>
              <a:gd name="connsiteY229" fmla="*/ 286170 h 1257266"/>
              <a:gd name="connsiteX230" fmla="*/ 5027502 w 5227821"/>
              <a:gd name="connsiteY230" fmla="*/ 282405 h 1257266"/>
              <a:gd name="connsiteX231" fmla="*/ 4982385 w 5227821"/>
              <a:gd name="connsiteY231" fmla="*/ 286170 h 1257266"/>
              <a:gd name="connsiteX232" fmla="*/ 4888392 w 5227821"/>
              <a:gd name="connsiteY232" fmla="*/ 353947 h 1257266"/>
              <a:gd name="connsiteX233" fmla="*/ 4884632 w 5227821"/>
              <a:gd name="connsiteY233" fmla="*/ 365243 h 1257266"/>
              <a:gd name="connsiteX234" fmla="*/ 4869593 w 5227821"/>
              <a:gd name="connsiteY234" fmla="*/ 369009 h 1257266"/>
              <a:gd name="connsiteX235" fmla="*/ 4880873 w 5227821"/>
              <a:gd name="connsiteY235" fmla="*/ 380305 h 1257266"/>
              <a:gd name="connsiteX236" fmla="*/ 4865833 w 5227821"/>
              <a:gd name="connsiteY236" fmla="*/ 387836 h 1257266"/>
              <a:gd name="connsiteX237" fmla="*/ 4903431 w 5227821"/>
              <a:gd name="connsiteY237" fmla="*/ 391601 h 1257266"/>
              <a:gd name="connsiteX238" fmla="*/ 4929749 w 5227821"/>
              <a:gd name="connsiteY238" fmla="*/ 384070 h 1257266"/>
              <a:gd name="connsiteX239" fmla="*/ 4918469 w 5227821"/>
              <a:gd name="connsiteY239" fmla="*/ 395366 h 1257266"/>
              <a:gd name="connsiteX240" fmla="*/ 4925989 w 5227821"/>
              <a:gd name="connsiteY240" fmla="*/ 399132 h 1257266"/>
              <a:gd name="connsiteX241" fmla="*/ 4971106 w 5227821"/>
              <a:gd name="connsiteY241" fmla="*/ 380305 h 1257266"/>
              <a:gd name="connsiteX242" fmla="*/ 4967347 w 5227821"/>
              <a:gd name="connsiteY242" fmla="*/ 429255 h 1257266"/>
              <a:gd name="connsiteX243" fmla="*/ 5001184 w 5227821"/>
              <a:gd name="connsiteY243" fmla="*/ 391601 h 1257266"/>
              <a:gd name="connsiteX244" fmla="*/ 5012463 w 5227821"/>
              <a:gd name="connsiteY244" fmla="*/ 391601 h 1257266"/>
              <a:gd name="connsiteX245" fmla="*/ 4974865 w 5227821"/>
              <a:gd name="connsiteY245" fmla="*/ 466909 h 1257266"/>
              <a:gd name="connsiteX246" fmla="*/ 4971106 w 5227821"/>
              <a:gd name="connsiteY246" fmla="*/ 466909 h 1257266"/>
              <a:gd name="connsiteX247" fmla="*/ 4963587 w 5227821"/>
              <a:gd name="connsiteY247" fmla="*/ 470674 h 1257266"/>
              <a:gd name="connsiteX248" fmla="*/ 4952307 w 5227821"/>
              <a:gd name="connsiteY248" fmla="*/ 470674 h 1257266"/>
              <a:gd name="connsiteX249" fmla="*/ 4929749 w 5227821"/>
              <a:gd name="connsiteY249" fmla="*/ 474440 h 1257266"/>
              <a:gd name="connsiteX250" fmla="*/ 4952307 w 5227821"/>
              <a:gd name="connsiteY250" fmla="*/ 470674 h 1257266"/>
              <a:gd name="connsiteX251" fmla="*/ 4963587 w 5227821"/>
              <a:gd name="connsiteY251" fmla="*/ 470674 h 1257266"/>
              <a:gd name="connsiteX252" fmla="*/ 4967347 w 5227821"/>
              <a:gd name="connsiteY252" fmla="*/ 470674 h 1257266"/>
              <a:gd name="connsiteX253" fmla="*/ 4944788 w 5227821"/>
              <a:gd name="connsiteY253" fmla="*/ 481970 h 1257266"/>
              <a:gd name="connsiteX254" fmla="*/ 4959827 w 5227821"/>
              <a:gd name="connsiteY254" fmla="*/ 485736 h 1257266"/>
              <a:gd name="connsiteX255" fmla="*/ 4974865 w 5227821"/>
              <a:gd name="connsiteY255" fmla="*/ 474440 h 1257266"/>
              <a:gd name="connsiteX256" fmla="*/ 4978625 w 5227821"/>
              <a:gd name="connsiteY256" fmla="*/ 478205 h 1257266"/>
              <a:gd name="connsiteX257" fmla="*/ 4993665 w 5227821"/>
              <a:gd name="connsiteY257" fmla="*/ 455613 h 1257266"/>
              <a:gd name="connsiteX258" fmla="*/ 5004943 w 5227821"/>
              <a:gd name="connsiteY258" fmla="*/ 455613 h 1257266"/>
              <a:gd name="connsiteX259" fmla="*/ 5019983 w 5227821"/>
              <a:gd name="connsiteY259" fmla="*/ 497032 h 1257266"/>
              <a:gd name="connsiteX260" fmla="*/ 5046301 w 5227821"/>
              <a:gd name="connsiteY260" fmla="*/ 466909 h 1257266"/>
              <a:gd name="connsiteX261" fmla="*/ 5042541 w 5227821"/>
              <a:gd name="connsiteY261" fmla="*/ 451847 h 1257266"/>
              <a:gd name="connsiteX262" fmla="*/ 5065099 w 5227821"/>
              <a:gd name="connsiteY262" fmla="*/ 448082 h 1257266"/>
              <a:gd name="connsiteX263" fmla="*/ 5065099 w 5227821"/>
              <a:gd name="connsiteY263" fmla="*/ 474440 h 1257266"/>
              <a:gd name="connsiteX264" fmla="*/ 5080139 w 5227821"/>
              <a:gd name="connsiteY264" fmla="*/ 470674 h 1257266"/>
              <a:gd name="connsiteX265" fmla="*/ 5095177 w 5227821"/>
              <a:gd name="connsiteY265" fmla="*/ 497032 h 1257266"/>
              <a:gd name="connsiteX266" fmla="*/ 5072619 w 5227821"/>
              <a:gd name="connsiteY266" fmla="*/ 500797 h 1257266"/>
              <a:gd name="connsiteX267" fmla="*/ 5053821 w 5227821"/>
              <a:gd name="connsiteY267" fmla="*/ 493267 h 1257266"/>
              <a:gd name="connsiteX268" fmla="*/ 5019983 w 5227821"/>
              <a:gd name="connsiteY268" fmla="*/ 504563 h 1257266"/>
              <a:gd name="connsiteX269" fmla="*/ 5038781 w 5227821"/>
              <a:gd name="connsiteY269" fmla="*/ 504563 h 1257266"/>
              <a:gd name="connsiteX270" fmla="*/ 5035021 w 5227821"/>
              <a:gd name="connsiteY270" fmla="*/ 508328 h 1257266"/>
              <a:gd name="connsiteX271" fmla="*/ 5102697 w 5227821"/>
              <a:gd name="connsiteY271" fmla="*/ 508328 h 1257266"/>
              <a:gd name="connsiteX272" fmla="*/ 5110217 w 5227821"/>
              <a:gd name="connsiteY272" fmla="*/ 512094 h 1257266"/>
              <a:gd name="connsiteX273" fmla="*/ 5113976 w 5227821"/>
              <a:gd name="connsiteY273" fmla="*/ 508328 h 1257266"/>
              <a:gd name="connsiteX274" fmla="*/ 5125255 w 5227821"/>
              <a:gd name="connsiteY274" fmla="*/ 504563 h 1257266"/>
              <a:gd name="connsiteX275" fmla="*/ 5113976 w 5227821"/>
              <a:gd name="connsiteY275" fmla="*/ 504563 h 1257266"/>
              <a:gd name="connsiteX276" fmla="*/ 5117736 w 5227821"/>
              <a:gd name="connsiteY276" fmla="*/ 485736 h 1257266"/>
              <a:gd name="connsiteX277" fmla="*/ 5113976 w 5227821"/>
              <a:gd name="connsiteY277" fmla="*/ 444317 h 1257266"/>
              <a:gd name="connsiteX278" fmla="*/ 5159093 w 5227821"/>
              <a:gd name="connsiteY278" fmla="*/ 489501 h 1257266"/>
              <a:gd name="connsiteX279" fmla="*/ 5162853 w 5227821"/>
              <a:gd name="connsiteY279" fmla="*/ 485736 h 1257266"/>
              <a:gd name="connsiteX280" fmla="*/ 5170372 w 5227821"/>
              <a:gd name="connsiteY280" fmla="*/ 489501 h 1257266"/>
              <a:gd name="connsiteX281" fmla="*/ 5170372 w 5227821"/>
              <a:gd name="connsiteY281" fmla="*/ 519624 h 1257266"/>
              <a:gd name="connsiteX282" fmla="*/ 5162853 w 5227821"/>
              <a:gd name="connsiteY282" fmla="*/ 508328 h 1257266"/>
              <a:gd name="connsiteX283" fmla="*/ 5144054 w 5227821"/>
              <a:gd name="connsiteY283" fmla="*/ 549748 h 1257266"/>
              <a:gd name="connsiteX284" fmla="*/ 5110217 w 5227821"/>
              <a:gd name="connsiteY284" fmla="*/ 564809 h 1257266"/>
              <a:gd name="connsiteX285" fmla="*/ 5129015 w 5227821"/>
              <a:gd name="connsiteY285" fmla="*/ 606228 h 1257266"/>
              <a:gd name="connsiteX286" fmla="*/ 5159093 w 5227821"/>
              <a:gd name="connsiteY286" fmla="*/ 591167 h 1257266"/>
              <a:gd name="connsiteX287" fmla="*/ 5129015 w 5227821"/>
              <a:gd name="connsiteY287" fmla="*/ 617524 h 1257266"/>
              <a:gd name="connsiteX288" fmla="*/ 5136535 w 5227821"/>
              <a:gd name="connsiteY288" fmla="*/ 681536 h 1257266"/>
              <a:gd name="connsiteX289" fmla="*/ 5159093 w 5227821"/>
              <a:gd name="connsiteY289" fmla="*/ 692832 h 1257266"/>
              <a:gd name="connsiteX290" fmla="*/ 5207969 w 5227821"/>
              <a:gd name="connsiteY290" fmla="*/ 670240 h 1257266"/>
              <a:gd name="connsiteX291" fmla="*/ 5215489 w 5227821"/>
              <a:gd name="connsiteY291" fmla="*/ 674005 h 1257266"/>
              <a:gd name="connsiteX292" fmla="*/ 5223009 w 5227821"/>
              <a:gd name="connsiteY292" fmla="*/ 670240 h 1257266"/>
              <a:gd name="connsiteX293" fmla="*/ 5226769 w 5227821"/>
              <a:gd name="connsiteY293" fmla="*/ 704128 h 1257266"/>
              <a:gd name="connsiteX294" fmla="*/ 5129015 w 5227821"/>
              <a:gd name="connsiteY294" fmla="*/ 745548 h 1257266"/>
              <a:gd name="connsiteX295" fmla="*/ 5113976 w 5227821"/>
              <a:gd name="connsiteY295" fmla="*/ 745548 h 1257266"/>
              <a:gd name="connsiteX296" fmla="*/ 5117736 w 5227821"/>
              <a:gd name="connsiteY296" fmla="*/ 741782 h 1257266"/>
              <a:gd name="connsiteX297" fmla="*/ 5095177 w 5227821"/>
              <a:gd name="connsiteY297" fmla="*/ 741782 h 1257266"/>
              <a:gd name="connsiteX298" fmla="*/ 5038781 w 5227821"/>
              <a:gd name="connsiteY298" fmla="*/ 749313 h 1257266"/>
              <a:gd name="connsiteX299" fmla="*/ 5117736 w 5227821"/>
              <a:gd name="connsiteY299" fmla="*/ 756844 h 1257266"/>
              <a:gd name="connsiteX300" fmla="*/ 5016223 w 5227821"/>
              <a:gd name="connsiteY300" fmla="*/ 775671 h 1257266"/>
              <a:gd name="connsiteX301" fmla="*/ 4933509 w 5227821"/>
              <a:gd name="connsiteY301" fmla="*/ 768140 h 1257266"/>
              <a:gd name="connsiteX302" fmla="*/ 4892151 w 5227821"/>
              <a:gd name="connsiteY302" fmla="*/ 790732 h 1257266"/>
              <a:gd name="connsiteX303" fmla="*/ 4888392 w 5227821"/>
              <a:gd name="connsiteY303" fmla="*/ 786967 h 1257266"/>
              <a:gd name="connsiteX304" fmla="*/ 4869593 w 5227821"/>
              <a:gd name="connsiteY304" fmla="*/ 809559 h 1257266"/>
              <a:gd name="connsiteX305" fmla="*/ 4873353 w 5227821"/>
              <a:gd name="connsiteY305" fmla="*/ 813325 h 1257266"/>
              <a:gd name="connsiteX306" fmla="*/ 4831995 w 5227821"/>
              <a:gd name="connsiteY306" fmla="*/ 805794 h 1257266"/>
              <a:gd name="connsiteX307" fmla="*/ 4771840 w 5227821"/>
              <a:gd name="connsiteY307" fmla="*/ 820856 h 1257266"/>
              <a:gd name="connsiteX308" fmla="*/ 4764275 w 5227821"/>
              <a:gd name="connsiteY308" fmla="*/ 817267 h 1257266"/>
              <a:gd name="connsiteX309" fmla="*/ 4765000 w 5227821"/>
              <a:gd name="connsiteY309" fmla="*/ 823531 h 1257266"/>
              <a:gd name="connsiteX310" fmla="*/ 4797427 w 5227821"/>
              <a:gd name="connsiteY310" fmla="*/ 839063 h 1257266"/>
              <a:gd name="connsiteX311" fmla="*/ 4801187 w 5227821"/>
              <a:gd name="connsiteY311" fmla="*/ 835298 h 1257266"/>
              <a:gd name="connsiteX312" fmla="*/ 4808706 w 5227821"/>
              <a:gd name="connsiteY312" fmla="*/ 839063 h 1257266"/>
              <a:gd name="connsiteX313" fmla="*/ 4808706 w 5227821"/>
              <a:gd name="connsiteY313" fmla="*/ 869186 h 1257266"/>
              <a:gd name="connsiteX314" fmla="*/ 4801187 w 5227821"/>
              <a:gd name="connsiteY314" fmla="*/ 857890 h 1257266"/>
              <a:gd name="connsiteX315" fmla="*/ 4782388 w 5227821"/>
              <a:gd name="connsiteY315" fmla="*/ 899309 h 1257266"/>
              <a:gd name="connsiteX316" fmla="*/ 4748551 w 5227821"/>
              <a:gd name="connsiteY316" fmla="*/ 914371 h 1257266"/>
              <a:gd name="connsiteX317" fmla="*/ 4767349 w 5227821"/>
              <a:gd name="connsiteY317" fmla="*/ 955790 h 1257266"/>
              <a:gd name="connsiteX318" fmla="*/ 4797427 w 5227821"/>
              <a:gd name="connsiteY318" fmla="*/ 940729 h 1257266"/>
              <a:gd name="connsiteX319" fmla="*/ 4767349 w 5227821"/>
              <a:gd name="connsiteY319" fmla="*/ 967086 h 1257266"/>
              <a:gd name="connsiteX320" fmla="*/ 4774869 w 5227821"/>
              <a:gd name="connsiteY320" fmla="*/ 1031098 h 1257266"/>
              <a:gd name="connsiteX321" fmla="*/ 4797427 w 5227821"/>
              <a:gd name="connsiteY321" fmla="*/ 1042394 h 1257266"/>
              <a:gd name="connsiteX322" fmla="*/ 4846303 w 5227821"/>
              <a:gd name="connsiteY322" fmla="*/ 1019802 h 1257266"/>
              <a:gd name="connsiteX323" fmla="*/ 4853823 w 5227821"/>
              <a:gd name="connsiteY323" fmla="*/ 1023567 h 1257266"/>
              <a:gd name="connsiteX324" fmla="*/ 4861343 w 5227821"/>
              <a:gd name="connsiteY324" fmla="*/ 1019802 h 1257266"/>
              <a:gd name="connsiteX325" fmla="*/ 4865103 w 5227821"/>
              <a:gd name="connsiteY325" fmla="*/ 1053690 h 1257266"/>
              <a:gd name="connsiteX326" fmla="*/ 4767349 w 5227821"/>
              <a:gd name="connsiteY326" fmla="*/ 1095110 h 1257266"/>
              <a:gd name="connsiteX327" fmla="*/ 4752310 w 5227821"/>
              <a:gd name="connsiteY327" fmla="*/ 1095110 h 1257266"/>
              <a:gd name="connsiteX328" fmla="*/ 4756070 w 5227821"/>
              <a:gd name="connsiteY328" fmla="*/ 1091344 h 1257266"/>
              <a:gd name="connsiteX329" fmla="*/ 4733511 w 5227821"/>
              <a:gd name="connsiteY329" fmla="*/ 1091344 h 1257266"/>
              <a:gd name="connsiteX330" fmla="*/ 4677115 w 5227821"/>
              <a:gd name="connsiteY330" fmla="*/ 1098875 h 1257266"/>
              <a:gd name="connsiteX331" fmla="*/ 4756070 w 5227821"/>
              <a:gd name="connsiteY331" fmla="*/ 1106406 h 1257266"/>
              <a:gd name="connsiteX332" fmla="*/ 4654557 w 5227821"/>
              <a:gd name="connsiteY332" fmla="*/ 1125233 h 1257266"/>
              <a:gd name="connsiteX333" fmla="*/ 4571843 w 5227821"/>
              <a:gd name="connsiteY333" fmla="*/ 1117702 h 1257266"/>
              <a:gd name="connsiteX334" fmla="*/ 4530485 w 5227821"/>
              <a:gd name="connsiteY334" fmla="*/ 1140294 h 1257266"/>
              <a:gd name="connsiteX335" fmla="*/ 4526726 w 5227821"/>
              <a:gd name="connsiteY335" fmla="*/ 1136529 h 1257266"/>
              <a:gd name="connsiteX336" fmla="*/ 4507927 w 5227821"/>
              <a:gd name="connsiteY336" fmla="*/ 1159121 h 1257266"/>
              <a:gd name="connsiteX337" fmla="*/ 4511687 w 5227821"/>
              <a:gd name="connsiteY337" fmla="*/ 1162887 h 1257266"/>
              <a:gd name="connsiteX338" fmla="*/ 4470329 w 5227821"/>
              <a:gd name="connsiteY338" fmla="*/ 1155356 h 1257266"/>
              <a:gd name="connsiteX339" fmla="*/ 4410174 w 5227821"/>
              <a:gd name="connsiteY339" fmla="*/ 1170418 h 1257266"/>
              <a:gd name="connsiteX340" fmla="*/ 4406414 w 5227821"/>
              <a:gd name="connsiteY340" fmla="*/ 1159121 h 1257266"/>
              <a:gd name="connsiteX341" fmla="*/ 4342499 w 5227821"/>
              <a:gd name="connsiteY341" fmla="*/ 1159121 h 1257266"/>
              <a:gd name="connsiteX342" fmla="*/ 4350018 w 5227821"/>
              <a:gd name="connsiteY342" fmla="*/ 1166652 h 1257266"/>
              <a:gd name="connsiteX343" fmla="*/ 4282343 w 5227821"/>
              <a:gd name="connsiteY343" fmla="*/ 1170418 h 1257266"/>
              <a:gd name="connsiteX344" fmla="*/ 4297381 w 5227821"/>
              <a:gd name="connsiteY344" fmla="*/ 1177948 h 1257266"/>
              <a:gd name="connsiteX345" fmla="*/ 4229707 w 5227821"/>
              <a:gd name="connsiteY345" fmla="*/ 1177948 h 1257266"/>
              <a:gd name="connsiteX346" fmla="*/ 4146992 w 5227821"/>
              <a:gd name="connsiteY346" fmla="*/ 1200541 h 1257266"/>
              <a:gd name="connsiteX347" fmla="*/ 4041719 w 5227821"/>
              <a:gd name="connsiteY347" fmla="*/ 1215602 h 1257266"/>
              <a:gd name="connsiteX348" fmla="*/ 3665745 w 5227821"/>
              <a:gd name="connsiteY348" fmla="*/ 1249491 h 1257266"/>
              <a:gd name="connsiteX349" fmla="*/ 3673265 w 5227821"/>
              <a:gd name="connsiteY349" fmla="*/ 1245725 h 1257266"/>
              <a:gd name="connsiteX350" fmla="*/ 3349927 w 5227821"/>
              <a:gd name="connsiteY350" fmla="*/ 1257022 h 1257266"/>
              <a:gd name="connsiteX351" fmla="*/ 3500317 w 5227821"/>
              <a:gd name="connsiteY351" fmla="*/ 1234429 h 1257266"/>
              <a:gd name="connsiteX352" fmla="*/ 3244655 w 5227821"/>
              <a:gd name="connsiteY352" fmla="*/ 1241960 h 1257266"/>
              <a:gd name="connsiteX353" fmla="*/ 3316090 w 5227821"/>
              <a:gd name="connsiteY353" fmla="*/ 1226898 h 1257266"/>
              <a:gd name="connsiteX354" fmla="*/ 3327369 w 5227821"/>
              <a:gd name="connsiteY354" fmla="*/ 1234429 h 1257266"/>
              <a:gd name="connsiteX355" fmla="*/ 3410083 w 5227821"/>
              <a:gd name="connsiteY355" fmla="*/ 1215602 h 1257266"/>
              <a:gd name="connsiteX356" fmla="*/ 3410083 w 5227821"/>
              <a:gd name="connsiteY356" fmla="*/ 1208071 h 1257266"/>
              <a:gd name="connsiteX357" fmla="*/ 3996603 w 5227821"/>
              <a:gd name="connsiteY357" fmla="*/ 1147825 h 1257266"/>
              <a:gd name="connsiteX358" fmla="*/ 4056759 w 5227821"/>
              <a:gd name="connsiteY358" fmla="*/ 1136529 h 1257266"/>
              <a:gd name="connsiteX359" fmla="*/ 4037960 w 5227821"/>
              <a:gd name="connsiteY359" fmla="*/ 1132764 h 1257266"/>
              <a:gd name="connsiteX360" fmla="*/ 4064278 w 5227821"/>
              <a:gd name="connsiteY360" fmla="*/ 1132764 h 1257266"/>
              <a:gd name="connsiteX361" fmla="*/ 4068037 w 5227821"/>
              <a:gd name="connsiteY361" fmla="*/ 1132764 h 1257266"/>
              <a:gd name="connsiteX362" fmla="*/ 4105635 w 5227821"/>
              <a:gd name="connsiteY362" fmla="*/ 1121467 h 1257266"/>
              <a:gd name="connsiteX363" fmla="*/ 4064278 w 5227821"/>
              <a:gd name="connsiteY363" fmla="*/ 1121467 h 1257266"/>
              <a:gd name="connsiteX364" fmla="*/ 3985323 w 5227821"/>
              <a:gd name="connsiteY364" fmla="*/ 1121467 h 1257266"/>
              <a:gd name="connsiteX365" fmla="*/ 3631908 w 5227821"/>
              <a:gd name="connsiteY365" fmla="*/ 1132764 h 1257266"/>
              <a:gd name="connsiteX366" fmla="*/ 3470239 w 5227821"/>
              <a:gd name="connsiteY366" fmla="*/ 1140294 h 1257266"/>
              <a:gd name="connsiteX367" fmla="*/ 2981473 w 5227821"/>
              <a:gd name="connsiteY367" fmla="*/ 1170418 h 1257266"/>
              <a:gd name="connsiteX368" fmla="*/ 2789726 w 5227821"/>
              <a:gd name="connsiteY368" fmla="*/ 1166652 h 1257266"/>
              <a:gd name="connsiteX369" fmla="*/ 2519025 w 5227821"/>
              <a:gd name="connsiteY369" fmla="*/ 1159121 h 1257266"/>
              <a:gd name="connsiteX370" fmla="*/ 2511506 w 5227821"/>
              <a:gd name="connsiteY370" fmla="*/ 1162887 h 1257266"/>
              <a:gd name="connsiteX371" fmla="*/ 2488947 w 5227821"/>
              <a:gd name="connsiteY371" fmla="*/ 1166652 h 1257266"/>
              <a:gd name="connsiteX372" fmla="*/ 2368636 w 5227821"/>
              <a:gd name="connsiteY372" fmla="*/ 1177948 h 1257266"/>
              <a:gd name="connsiteX373" fmla="*/ 2225766 w 5227821"/>
              <a:gd name="connsiteY373" fmla="*/ 1196775 h 1257266"/>
              <a:gd name="connsiteX374" fmla="*/ 1466298 w 5227821"/>
              <a:gd name="connsiteY374" fmla="*/ 1189245 h 1257266"/>
              <a:gd name="connsiteX375" fmla="*/ 1259513 w 5227821"/>
              <a:gd name="connsiteY375" fmla="*/ 1177948 h 1257266"/>
              <a:gd name="connsiteX376" fmla="*/ 992571 w 5227821"/>
              <a:gd name="connsiteY376" fmla="*/ 1162887 h 1257266"/>
              <a:gd name="connsiteX377" fmla="*/ 891058 w 5227821"/>
              <a:gd name="connsiteY377" fmla="*/ 1155356 h 1257266"/>
              <a:gd name="connsiteX378" fmla="*/ 883995 w 5227821"/>
              <a:gd name="connsiteY378" fmla="*/ 1158893 h 1257266"/>
              <a:gd name="connsiteX379" fmla="*/ 876489 w 5227821"/>
              <a:gd name="connsiteY379" fmla="*/ 1158650 h 1257266"/>
              <a:gd name="connsiteX380" fmla="*/ 774506 w 5227821"/>
              <a:gd name="connsiteY380" fmla="*/ 1155356 h 1257266"/>
              <a:gd name="connsiteX381" fmla="*/ 710591 w 5227821"/>
              <a:gd name="connsiteY381" fmla="*/ 1166652 h 1257266"/>
              <a:gd name="connsiteX382" fmla="*/ 530123 w 5227821"/>
              <a:gd name="connsiteY382" fmla="*/ 1166652 h 1257266"/>
              <a:gd name="connsiteX383" fmla="*/ 511325 w 5227821"/>
              <a:gd name="connsiteY383" fmla="*/ 1170418 h 1257266"/>
              <a:gd name="connsiteX384" fmla="*/ 507565 w 5227821"/>
              <a:gd name="connsiteY384" fmla="*/ 1170418 h 1257266"/>
              <a:gd name="connsiteX385" fmla="*/ 488766 w 5227821"/>
              <a:gd name="connsiteY385" fmla="*/ 1174183 h 1257266"/>
              <a:gd name="connsiteX386" fmla="*/ 424851 w 5227821"/>
              <a:gd name="connsiteY386" fmla="*/ 1170418 h 1257266"/>
              <a:gd name="connsiteX387" fmla="*/ 421091 w 5227821"/>
              <a:gd name="connsiteY387" fmla="*/ 1162887 h 1257266"/>
              <a:gd name="connsiteX388" fmla="*/ 398533 w 5227821"/>
              <a:gd name="connsiteY388" fmla="*/ 1170418 h 1257266"/>
              <a:gd name="connsiteX389" fmla="*/ 357175 w 5227821"/>
              <a:gd name="connsiteY389" fmla="*/ 1159121 h 1257266"/>
              <a:gd name="connsiteX390" fmla="*/ 334617 w 5227821"/>
              <a:gd name="connsiteY390" fmla="*/ 1162887 h 1257266"/>
              <a:gd name="connsiteX391" fmla="*/ 338376 w 5227821"/>
              <a:gd name="connsiteY391" fmla="*/ 1155356 h 1257266"/>
              <a:gd name="connsiteX392" fmla="*/ 300779 w 5227821"/>
              <a:gd name="connsiteY392" fmla="*/ 1155356 h 1257266"/>
              <a:gd name="connsiteX393" fmla="*/ 233104 w 5227821"/>
              <a:gd name="connsiteY393" fmla="*/ 1140294 h 1257266"/>
              <a:gd name="connsiteX394" fmla="*/ 353415 w 5227821"/>
              <a:gd name="connsiteY394" fmla="*/ 1125233 h 1257266"/>
              <a:gd name="connsiteX395" fmla="*/ 315818 w 5227821"/>
              <a:gd name="connsiteY395" fmla="*/ 1125233 h 1257266"/>
              <a:gd name="connsiteX396" fmla="*/ 327097 w 5227821"/>
              <a:gd name="connsiteY396" fmla="*/ 1110171 h 1257266"/>
              <a:gd name="connsiteX397" fmla="*/ 274461 w 5227821"/>
              <a:gd name="connsiteY397" fmla="*/ 1102641 h 1257266"/>
              <a:gd name="connsiteX398" fmla="*/ 387253 w 5227821"/>
              <a:gd name="connsiteY398" fmla="*/ 1095110 h 1257266"/>
              <a:gd name="connsiteX399" fmla="*/ 334617 w 5227821"/>
              <a:gd name="connsiteY399" fmla="*/ 1095110 h 1257266"/>
              <a:gd name="connsiteX400" fmla="*/ 312058 w 5227821"/>
              <a:gd name="connsiteY400" fmla="*/ 1083814 h 1257266"/>
              <a:gd name="connsiteX401" fmla="*/ 338376 w 5227821"/>
              <a:gd name="connsiteY401" fmla="*/ 1072517 h 1257266"/>
              <a:gd name="connsiteX402" fmla="*/ 372214 w 5227821"/>
              <a:gd name="connsiteY402" fmla="*/ 1046160 h 1257266"/>
              <a:gd name="connsiteX403" fmla="*/ 293259 w 5227821"/>
              <a:gd name="connsiteY403" fmla="*/ 1064987 h 1257266"/>
              <a:gd name="connsiteX404" fmla="*/ 281980 w 5227821"/>
              <a:gd name="connsiteY404" fmla="*/ 1034863 h 1257266"/>
              <a:gd name="connsiteX405" fmla="*/ 308298 w 5227821"/>
              <a:gd name="connsiteY405" fmla="*/ 985913 h 1257266"/>
              <a:gd name="connsiteX406" fmla="*/ 323337 w 5227821"/>
              <a:gd name="connsiteY406" fmla="*/ 978383 h 1257266"/>
              <a:gd name="connsiteX407" fmla="*/ 263181 w 5227821"/>
              <a:gd name="connsiteY407" fmla="*/ 970852 h 1257266"/>
              <a:gd name="connsiteX408" fmla="*/ 300779 w 5227821"/>
              <a:gd name="connsiteY408" fmla="*/ 918136 h 1257266"/>
              <a:gd name="connsiteX409" fmla="*/ 330857 w 5227821"/>
              <a:gd name="connsiteY409" fmla="*/ 914371 h 1257266"/>
              <a:gd name="connsiteX410" fmla="*/ 67675 w 5227821"/>
              <a:gd name="connsiteY410" fmla="*/ 831532 h 1257266"/>
              <a:gd name="connsiteX411" fmla="*/ 11279 w 5227821"/>
              <a:gd name="connsiteY411" fmla="*/ 824001 h 1257266"/>
              <a:gd name="connsiteX412" fmla="*/ 0 w 5227821"/>
              <a:gd name="connsiteY412" fmla="*/ 820236 h 1257266"/>
              <a:gd name="connsiteX413" fmla="*/ 30078 w 5227821"/>
              <a:gd name="connsiteY413" fmla="*/ 820236 h 1257266"/>
              <a:gd name="connsiteX414" fmla="*/ 33837 w 5227821"/>
              <a:gd name="connsiteY414" fmla="*/ 824001 h 1257266"/>
              <a:gd name="connsiteX415" fmla="*/ 45117 w 5227821"/>
              <a:gd name="connsiteY415" fmla="*/ 820236 h 1257266"/>
              <a:gd name="connsiteX416" fmla="*/ 45117 w 5227821"/>
              <a:gd name="connsiteY416" fmla="*/ 812705 h 1257266"/>
              <a:gd name="connsiteX417" fmla="*/ 236863 w 5227821"/>
              <a:gd name="connsiteY417" fmla="*/ 865421 h 1257266"/>
              <a:gd name="connsiteX418" fmla="*/ 240623 w 5227821"/>
              <a:gd name="connsiteY418" fmla="*/ 861655 h 1257266"/>
              <a:gd name="connsiteX419" fmla="*/ 259422 w 5227821"/>
              <a:gd name="connsiteY419" fmla="*/ 869186 h 1257266"/>
              <a:gd name="connsiteX420" fmla="*/ 270701 w 5227821"/>
              <a:gd name="connsiteY420" fmla="*/ 861655 h 1257266"/>
              <a:gd name="connsiteX421" fmla="*/ 274461 w 5227821"/>
              <a:gd name="connsiteY421" fmla="*/ 865421 h 1257266"/>
              <a:gd name="connsiteX422" fmla="*/ 278220 w 5227821"/>
              <a:gd name="connsiteY422" fmla="*/ 861655 h 1257266"/>
              <a:gd name="connsiteX423" fmla="*/ 233104 w 5227821"/>
              <a:gd name="connsiteY423" fmla="*/ 857890 h 1257266"/>
              <a:gd name="connsiteX424" fmla="*/ 278220 w 5227821"/>
              <a:gd name="connsiteY424" fmla="*/ 842828 h 1257266"/>
              <a:gd name="connsiteX425" fmla="*/ 293259 w 5227821"/>
              <a:gd name="connsiteY425" fmla="*/ 842828 h 1257266"/>
              <a:gd name="connsiteX426" fmla="*/ 278220 w 5227821"/>
              <a:gd name="connsiteY426" fmla="*/ 854125 h 1257266"/>
              <a:gd name="connsiteX427" fmla="*/ 312058 w 5227821"/>
              <a:gd name="connsiteY427" fmla="*/ 857890 h 1257266"/>
              <a:gd name="connsiteX428" fmla="*/ 312058 w 5227821"/>
              <a:gd name="connsiteY428" fmla="*/ 842828 h 1257266"/>
              <a:gd name="connsiteX429" fmla="*/ 308298 w 5227821"/>
              <a:gd name="connsiteY429" fmla="*/ 839063 h 1257266"/>
              <a:gd name="connsiteX430" fmla="*/ 304539 w 5227821"/>
              <a:gd name="connsiteY430" fmla="*/ 839063 h 1257266"/>
              <a:gd name="connsiteX431" fmla="*/ 308298 w 5227821"/>
              <a:gd name="connsiteY431" fmla="*/ 835298 h 1257266"/>
              <a:gd name="connsiteX432" fmla="*/ 297019 w 5227821"/>
              <a:gd name="connsiteY432" fmla="*/ 831532 h 1257266"/>
              <a:gd name="connsiteX433" fmla="*/ 270701 w 5227821"/>
              <a:gd name="connsiteY433" fmla="*/ 835298 h 1257266"/>
              <a:gd name="connsiteX434" fmla="*/ 312058 w 5227821"/>
              <a:gd name="connsiteY434" fmla="*/ 820236 h 1257266"/>
              <a:gd name="connsiteX435" fmla="*/ 308298 w 5227821"/>
              <a:gd name="connsiteY435" fmla="*/ 816471 h 1257266"/>
              <a:gd name="connsiteX436" fmla="*/ 353415 w 5227821"/>
              <a:gd name="connsiteY436" fmla="*/ 793878 h 1257266"/>
              <a:gd name="connsiteX437" fmla="*/ 334617 w 5227821"/>
              <a:gd name="connsiteY437" fmla="*/ 790113 h 1257266"/>
              <a:gd name="connsiteX438" fmla="*/ 233104 w 5227821"/>
              <a:gd name="connsiteY438" fmla="*/ 824001 h 1257266"/>
              <a:gd name="connsiteX439" fmla="*/ 161669 w 5227821"/>
              <a:gd name="connsiteY439" fmla="*/ 839063 h 1257266"/>
              <a:gd name="connsiteX440" fmla="*/ 184227 w 5227821"/>
              <a:gd name="connsiteY440" fmla="*/ 827767 h 1257266"/>
              <a:gd name="connsiteX441" fmla="*/ 176707 w 5227821"/>
              <a:gd name="connsiteY441" fmla="*/ 827767 h 1257266"/>
              <a:gd name="connsiteX442" fmla="*/ 251902 w 5227821"/>
              <a:gd name="connsiteY442" fmla="*/ 805175 h 1257266"/>
              <a:gd name="connsiteX443" fmla="*/ 274461 w 5227821"/>
              <a:gd name="connsiteY443" fmla="*/ 797644 h 1257266"/>
              <a:gd name="connsiteX444" fmla="*/ 281980 w 5227821"/>
              <a:gd name="connsiteY444" fmla="*/ 797644 h 1257266"/>
              <a:gd name="connsiteX445" fmla="*/ 297019 w 5227821"/>
              <a:gd name="connsiteY445" fmla="*/ 790113 h 1257266"/>
              <a:gd name="connsiteX446" fmla="*/ 293259 w 5227821"/>
              <a:gd name="connsiteY446" fmla="*/ 786348 h 1257266"/>
              <a:gd name="connsiteX447" fmla="*/ 327097 w 5227821"/>
              <a:gd name="connsiteY447" fmla="*/ 763755 h 1257266"/>
              <a:gd name="connsiteX448" fmla="*/ 236863 w 5227821"/>
              <a:gd name="connsiteY448" fmla="*/ 786348 h 1257266"/>
              <a:gd name="connsiteX449" fmla="*/ 199266 w 5227821"/>
              <a:gd name="connsiteY449" fmla="*/ 790113 h 1257266"/>
              <a:gd name="connsiteX450" fmla="*/ 330857 w 5227821"/>
              <a:gd name="connsiteY450" fmla="*/ 726101 h 1257266"/>
              <a:gd name="connsiteX451" fmla="*/ 357175 w 5227821"/>
              <a:gd name="connsiteY451" fmla="*/ 699743 h 1257266"/>
              <a:gd name="connsiteX452" fmla="*/ 364695 w 5227821"/>
              <a:gd name="connsiteY452" fmla="*/ 699743 h 1257266"/>
              <a:gd name="connsiteX453" fmla="*/ 364695 w 5227821"/>
              <a:gd name="connsiteY453" fmla="*/ 688447 h 1257266"/>
              <a:gd name="connsiteX454" fmla="*/ 402292 w 5227821"/>
              <a:gd name="connsiteY454" fmla="*/ 650793 h 1257266"/>
              <a:gd name="connsiteX455" fmla="*/ 511325 w 5227821"/>
              <a:gd name="connsiteY455" fmla="*/ 579251 h 1257266"/>
              <a:gd name="connsiteX456" fmla="*/ 551742 w 5227821"/>
              <a:gd name="connsiteY456" fmla="*/ 534537 h 1257266"/>
              <a:gd name="connsiteX457" fmla="*/ 561872 w 5227821"/>
              <a:gd name="connsiteY457" fmla="*/ 527136 h 1257266"/>
              <a:gd name="connsiteX458" fmla="*/ 558113 w 5227821"/>
              <a:gd name="connsiteY458" fmla="*/ 526214 h 1257266"/>
              <a:gd name="connsiteX459" fmla="*/ 429342 w 5227821"/>
              <a:gd name="connsiteY459" fmla="*/ 481970 h 1257266"/>
              <a:gd name="connsiteX460" fmla="*/ 372945 w 5227821"/>
              <a:gd name="connsiteY460" fmla="*/ 474440 h 1257266"/>
              <a:gd name="connsiteX461" fmla="*/ 361666 w 5227821"/>
              <a:gd name="connsiteY461" fmla="*/ 470674 h 1257266"/>
              <a:gd name="connsiteX462" fmla="*/ 391744 w 5227821"/>
              <a:gd name="connsiteY462" fmla="*/ 470674 h 1257266"/>
              <a:gd name="connsiteX463" fmla="*/ 395504 w 5227821"/>
              <a:gd name="connsiteY463" fmla="*/ 474440 h 1257266"/>
              <a:gd name="connsiteX464" fmla="*/ 406783 w 5227821"/>
              <a:gd name="connsiteY464" fmla="*/ 470674 h 1257266"/>
              <a:gd name="connsiteX465" fmla="*/ 406783 w 5227821"/>
              <a:gd name="connsiteY465" fmla="*/ 463144 h 1257266"/>
              <a:gd name="connsiteX466" fmla="*/ 495607 w 5227821"/>
              <a:gd name="connsiteY466" fmla="*/ 493737 h 1257266"/>
              <a:gd name="connsiteX467" fmla="*/ 582131 w 5227821"/>
              <a:gd name="connsiteY467" fmla="*/ 512335 h 1257266"/>
              <a:gd name="connsiteX468" fmla="*/ 609078 w 5227821"/>
              <a:gd name="connsiteY468" fmla="*/ 492647 h 1257266"/>
              <a:gd name="connsiteX469" fmla="*/ 618947 w 5227821"/>
              <a:gd name="connsiteY469" fmla="*/ 494530 h 1257266"/>
              <a:gd name="connsiteX470" fmla="*/ 624178 w 5227821"/>
              <a:gd name="connsiteY470" fmla="*/ 495306 h 1257266"/>
              <a:gd name="connsiteX471" fmla="*/ 639060 w 5227821"/>
              <a:gd name="connsiteY471" fmla="*/ 493374 h 1257266"/>
              <a:gd name="connsiteX472" fmla="*/ 653196 w 5227821"/>
              <a:gd name="connsiteY472" fmla="*/ 487588 h 1257266"/>
              <a:gd name="connsiteX473" fmla="*/ 661962 w 5227821"/>
              <a:gd name="connsiteY473" fmla="*/ 483064 h 1257266"/>
              <a:gd name="connsiteX474" fmla="*/ 658686 w 5227821"/>
              <a:gd name="connsiteY474" fmla="*/ 481970 h 1257266"/>
              <a:gd name="connsiteX475" fmla="*/ 632367 w 5227821"/>
              <a:gd name="connsiteY475" fmla="*/ 485736 h 1257266"/>
              <a:gd name="connsiteX476" fmla="*/ 673725 w 5227821"/>
              <a:gd name="connsiteY476" fmla="*/ 470674 h 1257266"/>
              <a:gd name="connsiteX477" fmla="*/ 669965 w 5227821"/>
              <a:gd name="connsiteY477" fmla="*/ 466909 h 1257266"/>
              <a:gd name="connsiteX478" fmla="*/ 715082 w 5227821"/>
              <a:gd name="connsiteY478" fmla="*/ 444317 h 1257266"/>
              <a:gd name="connsiteX479" fmla="*/ 696283 w 5227821"/>
              <a:gd name="connsiteY479" fmla="*/ 440551 h 1257266"/>
              <a:gd name="connsiteX480" fmla="*/ 594770 w 5227821"/>
              <a:gd name="connsiteY480" fmla="*/ 474440 h 1257266"/>
              <a:gd name="connsiteX481" fmla="*/ 523335 w 5227821"/>
              <a:gd name="connsiteY481" fmla="*/ 489501 h 1257266"/>
              <a:gd name="connsiteX482" fmla="*/ 545893 w 5227821"/>
              <a:gd name="connsiteY482" fmla="*/ 478205 h 1257266"/>
              <a:gd name="connsiteX483" fmla="*/ 538374 w 5227821"/>
              <a:gd name="connsiteY483" fmla="*/ 478205 h 1257266"/>
              <a:gd name="connsiteX484" fmla="*/ 613569 w 5227821"/>
              <a:gd name="connsiteY484" fmla="*/ 455613 h 1257266"/>
              <a:gd name="connsiteX485" fmla="*/ 636127 w 5227821"/>
              <a:gd name="connsiteY485" fmla="*/ 448082 h 1257266"/>
              <a:gd name="connsiteX486" fmla="*/ 643647 w 5227821"/>
              <a:gd name="connsiteY486" fmla="*/ 448082 h 1257266"/>
              <a:gd name="connsiteX487" fmla="*/ 658686 w 5227821"/>
              <a:gd name="connsiteY487" fmla="*/ 440551 h 1257266"/>
              <a:gd name="connsiteX488" fmla="*/ 654926 w 5227821"/>
              <a:gd name="connsiteY488" fmla="*/ 436786 h 1257266"/>
              <a:gd name="connsiteX489" fmla="*/ 688764 w 5227821"/>
              <a:gd name="connsiteY489" fmla="*/ 414193 h 1257266"/>
              <a:gd name="connsiteX490" fmla="*/ 598530 w 5227821"/>
              <a:gd name="connsiteY490" fmla="*/ 436786 h 1257266"/>
              <a:gd name="connsiteX491" fmla="*/ 560932 w 5227821"/>
              <a:gd name="connsiteY491" fmla="*/ 440551 h 1257266"/>
              <a:gd name="connsiteX492" fmla="*/ 692523 w 5227821"/>
              <a:gd name="connsiteY492" fmla="*/ 376539 h 1257266"/>
              <a:gd name="connsiteX493" fmla="*/ 718841 w 5227821"/>
              <a:gd name="connsiteY493" fmla="*/ 350182 h 1257266"/>
              <a:gd name="connsiteX494" fmla="*/ 726361 w 5227821"/>
              <a:gd name="connsiteY494" fmla="*/ 350182 h 1257266"/>
              <a:gd name="connsiteX495" fmla="*/ 726361 w 5227821"/>
              <a:gd name="connsiteY495" fmla="*/ 338886 h 1257266"/>
              <a:gd name="connsiteX496" fmla="*/ 763958 w 5227821"/>
              <a:gd name="connsiteY496" fmla="*/ 301232 h 1257266"/>
              <a:gd name="connsiteX497" fmla="*/ 872991 w 5227821"/>
              <a:gd name="connsiteY497" fmla="*/ 229689 h 1257266"/>
              <a:gd name="connsiteX498" fmla="*/ 970744 w 5227821"/>
              <a:gd name="connsiteY498" fmla="*/ 143085 h 1257266"/>
              <a:gd name="connsiteX499" fmla="*/ 993302 w 5227821"/>
              <a:gd name="connsiteY499" fmla="*/ 146851 h 1257266"/>
              <a:gd name="connsiteX500" fmla="*/ 1087296 w 5227821"/>
              <a:gd name="connsiteY500" fmla="*/ 124258 h 1257266"/>
              <a:gd name="connsiteX501" fmla="*/ 1109854 w 5227821"/>
              <a:gd name="connsiteY501" fmla="*/ 120493 h 1257266"/>
              <a:gd name="connsiteX502" fmla="*/ 1109854 w 5227821"/>
              <a:gd name="connsiteY502" fmla="*/ 112962 h 1257266"/>
              <a:gd name="connsiteX503" fmla="*/ 1173770 w 5227821"/>
              <a:gd name="connsiteY503" fmla="*/ 120493 h 1257266"/>
              <a:gd name="connsiteX504" fmla="*/ 1166250 w 5227821"/>
              <a:gd name="connsiteY504" fmla="*/ 131789 h 1257266"/>
              <a:gd name="connsiteX505" fmla="*/ 1290322 w 5227821"/>
              <a:gd name="connsiteY505" fmla="*/ 154381 h 1257266"/>
              <a:gd name="connsiteX506" fmla="*/ 1286562 w 5227821"/>
              <a:gd name="connsiteY506" fmla="*/ 158147 h 1257266"/>
              <a:gd name="connsiteX507" fmla="*/ 1316640 w 5227821"/>
              <a:gd name="connsiteY507" fmla="*/ 161912 h 1257266"/>
              <a:gd name="connsiteX508" fmla="*/ 1399354 w 5227821"/>
              <a:gd name="connsiteY508" fmla="*/ 101666 h 1257266"/>
              <a:gd name="connsiteX509" fmla="*/ 1380555 w 5227821"/>
              <a:gd name="connsiteY509" fmla="*/ 82839 h 1257266"/>
              <a:gd name="connsiteX510" fmla="*/ 1369276 w 5227821"/>
              <a:gd name="connsiteY510" fmla="*/ 90370 h 1257266"/>
              <a:gd name="connsiteX511" fmla="*/ 1369276 w 5227821"/>
              <a:gd name="connsiteY511" fmla="*/ 86604 h 1257266"/>
              <a:gd name="connsiteX512" fmla="*/ 1275283 w 5227821"/>
              <a:gd name="connsiteY512" fmla="*/ 86604 h 1257266"/>
              <a:gd name="connsiteX513" fmla="*/ 1252724 w 5227821"/>
              <a:gd name="connsiteY513" fmla="*/ 97900 h 1257266"/>
              <a:gd name="connsiteX514" fmla="*/ 1282802 w 5227821"/>
              <a:gd name="connsiteY514" fmla="*/ 71543 h 1257266"/>
              <a:gd name="connsiteX515" fmla="*/ 1309120 w 5227821"/>
              <a:gd name="connsiteY515" fmla="*/ 67777 h 1257266"/>
              <a:gd name="connsiteX516" fmla="*/ 1399354 w 5227821"/>
              <a:gd name="connsiteY516" fmla="*/ 82839 h 1257266"/>
              <a:gd name="connsiteX517" fmla="*/ 1455750 w 5227821"/>
              <a:gd name="connsiteY517" fmla="*/ 56481 h 1257266"/>
              <a:gd name="connsiteX518" fmla="*/ 1440711 w 5227821"/>
              <a:gd name="connsiteY518" fmla="*/ 52716 h 1257266"/>
              <a:gd name="connsiteX519" fmla="*/ 1508387 w 5227821"/>
              <a:gd name="connsiteY519" fmla="*/ 22593 h 1257266"/>
              <a:gd name="connsiteX520" fmla="*/ 1474549 w 5227821"/>
              <a:gd name="connsiteY520" fmla="*/ 18827 h 1257266"/>
              <a:gd name="connsiteX521" fmla="*/ 1594861 w 5227821"/>
              <a:gd name="connsiteY521" fmla="*/ 0 h 1257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</a:cxnLst>
            <a:rect l="l" t="t" r="r" b="b"/>
            <a:pathLst>
              <a:path w="5227821" h="1257266">
                <a:moveTo>
                  <a:pt x="883995" y="1158893"/>
                </a:moveTo>
                <a:lnTo>
                  <a:pt x="891058" y="1159121"/>
                </a:lnTo>
                <a:cubicBezTo>
                  <a:pt x="883539" y="1159121"/>
                  <a:pt x="883539" y="1159121"/>
                  <a:pt x="883539" y="1159121"/>
                </a:cubicBezTo>
                <a:close/>
                <a:moveTo>
                  <a:pt x="4615788" y="826594"/>
                </a:moveTo>
                <a:lnTo>
                  <a:pt x="4616959" y="827767"/>
                </a:lnTo>
                <a:lnTo>
                  <a:pt x="4617450" y="827029"/>
                </a:lnTo>
                <a:close/>
                <a:moveTo>
                  <a:pt x="4610559" y="825984"/>
                </a:moveTo>
                <a:lnTo>
                  <a:pt x="4591373" y="828386"/>
                </a:lnTo>
                <a:lnTo>
                  <a:pt x="4584680" y="830752"/>
                </a:lnTo>
                <a:lnTo>
                  <a:pt x="4583122" y="831532"/>
                </a:lnTo>
                <a:cubicBezTo>
                  <a:pt x="4583122" y="835298"/>
                  <a:pt x="4590641" y="835298"/>
                  <a:pt x="4598161" y="835298"/>
                </a:cubicBezTo>
                <a:cubicBezTo>
                  <a:pt x="4598161" y="835298"/>
                  <a:pt x="4598161" y="835298"/>
                  <a:pt x="4600041" y="833886"/>
                </a:cubicBezTo>
                <a:close/>
                <a:moveTo>
                  <a:pt x="4763331" y="809097"/>
                </a:moveTo>
                <a:lnTo>
                  <a:pt x="4764025" y="815097"/>
                </a:lnTo>
                <a:lnTo>
                  <a:pt x="4768080" y="809559"/>
                </a:lnTo>
                <a:close/>
                <a:moveTo>
                  <a:pt x="4653526" y="808089"/>
                </a:moveTo>
                <a:cubicBezTo>
                  <a:pt x="4649178" y="809559"/>
                  <a:pt x="4645889" y="813325"/>
                  <a:pt x="4644009" y="820856"/>
                </a:cubicBezTo>
                <a:cubicBezTo>
                  <a:pt x="4647769" y="824621"/>
                  <a:pt x="4655288" y="824621"/>
                  <a:pt x="4659047" y="828386"/>
                </a:cubicBezTo>
                <a:lnTo>
                  <a:pt x="4642634" y="833009"/>
                </a:lnTo>
                <a:lnTo>
                  <a:pt x="4658317" y="846594"/>
                </a:lnTo>
                <a:cubicBezTo>
                  <a:pt x="4680875" y="839063"/>
                  <a:pt x="4677115" y="827767"/>
                  <a:pt x="4684635" y="816471"/>
                </a:cubicBezTo>
                <a:lnTo>
                  <a:pt x="4683861" y="813370"/>
                </a:lnTo>
                <a:lnTo>
                  <a:pt x="4669387" y="809089"/>
                </a:lnTo>
                <a:cubicBezTo>
                  <a:pt x="4663277" y="807441"/>
                  <a:pt x="4657873" y="806618"/>
                  <a:pt x="4653526" y="808089"/>
                </a:cubicBezTo>
                <a:close/>
                <a:moveTo>
                  <a:pt x="4720496" y="800558"/>
                </a:moveTo>
                <a:cubicBezTo>
                  <a:pt x="4715209" y="801322"/>
                  <a:pt x="4709804" y="803911"/>
                  <a:pt x="4704165" y="809559"/>
                </a:cubicBezTo>
                <a:cubicBezTo>
                  <a:pt x="4704165" y="809559"/>
                  <a:pt x="4704165" y="809559"/>
                  <a:pt x="4711684" y="817090"/>
                </a:cubicBezTo>
                <a:lnTo>
                  <a:pt x="4703433" y="816325"/>
                </a:lnTo>
                <a:lnTo>
                  <a:pt x="4703433" y="824001"/>
                </a:lnTo>
                <a:cubicBezTo>
                  <a:pt x="4703433" y="824001"/>
                  <a:pt x="4703433" y="824001"/>
                  <a:pt x="4718473" y="820236"/>
                </a:cubicBezTo>
                <a:cubicBezTo>
                  <a:pt x="4725992" y="827767"/>
                  <a:pt x="4729751" y="839063"/>
                  <a:pt x="4733511" y="846594"/>
                </a:cubicBezTo>
                <a:cubicBezTo>
                  <a:pt x="4725992" y="842828"/>
                  <a:pt x="4718473" y="842828"/>
                  <a:pt x="4710953" y="850359"/>
                </a:cubicBezTo>
                <a:cubicBezTo>
                  <a:pt x="4710953" y="850359"/>
                  <a:pt x="4710953" y="850359"/>
                  <a:pt x="4692155" y="842828"/>
                </a:cubicBezTo>
                <a:cubicBezTo>
                  <a:pt x="4680875" y="846594"/>
                  <a:pt x="4665836" y="846594"/>
                  <a:pt x="4658317" y="854125"/>
                </a:cubicBezTo>
                <a:cubicBezTo>
                  <a:pt x="4658317" y="854125"/>
                  <a:pt x="4658317" y="854125"/>
                  <a:pt x="4677115" y="854125"/>
                </a:cubicBezTo>
                <a:cubicBezTo>
                  <a:pt x="4677115" y="854125"/>
                  <a:pt x="4677115" y="854125"/>
                  <a:pt x="4673355" y="857890"/>
                </a:cubicBezTo>
                <a:cubicBezTo>
                  <a:pt x="4707193" y="854125"/>
                  <a:pt x="4722232" y="861655"/>
                  <a:pt x="4741031" y="857890"/>
                </a:cubicBezTo>
                <a:cubicBezTo>
                  <a:pt x="4744791" y="861655"/>
                  <a:pt x="4744791" y="861655"/>
                  <a:pt x="4748551" y="861655"/>
                </a:cubicBezTo>
                <a:cubicBezTo>
                  <a:pt x="4752310" y="861655"/>
                  <a:pt x="4752310" y="857890"/>
                  <a:pt x="4752310" y="857890"/>
                </a:cubicBezTo>
                <a:cubicBezTo>
                  <a:pt x="4756070" y="854125"/>
                  <a:pt x="4759829" y="854125"/>
                  <a:pt x="4763589" y="854125"/>
                </a:cubicBezTo>
                <a:cubicBezTo>
                  <a:pt x="4763589" y="850359"/>
                  <a:pt x="4759829" y="854125"/>
                  <a:pt x="4752310" y="854125"/>
                </a:cubicBezTo>
                <a:cubicBezTo>
                  <a:pt x="4752310" y="846594"/>
                  <a:pt x="4748551" y="842828"/>
                  <a:pt x="4756070" y="835298"/>
                </a:cubicBezTo>
                <a:cubicBezTo>
                  <a:pt x="4750430" y="829650"/>
                  <a:pt x="4745731" y="824001"/>
                  <a:pt x="4744321" y="817412"/>
                </a:cubicBezTo>
                <a:lnTo>
                  <a:pt x="4747974" y="806649"/>
                </a:lnTo>
                <a:lnTo>
                  <a:pt x="4736122" y="802499"/>
                </a:lnTo>
                <a:cubicBezTo>
                  <a:pt x="4730953" y="800852"/>
                  <a:pt x="4725783" y="799793"/>
                  <a:pt x="4720496" y="800558"/>
                </a:cubicBezTo>
                <a:close/>
                <a:moveTo>
                  <a:pt x="1676438" y="90716"/>
                </a:moveTo>
                <a:lnTo>
                  <a:pt x="1850993" y="94135"/>
                </a:lnTo>
                <a:cubicBezTo>
                  <a:pt x="1918198" y="94135"/>
                  <a:pt x="1985874" y="94135"/>
                  <a:pt x="2046029" y="97900"/>
                </a:cubicBezTo>
                <a:cubicBezTo>
                  <a:pt x="2046029" y="97900"/>
                  <a:pt x="2046029" y="97900"/>
                  <a:pt x="2057308" y="101666"/>
                </a:cubicBezTo>
                <a:cubicBezTo>
                  <a:pt x="1997153" y="97900"/>
                  <a:pt x="1910679" y="112962"/>
                  <a:pt x="1850523" y="97900"/>
                </a:cubicBezTo>
                <a:cubicBezTo>
                  <a:pt x="1797886" y="101666"/>
                  <a:pt x="1737731" y="94135"/>
                  <a:pt x="1692614" y="94135"/>
                </a:cubicBezTo>
                <a:close/>
                <a:moveTo>
                  <a:pt x="1675636" y="90546"/>
                </a:moveTo>
                <a:lnTo>
                  <a:pt x="1676438" y="90716"/>
                </a:lnTo>
                <a:lnTo>
                  <a:pt x="1674865" y="90685"/>
                </a:lnTo>
                <a:close/>
                <a:moveTo>
                  <a:pt x="2005634" y="36919"/>
                </a:moveTo>
                <a:lnTo>
                  <a:pt x="2008432" y="37654"/>
                </a:lnTo>
                <a:cubicBezTo>
                  <a:pt x="2000912" y="37654"/>
                  <a:pt x="2000912" y="37654"/>
                  <a:pt x="2000912" y="37654"/>
                </a:cubicBezTo>
                <a:close/>
                <a:moveTo>
                  <a:pt x="1594861" y="0"/>
                </a:moveTo>
                <a:cubicBezTo>
                  <a:pt x="1621179" y="0"/>
                  <a:pt x="1651257" y="0"/>
                  <a:pt x="1655016" y="11296"/>
                </a:cubicBezTo>
                <a:cubicBezTo>
                  <a:pt x="1658776" y="15062"/>
                  <a:pt x="1655016" y="15062"/>
                  <a:pt x="1651257" y="18827"/>
                </a:cubicBezTo>
                <a:cubicBezTo>
                  <a:pt x="1685094" y="22593"/>
                  <a:pt x="1730211" y="22593"/>
                  <a:pt x="1767809" y="22593"/>
                </a:cubicBezTo>
                <a:cubicBezTo>
                  <a:pt x="1925718" y="26358"/>
                  <a:pt x="2079867" y="30123"/>
                  <a:pt x="2230256" y="26358"/>
                </a:cubicBezTo>
                <a:cubicBezTo>
                  <a:pt x="2241536" y="30123"/>
                  <a:pt x="2256575" y="33889"/>
                  <a:pt x="2275373" y="30123"/>
                </a:cubicBezTo>
                <a:cubicBezTo>
                  <a:pt x="2218977" y="41420"/>
                  <a:pt x="2117464" y="33889"/>
                  <a:pt x="2046029" y="33889"/>
                </a:cubicBezTo>
                <a:cubicBezTo>
                  <a:pt x="2036630" y="32006"/>
                  <a:pt x="2029111" y="32947"/>
                  <a:pt x="2022061" y="34359"/>
                </a:cubicBezTo>
                <a:lnTo>
                  <a:pt x="2005634" y="36919"/>
                </a:lnTo>
                <a:lnTo>
                  <a:pt x="1983817" y="31183"/>
                </a:lnTo>
                <a:cubicBezTo>
                  <a:pt x="1955091" y="28711"/>
                  <a:pt x="1916318" y="35772"/>
                  <a:pt x="1888120" y="30123"/>
                </a:cubicBezTo>
                <a:cubicBezTo>
                  <a:pt x="1805406" y="30123"/>
                  <a:pt x="1749010" y="22593"/>
                  <a:pt x="1662536" y="26358"/>
                </a:cubicBezTo>
                <a:cubicBezTo>
                  <a:pt x="1655016" y="30123"/>
                  <a:pt x="1655016" y="33889"/>
                  <a:pt x="1655016" y="37654"/>
                </a:cubicBezTo>
                <a:cubicBezTo>
                  <a:pt x="1636218" y="37654"/>
                  <a:pt x="1617419" y="37654"/>
                  <a:pt x="1609900" y="30123"/>
                </a:cubicBezTo>
                <a:cubicBezTo>
                  <a:pt x="1591101" y="41420"/>
                  <a:pt x="1572302" y="41420"/>
                  <a:pt x="1553503" y="52716"/>
                </a:cubicBezTo>
                <a:cubicBezTo>
                  <a:pt x="1553503" y="52716"/>
                  <a:pt x="1553503" y="52716"/>
                  <a:pt x="1587341" y="56481"/>
                </a:cubicBezTo>
                <a:cubicBezTo>
                  <a:pt x="1579822" y="64012"/>
                  <a:pt x="1557263" y="64012"/>
                  <a:pt x="1542224" y="56481"/>
                </a:cubicBezTo>
                <a:cubicBezTo>
                  <a:pt x="1515906" y="56481"/>
                  <a:pt x="1549744" y="67777"/>
                  <a:pt x="1527185" y="71543"/>
                </a:cubicBezTo>
                <a:cubicBezTo>
                  <a:pt x="1527185" y="71543"/>
                  <a:pt x="1527185" y="71543"/>
                  <a:pt x="1478309" y="79073"/>
                </a:cubicBezTo>
                <a:cubicBezTo>
                  <a:pt x="1527185" y="90370"/>
                  <a:pt x="1609900" y="82839"/>
                  <a:pt x="1658776" y="90370"/>
                </a:cubicBezTo>
                <a:lnTo>
                  <a:pt x="1674865" y="90685"/>
                </a:lnTo>
                <a:lnTo>
                  <a:pt x="1658306" y="93664"/>
                </a:lnTo>
                <a:cubicBezTo>
                  <a:pt x="1646557" y="96959"/>
                  <a:pt x="1634338" y="101666"/>
                  <a:pt x="1621179" y="101666"/>
                </a:cubicBezTo>
                <a:cubicBezTo>
                  <a:pt x="1613659" y="109197"/>
                  <a:pt x="1598620" y="116727"/>
                  <a:pt x="1579822" y="128024"/>
                </a:cubicBezTo>
                <a:cubicBezTo>
                  <a:pt x="1579822" y="128024"/>
                  <a:pt x="1579822" y="128024"/>
                  <a:pt x="1576062" y="120493"/>
                </a:cubicBezTo>
                <a:cubicBezTo>
                  <a:pt x="1579822" y="112962"/>
                  <a:pt x="1598620" y="124258"/>
                  <a:pt x="1598620" y="112962"/>
                </a:cubicBezTo>
                <a:cubicBezTo>
                  <a:pt x="1598620" y="112962"/>
                  <a:pt x="1598620" y="112962"/>
                  <a:pt x="1587341" y="109197"/>
                </a:cubicBezTo>
                <a:cubicBezTo>
                  <a:pt x="1583581" y="112962"/>
                  <a:pt x="1572302" y="109197"/>
                  <a:pt x="1564783" y="109197"/>
                </a:cubicBezTo>
                <a:cubicBezTo>
                  <a:pt x="1564783" y="109197"/>
                  <a:pt x="1564783" y="109197"/>
                  <a:pt x="1553503" y="105431"/>
                </a:cubicBezTo>
                <a:cubicBezTo>
                  <a:pt x="1583581" y="101666"/>
                  <a:pt x="1609900" y="109197"/>
                  <a:pt x="1621179" y="94135"/>
                </a:cubicBezTo>
                <a:cubicBezTo>
                  <a:pt x="1564783" y="82839"/>
                  <a:pt x="1508387" y="94135"/>
                  <a:pt x="1448231" y="86604"/>
                </a:cubicBezTo>
                <a:cubicBezTo>
                  <a:pt x="1433192" y="82839"/>
                  <a:pt x="1425672" y="94135"/>
                  <a:pt x="1410633" y="97900"/>
                </a:cubicBezTo>
                <a:cubicBezTo>
                  <a:pt x="1410633" y="97900"/>
                  <a:pt x="1410633" y="97900"/>
                  <a:pt x="1444471" y="101666"/>
                </a:cubicBezTo>
                <a:cubicBezTo>
                  <a:pt x="1440711" y="109197"/>
                  <a:pt x="1384315" y="116727"/>
                  <a:pt x="1380555" y="131789"/>
                </a:cubicBezTo>
                <a:cubicBezTo>
                  <a:pt x="1373036" y="124258"/>
                  <a:pt x="1399354" y="120493"/>
                  <a:pt x="1380555" y="112962"/>
                </a:cubicBezTo>
                <a:cubicBezTo>
                  <a:pt x="1380555" y="120493"/>
                  <a:pt x="1350478" y="124258"/>
                  <a:pt x="1369276" y="131789"/>
                </a:cubicBezTo>
                <a:cubicBezTo>
                  <a:pt x="1365517" y="128024"/>
                  <a:pt x="1361757" y="131789"/>
                  <a:pt x="1357997" y="131789"/>
                </a:cubicBezTo>
                <a:cubicBezTo>
                  <a:pt x="1365517" y="146851"/>
                  <a:pt x="1361757" y="143085"/>
                  <a:pt x="1354237" y="146851"/>
                </a:cubicBezTo>
                <a:cubicBezTo>
                  <a:pt x="1357997" y="143085"/>
                  <a:pt x="1357997" y="143085"/>
                  <a:pt x="1350478" y="139320"/>
                </a:cubicBezTo>
                <a:cubicBezTo>
                  <a:pt x="1350478" y="139320"/>
                  <a:pt x="1350478" y="139320"/>
                  <a:pt x="1327919" y="161912"/>
                </a:cubicBezTo>
                <a:cubicBezTo>
                  <a:pt x="1365517" y="161912"/>
                  <a:pt x="1391835" y="184504"/>
                  <a:pt x="1436952" y="173208"/>
                </a:cubicBezTo>
                <a:cubicBezTo>
                  <a:pt x="1455750" y="173208"/>
                  <a:pt x="1451990" y="184504"/>
                  <a:pt x="1459510" y="192035"/>
                </a:cubicBezTo>
                <a:cubicBezTo>
                  <a:pt x="1440711" y="192035"/>
                  <a:pt x="1436952" y="199566"/>
                  <a:pt x="1421913" y="207097"/>
                </a:cubicBezTo>
                <a:cubicBezTo>
                  <a:pt x="1429432" y="210862"/>
                  <a:pt x="1440711" y="207097"/>
                  <a:pt x="1451990" y="207097"/>
                </a:cubicBezTo>
                <a:cubicBezTo>
                  <a:pt x="1451990" y="207097"/>
                  <a:pt x="1451990" y="207097"/>
                  <a:pt x="1451990" y="210862"/>
                </a:cubicBezTo>
                <a:cubicBezTo>
                  <a:pt x="1474549" y="214628"/>
                  <a:pt x="1485828" y="210862"/>
                  <a:pt x="1512146" y="210862"/>
                </a:cubicBezTo>
                <a:cubicBezTo>
                  <a:pt x="1512146" y="210862"/>
                  <a:pt x="1512146" y="210862"/>
                  <a:pt x="1512146" y="214628"/>
                </a:cubicBezTo>
                <a:cubicBezTo>
                  <a:pt x="1512146" y="214628"/>
                  <a:pt x="1512146" y="214628"/>
                  <a:pt x="1534705" y="214628"/>
                </a:cubicBezTo>
                <a:cubicBezTo>
                  <a:pt x="1534705" y="210862"/>
                  <a:pt x="1538464" y="210862"/>
                  <a:pt x="1538464" y="210862"/>
                </a:cubicBezTo>
                <a:cubicBezTo>
                  <a:pt x="1534705" y="214628"/>
                  <a:pt x="1530945" y="218393"/>
                  <a:pt x="1538464" y="218393"/>
                </a:cubicBezTo>
                <a:cubicBezTo>
                  <a:pt x="1530945" y="222158"/>
                  <a:pt x="1523426" y="222158"/>
                  <a:pt x="1515906" y="225924"/>
                </a:cubicBezTo>
                <a:cubicBezTo>
                  <a:pt x="1523426" y="229689"/>
                  <a:pt x="1538464" y="225924"/>
                  <a:pt x="1549744" y="229689"/>
                </a:cubicBezTo>
                <a:cubicBezTo>
                  <a:pt x="1549744" y="229689"/>
                  <a:pt x="1549744" y="233455"/>
                  <a:pt x="1542224" y="237220"/>
                </a:cubicBezTo>
                <a:cubicBezTo>
                  <a:pt x="1609900" y="252282"/>
                  <a:pt x="1651257" y="222158"/>
                  <a:pt x="1722692" y="225924"/>
                </a:cubicBezTo>
                <a:cubicBezTo>
                  <a:pt x="1730211" y="222158"/>
                  <a:pt x="1745250" y="214628"/>
                  <a:pt x="1764049" y="218393"/>
                </a:cubicBezTo>
                <a:cubicBezTo>
                  <a:pt x="1767809" y="225924"/>
                  <a:pt x="1790367" y="218393"/>
                  <a:pt x="1801646" y="218393"/>
                </a:cubicBezTo>
                <a:cubicBezTo>
                  <a:pt x="1801646" y="218393"/>
                  <a:pt x="1801646" y="218393"/>
                  <a:pt x="1809166" y="214628"/>
                </a:cubicBezTo>
                <a:cubicBezTo>
                  <a:pt x="1846763" y="225924"/>
                  <a:pt x="1899399" y="214628"/>
                  <a:pt x="1940757" y="214628"/>
                </a:cubicBezTo>
                <a:cubicBezTo>
                  <a:pt x="1985873" y="188270"/>
                  <a:pt x="2030990" y="225924"/>
                  <a:pt x="2083627" y="203331"/>
                </a:cubicBezTo>
                <a:cubicBezTo>
                  <a:pt x="2091146" y="207097"/>
                  <a:pt x="2109945" y="203331"/>
                  <a:pt x="2124984" y="203331"/>
                </a:cubicBezTo>
                <a:cubicBezTo>
                  <a:pt x="2124984" y="203331"/>
                  <a:pt x="2124984" y="203331"/>
                  <a:pt x="2128744" y="199566"/>
                </a:cubicBezTo>
                <a:cubicBezTo>
                  <a:pt x="2128744" y="199566"/>
                  <a:pt x="2128744" y="199566"/>
                  <a:pt x="2117464" y="195801"/>
                </a:cubicBezTo>
                <a:cubicBezTo>
                  <a:pt x="2124984" y="195801"/>
                  <a:pt x="2128744" y="195801"/>
                  <a:pt x="2128744" y="192035"/>
                </a:cubicBezTo>
                <a:cubicBezTo>
                  <a:pt x="2128744" y="192035"/>
                  <a:pt x="2128744" y="192035"/>
                  <a:pt x="2121224" y="188270"/>
                </a:cubicBezTo>
                <a:cubicBezTo>
                  <a:pt x="2143782" y="195801"/>
                  <a:pt x="2170101" y="176974"/>
                  <a:pt x="2192659" y="184504"/>
                </a:cubicBezTo>
                <a:cubicBezTo>
                  <a:pt x="2196419" y="188270"/>
                  <a:pt x="2185140" y="195801"/>
                  <a:pt x="2196419" y="199566"/>
                </a:cubicBezTo>
                <a:cubicBezTo>
                  <a:pt x="2203938" y="199566"/>
                  <a:pt x="2207698" y="199566"/>
                  <a:pt x="2215218" y="195801"/>
                </a:cubicBezTo>
                <a:cubicBezTo>
                  <a:pt x="2215218" y="195801"/>
                  <a:pt x="2215218" y="195801"/>
                  <a:pt x="2203938" y="188270"/>
                </a:cubicBezTo>
                <a:cubicBezTo>
                  <a:pt x="2218977" y="184504"/>
                  <a:pt x="2245295" y="192035"/>
                  <a:pt x="2271614" y="188270"/>
                </a:cubicBezTo>
                <a:cubicBezTo>
                  <a:pt x="2309211" y="188270"/>
                  <a:pt x="2354328" y="176974"/>
                  <a:pt x="2395685" y="184504"/>
                </a:cubicBezTo>
                <a:cubicBezTo>
                  <a:pt x="2391925" y="180739"/>
                  <a:pt x="2406964" y="169443"/>
                  <a:pt x="2422003" y="169443"/>
                </a:cubicBezTo>
                <a:cubicBezTo>
                  <a:pt x="2478399" y="176974"/>
                  <a:pt x="2534795" y="150616"/>
                  <a:pt x="2564873" y="180739"/>
                </a:cubicBezTo>
                <a:cubicBezTo>
                  <a:pt x="2628789" y="180739"/>
                  <a:pt x="2673906" y="184504"/>
                  <a:pt x="2737821" y="176974"/>
                </a:cubicBezTo>
                <a:cubicBezTo>
                  <a:pt x="2737821" y="176974"/>
                  <a:pt x="2737821" y="176974"/>
                  <a:pt x="2737821" y="169443"/>
                </a:cubicBezTo>
                <a:cubicBezTo>
                  <a:pt x="2756620" y="173208"/>
                  <a:pt x="2775419" y="173208"/>
                  <a:pt x="2794217" y="176974"/>
                </a:cubicBezTo>
                <a:cubicBezTo>
                  <a:pt x="2794217" y="176974"/>
                  <a:pt x="2794217" y="176974"/>
                  <a:pt x="2805496" y="169443"/>
                </a:cubicBezTo>
                <a:cubicBezTo>
                  <a:pt x="3076198" y="161912"/>
                  <a:pt x="3290503" y="158147"/>
                  <a:pt x="3568723" y="165678"/>
                </a:cubicBezTo>
                <a:cubicBezTo>
                  <a:pt x="3568723" y="165678"/>
                  <a:pt x="3568723" y="165678"/>
                  <a:pt x="3673996" y="158147"/>
                </a:cubicBezTo>
                <a:cubicBezTo>
                  <a:pt x="3673996" y="169443"/>
                  <a:pt x="3707834" y="158147"/>
                  <a:pt x="3719113" y="161912"/>
                </a:cubicBezTo>
                <a:cubicBezTo>
                  <a:pt x="3786788" y="154381"/>
                  <a:pt x="3828145" y="176974"/>
                  <a:pt x="3880782" y="150616"/>
                </a:cubicBezTo>
                <a:cubicBezTo>
                  <a:pt x="3880782" y="150616"/>
                  <a:pt x="3880782" y="150616"/>
                  <a:pt x="3869503" y="161912"/>
                </a:cubicBezTo>
                <a:cubicBezTo>
                  <a:pt x="3884541" y="169443"/>
                  <a:pt x="3914619" y="158147"/>
                  <a:pt x="3922139" y="169443"/>
                </a:cubicBezTo>
                <a:cubicBezTo>
                  <a:pt x="3959736" y="154381"/>
                  <a:pt x="4001093" y="169443"/>
                  <a:pt x="4046210" y="165678"/>
                </a:cubicBezTo>
                <a:cubicBezTo>
                  <a:pt x="4046210" y="165678"/>
                  <a:pt x="4046210" y="165678"/>
                  <a:pt x="4083807" y="165678"/>
                </a:cubicBezTo>
                <a:cubicBezTo>
                  <a:pt x="4083807" y="165678"/>
                  <a:pt x="4083807" y="165678"/>
                  <a:pt x="4083807" y="169443"/>
                </a:cubicBezTo>
                <a:cubicBezTo>
                  <a:pt x="4102606" y="176974"/>
                  <a:pt x="4162762" y="165678"/>
                  <a:pt x="4181561" y="173208"/>
                </a:cubicBezTo>
                <a:cubicBezTo>
                  <a:pt x="4211639" y="161912"/>
                  <a:pt x="4234197" y="184504"/>
                  <a:pt x="4264275" y="173208"/>
                </a:cubicBezTo>
                <a:cubicBezTo>
                  <a:pt x="4275554" y="184504"/>
                  <a:pt x="4298113" y="176974"/>
                  <a:pt x="4316911" y="184504"/>
                </a:cubicBezTo>
                <a:cubicBezTo>
                  <a:pt x="4350749" y="184504"/>
                  <a:pt x="4399626" y="195801"/>
                  <a:pt x="4440983" y="184504"/>
                </a:cubicBezTo>
                <a:cubicBezTo>
                  <a:pt x="4433463" y="184504"/>
                  <a:pt x="4433463" y="188270"/>
                  <a:pt x="4433463" y="192035"/>
                </a:cubicBezTo>
                <a:cubicBezTo>
                  <a:pt x="4467301" y="195801"/>
                  <a:pt x="4493619" y="192035"/>
                  <a:pt x="4512418" y="199566"/>
                </a:cubicBezTo>
                <a:cubicBezTo>
                  <a:pt x="4508658" y="214628"/>
                  <a:pt x="4534976" y="203331"/>
                  <a:pt x="4550015" y="203331"/>
                </a:cubicBezTo>
                <a:cubicBezTo>
                  <a:pt x="4550015" y="203331"/>
                  <a:pt x="4550015" y="203331"/>
                  <a:pt x="4557535" y="199566"/>
                </a:cubicBezTo>
                <a:cubicBezTo>
                  <a:pt x="4550015" y="210862"/>
                  <a:pt x="4595132" y="199566"/>
                  <a:pt x="4568814" y="207097"/>
                </a:cubicBezTo>
                <a:cubicBezTo>
                  <a:pt x="4583853" y="225924"/>
                  <a:pt x="4640249" y="210862"/>
                  <a:pt x="4644009" y="233455"/>
                </a:cubicBezTo>
                <a:cubicBezTo>
                  <a:pt x="4700405" y="218393"/>
                  <a:pt x="4722963" y="248516"/>
                  <a:pt x="4775599" y="237220"/>
                </a:cubicBezTo>
                <a:cubicBezTo>
                  <a:pt x="4794399" y="214628"/>
                  <a:pt x="4790639" y="214628"/>
                  <a:pt x="4828236" y="199566"/>
                </a:cubicBezTo>
                <a:cubicBezTo>
                  <a:pt x="4816957" y="192035"/>
                  <a:pt x="4771840" y="207097"/>
                  <a:pt x="4783119" y="188270"/>
                </a:cubicBezTo>
                <a:cubicBezTo>
                  <a:pt x="4801918" y="192035"/>
                  <a:pt x="4835755" y="173208"/>
                  <a:pt x="4828236" y="195801"/>
                </a:cubicBezTo>
                <a:cubicBezTo>
                  <a:pt x="4835755" y="188270"/>
                  <a:pt x="4854554" y="188270"/>
                  <a:pt x="4850795" y="180739"/>
                </a:cubicBezTo>
                <a:cubicBezTo>
                  <a:pt x="4824476" y="173208"/>
                  <a:pt x="4847035" y="143085"/>
                  <a:pt x="4794399" y="150616"/>
                </a:cubicBezTo>
                <a:cubicBezTo>
                  <a:pt x="4794399" y="150616"/>
                  <a:pt x="4794399" y="150616"/>
                  <a:pt x="4813197" y="143085"/>
                </a:cubicBezTo>
                <a:cubicBezTo>
                  <a:pt x="4805677" y="128024"/>
                  <a:pt x="4764321" y="139320"/>
                  <a:pt x="4738002" y="135554"/>
                </a:cubicBezTo>
                <a:cubicBezTo>
                  <a:pt x="4722963" y="146851"/>
                  <a:pt x="4696645" y="131789"/>
                  <a:pt x="4677847" y="139320"/>
                </a:cubicBezTo>
                <a:cubicBezTo>
                  <a:pt x="4689125" y="128024"/>
                  <a:pt x="4659047" y="124258"/>
                  <a:pt x="4644009" y="116727"/>
                </a:cubicBezTo>
                <a:cubicBezTo>
                  <a:pt x="4591373" y="128024"/>
                  <a:pt x="4565054" y="105431"/>
                  <a:pt x="4516177" y="109197"/>
                </a:cubicBezTo>
                <a:cubicBezTo>
                  <a:pt x="4508658" y="101666"/>
                  <a:pt x="4452262" y="112962"/>
                  <a:pt x="4444743" y="90370"/>
                </a:cubicBezTo>
                <a:cubicBezTo>
                  <a:pt x="4418425" y="90370"/>
                  <a:pt x="4403385" y="90370"/>
                  <a:pt x="4380827" y="82839"/>
                </a:cubicBezTo>
                <a:cubicBezTo>
                  <a:pt x="4380827" y="82839"/>
                  <a:pt x="4380827" y="82839"/>
                  <a:pt x="4365788" y="90370"/>
                </a:cubicBezTo>
                <a:cubicBezTo>
                  <a:pt x="4365788" y="90370"/>
                  <a:pt x="4362028" y="86604"/>
                  <a:pt x="4354509" y="86604"/>
                </a:cubicBezTo>
                <a:cubicBezTo>
                  <a:pt x="4346989" y="86604"/>
                  <a:pt x="4343229" y="79073"/>
                  <a:pt x="4331951" y="82839"/>
                </a:cubicBezTo>
                <a:cubicBezTo>
                  <a:pt x="4331951" y="82839"/>
                  <a:pt x="4331951" y="82839"/>
                  <a:pt x="4335710" y="67777"/>
                </a:cubicBezTo>
                <a:cubicBezTo>
                  <a:pt x="4380827" y="71543"/>
                  <a:pt x="4429703" y="75308"/>
                  <a:pt x="4474821" y="79073"/>
                </a:cubicBezTo>
                <a:cubicBezTo>
                  <a:pt x="4474821" y="101666"/>
                  <a:pt x="4531217" y="86604"/>
                  <a:pt x="4561295" y="90370"/>
                </a:cubicBezTo>
                <a:cubicBezTo>
                  <a:pt x="4602651" y="97900"/>
                  <a:pt x="4655288" y="82839"/>
                  <a:pt x="4681606" y="94135"/>
                </a:cubicBezTo>
                <a:cubicBezTo>
                  <a:pt x="4681606" y="94135"/>
                  <a:pt x="4681606" y="94135"/>
                  <a:pt x="4685366" y="97900"/>
                </a:cubicBezTo>
                <a:cubicBezTo>
                  <a:pt x="4719203" y="101666"/>
                  <a:pt x="4749281" y="120493"/>
                  <a:pt x="4801918" y="109197"/>
                </a:cubicBezTo>
                <a:cubicBezTo>
                  <a:pt x="4801918" y="109197"/>
                  <a:pt x="4801918" y="109197"/>
                  <a:pt x="4809437" y="112962"/>
                </a:cubicBezTo>
                <a:cubicBezTo>
                  <a:pt x="4809437" y="112962"/>
                  <a:pt x="4809437" y="112962"/>
                  <a:pt x="4824476" y="105431"/>
                </a:cubicBezTo>
                <a:cubicBezTo>
                  <a:pt x="4824476" y="105431"/>
                  <a:pt x="4824476" y="105431"/>
                  <a:pt x="4828236" y="109197"/>
                </a:cubicBezTo>
                <a:cubicBezTo>
                  <a:pt x="4824476" y="112962"/>
                  <a:pt x="4801918" y="116727"/>
                  <a:pt x="4805677" y="124258"/>
                </a:cubicBezTo>
                <a:cubicBezTo>
                  <a:pt x="4839515" y="128024"/>
                  <a:pt x="4865833" y="128024"/>
                  <a:pt x="4903431" y="124258"/>
                </a:cubicBezTo>
                <a:cubicBezTo>
                  <a:pt x="4888392" y="131789"/>
                  <a:pt x="4899671" y="150616"/>
                  <a:pt x="4925989" y="143085"/>
                </a:cubicBezTo>
                <a:cubicBezTo>
                  <a:pt x="4925989" y="143085"/>
                  <a:pt x="4925989" y="143085"/>
                  <a:pt x="4941028" y="143085"/>
                </a:cubicBezTo>
                <a:cubicBezTo>
                  <a:pt x="4971106" y="120493"/>
                  <a:pt x="4914710" y="128024"/>
                  <a:pt x="4922229" y="109197"/>
                </a:cubicBezTo>
                <a:cubicBezTo>
                  <a:pt x="4933509" y="105431"/>
                  <a:pt x="4948547" y="105431"/>
                  <a:pt x="4956067" y="97900"/>
                </a:cubicBezTo>
                <a:cubicBezTo>
                  <a:pt x="4956067" y="97900"/>
                  <a:pt x="4956067" y="97900"/>
                  <a:pt x="4959827" y="94135"/>
                </a:cubicBezTo>
                <a:cubicBezTo>
                  <a:pt x="4952307" y="86604"/>
                  <a:pt x="4937269" y="97900"/>
                  <a:pt x="4922229" y="97900"/>
                </a:cubicBezTo>
                <a:cubicBezTo>
                  <a:pt x="4922229" y="90370"/>
                  <a:pt x="4914710" y="86604"/>
                  <a:pt x="4903431" y="86604"/>
                </a:cubicBezTo>
                <a:cubicBezTo>
                  <a:pt x="4910950" y="82839"/>
                  <a:pt x="4922229" y="79073"/>
                  <a:pt x="4933509" y="75308"/>
                </a:cubicBezTo>
                <a:cubicBezTo>
                  <a:pt x="4937269" y="75308"/>
                  <a:pt x="4933509" y="71543"/>
                  <a:pt x="4929749" y="71543"/>
                </a:cubicBezTo>
                <a:cubicBezTo>
                  <a:pt x="4989905" y="67777"/>
                  <a:pt x="5004943" y="97900"/>
                  <a:pt x="5068859" y="79073"/>
                </a:cubicBezTo>
                <a:cubicBezTo>
                  <a:pt x="5068859" y="79073"/>
                  <a:pt x="5068859" y="79073"/>
                  <a:pt x="5061339" y="75308"/>
                </a:cubicBezTo>
                <a:cubicBezTo>
                  <a:pt x="5068859" y="75308"/>
                  <a:pt x="5117736" y="79073"/>
                  <a:pt x="5132775" y="75308"/>
                </a:cubicBezTo>
                <a:cubicBezTo>
                  <a:pt x="5132775" y="75308"/>
                  <a:pt x="5132775" y="75308"/>
                  <a:pt x="5136535" y="71543"/>
                </a:cubicBezTo>
                <a:cubicBezTo>
                  <a:pt x="5125255" y="67777"/>
                  <a:pt x="5102697" y="71543"/>
                  <a:pt x="5087658" y="71543"/>
                </a:cubicBezTo>
                <a:cubicBezTo>
                  <a:pt x="5125255" y="60247"/>
                  <a:pt x="5147813" y="60247"/>
                  <a:pt x="5189171" y="52716"/>
                </a:cubicBezTo>
                <a:cubicBezTo>
                  <a:pt x="5189171" y="52716"/>
                  <a:pt x="5189171" y="52716"/>
                  <a:pt x="5095177" y="101666"/>
                </a:cubicBezTo>
                <a:cubicBezTo>
                  <a:pt x="5129015" y="112962"/>
                  <a:pt x="5083898" y="120493"/>
                  <a:pt x="5065099" y="131789"/>
                </a:cubicBezTo>
                <a:cubicBezTo>
                  <a:pt x="5042541" y="150616"/>
                  <a:pt x="4997424" y="135554"/>
                  <a:pt x="4971106" y="161912"/>
                </a:cubicBezTo>
                <a:cubicBezTo>
                  <a:pt x="5001184" y="158147"/>
                  <a:pt x="5004943" y="158147"/>
                  <a:pt x="5035021" y="165678"/>
                </a:cubicBezTo>
                <a:cubicBezTo>
                  <a:pt x="5035021" y="165678"/>
                  <a:pt x="5035021" y="165678"/>
                  <a:pt x="5023743" y="184504"/>
                </a:cubicBezTo>
                <a:cubicBezTo>
                  <a:pt x="4971106" y="207097"/>
                  <a:pt x="4910950" y="237220"/>
                  <a:pt x="4869593" y="263578"/>
                </a:cubicBezTo>
                <a:cubicBezTo>
                  <a:pt x="4873353" y="267343"/>
                  <a:pt x="4880873" y="267343"/>
                  <a:pt x="4884632" y="267343"/>
                </a:cubicBezTo>
                <a:cubicBezTo>
                  <a:pt x="4843275" y="278639"/>
                  <a:pt x="4839515" y="304997"/>
                  <a:pt x="4798158" y="312528"/>
                </a:cubicBezTo>
                <a:cubicBezTo>
                  <a:pt x="4801918" y="316293"/>
                  <a:pt x="4801918" y="320059"/>
                  <a:pt x="4809437" y="316293"/>
                </a:cubicBezTo>
                <a:cubicBezTo>
                  <a:pt x="4813197" y="327589"/>
                  <a:pt x="4790639" y="320059"/>
                  <a:pt x="4783119" y="327589"/>
                </a:cubicBezTo>
                <a:cubicBezTo>
                  <a:pt x="4783119" y="320059"/>
                  <a:pt x="4798158" y="308762"/>
                  <a:pt x="4783119" y="304997"/>
                </a:cubicBezTo>
                <a:cubicBezTo>
                  <a:pt x="4760561" y="312528"/>
                  <a:pt x="4756801" y="327589"/>
                  <a:pt x="4760561" y="335120"/>
                </a:cubicBezTo>
                <a:cubicBezTo>
                  <a:pt x="4768080" y="346416"/>
                  <a:pt x="4783119" y="346416"/>
                  <a:pt x="4801918" y="342651"/>
                </a:cubicBezTo>
                <a:cubicBezTo>
                  <a:pt x="4798158" y="346416"/>
                  <a:pt x="4801918" y="346416"/>
                  <a:pt x="4801918" y="350182"/>
                </a:cubicBezTo>
                <a:cubicBezTo>
                  <a:pt x="4809437" y="350182"/>
                  <a:pt x="4816957" y="350182"/>
                  <a:pt x="4820717" y="346416"/>
                </a:cubicBezTo>
                <a:cubicBezTo>
                  <a:pt x="4820717" y="346416"/>
                  <a:pt x="4820717" y="346416"/>
                  <a:pt x="4816957" y="342651"/>
                </a:cubicBezTo>
                <a:cubicBezTo>
                  <a:pt x="4816957" y="342651"/>
                  <a:pt x="4816957" y="342651"/>
                  <a:pt x="4850795" y="342651"/>
                </a:cubicBezTo>
                <a:cubicBezTo>
                  <a:pt x="4862073" y="338886"/>
                  <a:pt x="4854554" y="335120"/>
                  <a:pt x="4850795" y="331355"/>
                </a:cubicBezTo>
                <a:cubicBezTo>
                  <a:pt x="4862073" y="327589"/>
                  <a:pt x="4892151" y="335120"/>
                  <a:pt x="4910950" y="323824"/>
                </a:cubicBezTo>
                <a:cubicBezTo>
                  <a:pt x="4877113" y="312528"/>
                  <a:pt x="4937269" y="304997"/>
                  <a:pt x="4918469" y="293701"/>
                </a:cubicBezTo>
                <a:cubicBezTo>
                  <a:pt x="4910950" y="293701"/>
                  <a:pt x="4937269" y="289935"/>
                  <a:pt x="4937269" y="278639"/>
                </a:cubicBezTo>
                <a:cubicBezTo>
                  <a:pt x="4937269" y="278639"/>
                  <a:pt x="4937269" y="278639"/>
                  <a:pt x="4941028" y="278639"/>
                </a:cubicBezTo>
                <a:cubicBezTo>
                  <a:pt x="4959827" y="263578"/>
                  <a:pt x="4989905" y="274874"/>
                  <a:pt x="4997424" y="256047"/>
                </a:cubicBezTo>
                <a:cubicBezTo>
                  <a:pt x="5050061" y="244751"/>
                  <a:pt x="4993665" y="271108"/>
                  <a:pt x="5042541" y="263578"/>
                </a:cubicBezTo>
                <a:cubicBezTo>
                  <a:pt x="5038781" y="271108"/>
                  <a:pt x="5027502" y="271108"/>
                  <a:pt x="5027502" y="278639"/>
                </a:cubicBezTo>
                <a:cubicBezTo>
                  <a:pt x="5027502" y="278639"/>
                  <a:pt x="5027502" y="278639"/>
                  <a:pt x="5061339" y="278639"/>
                </a:cubicBezTo>
                <a:cubicBezTo>
                  <a:pt x="5068859" y="301232"/>
                  <a:pt x="4986145" y="308762"/>
                  <a:pt x="5019983" y="323824"/>
                </a:cubicBezTo>
                <a:cubicBezTo>
                  <a:pt x="5019983" y="323824"/>
                  <a:pt x="5019983" y="323824"/>
                  <a:pt x="5012463" y="342651"/>
                </a:cubicBezTo>
                <a:cubicBezTo>
                  <a:pt x="4997424" y="346416"/>
                  <a:pt x="5004943" y="338886"/>
                  <a:pt x="5001184" y="335120"/>
                </a:cubicBezTo>
                <a:cubicBezTo>
                  <a:pt x="5001184" y="331355"/>
                  <a:pt x="5004943" y="327589"/>
                  <a:pt x="5001184" y="327589"/>
                </a:cubicBezTo>
                <a:cubicBezTo>
                  <a:pt x="4993665" y="327589"/>
                  <a:pt x="4982385" y="331355"/>
                  <a:pt x="4986145" y="335120"/>
                </a:cubicBezTo>
                <a:cubicBezTo>
                  <a:pt x="4986145" y="335120"/>
                  <a:pt x="4986145" y="335120"/>
                  <a:pt x="4978625" y="335120"/>
                </a:cubicBezTo>
                <a:cubicBezTo>
                  <a:pt x="4978625" y="335120"/>
                  <a:pt x="4978625" y="335120"/>
                  <a:pt x="4993665" y="301232"/>
                </a:cubicBezTo>
                <a:cubicBezTo>
                  <a:pt x="5001184" y="304997"/>
                  <a:pt x="5008703" y="301232"/>
                  <a:pt x="5008703" y="297466"/>
                </a:cubicBezTo>
                <a:cubicBezTo>
                  <a:pt x="5008703" y="297466"/>
                  <a:pt x="5008703" y="297466"/>
                  <a:pt x="5012463" y="286170"/>
                </a:cubicBezTo>
                <a:cubicBezTo>
                  <a:pt x="5019983" y="286170"/>
                  <a:pt x="5019983" y="286170"/>
                  <a:pt x="5027502" y="282405"/>
                </a:cubicBezTo>
                <a:cubicBezTo>
                  <a:pt x="5023743" y="271108"/>
                  <a:pt x="4989905" y="274874"/>
                  <a:pt x="4982385" y="286170"/>
                </a:cubicBezTo>
                <a:cubicBezTo>
                  <a:pt x="4963587" y="308762"/>
                  <a:pt x="4925989" y="335120"/>
                  <a:pt x="4888392" y="353947"/>
                </a:cubicBezTo>
                <a:cubicBezTo>
                  <a:pt x="4888392" y="353947"/>
                  <a:pt x="4888392" y="353947"/>
                  <a:pt x="4884632" y="365243"/>
                </a:cubicBezTo>
                <a:cubicBezTo>
                  <a:pt x="4877113" y="365243"/>
                  <a:pt x="4873353" y="365243"/>
                  <a:pt x="4869593" y="369009"/>
                </a:cubicBezTo>
                <a:cubicBezTo>
                  <a:pt x="4865833" y="376539"/>
                  <a:pt x="4880873" y="372774"/>
                  <a:pt x="4880873" y="380305"/>
                </a:cubicBezTo>
                <a:cubicBezTo>
                  <a:pt x="4877113" y="384070"/>
                  <a:pt x="4865833" y="384070"/>
                  <a:pt x="4865833" y="387836"/>
                </a:cubicBezTo>
                <a:cubicBezTo>
                  <a:pt x="4880873" y="395366"/>
                  <a:pt x="4888392" y="380305"/>
                  <a:pt x="4903431" y="391601"/>
                </a:cubicBezTo>
                <a:cubicBezTo>
                  <a:pt x="4910950" y="391601"/>
                  <a:pt x="4918469" y="387836"/>
                  <a:pt x="4929749" y="384070"/>
                </a:cubicBezTo>
                <a:cubicBezTo>
                  <a:pt x="4925989" y="387836"/>
                  <a:pt x="4925989" y="391601"/>
                  <a:pt x="4918469" y="395366"/>
                </a:cubicBezTo>
                <a:cubicBezTo>
                  <a:pt x="4918469" y="395366"/>
                  <a:pt x="4918469" y="395366"/>
                  <a:pt x="4925989" y="399132"/>
                </a:cubicBezTo>
                <a:cubicBezTo>
                  <a:pt x="4925989" y="399132"/>
                  <a:pt x="4925989" y="399132"/>
                  <a:pt x="4971106" y="380305"/>
                </a:cubicBezTo>
                <a:cubicBezTo>
                  <a:pt x="4982385" y="395366"/>
                  <a:pt x="4941028" y="421724"/>
                  <a:pt x="4967347" y="429255"/>
                </a:cubicBezTo>
                <a:cubicBezTo>
                  <a:pt x="4989905" y="414193"/>
                  <a:pt x="4982385" y="406663"/>
                  <a:pt x="5001184" y="391601"/>
                </a:cubicBezTo>
                <a:cubicBezTo>
                  <a:pt x="5001184" y="391601"/>
                  <a:pt x="5001184" y="391601"/>
                  <a:pt x="5012463" y="391601"/>
                </a:cubicBezTo>
                <a:cubicBezTo>
                  <a:pt x="4989905" y="414193"/>
                  <a:pt x="4974865" y="448082"/>
                  <a:pt x="4974865" y="466909"/>
                </a:cubicBezTo>
                <a:cubicBezTo>
                  <a:pt x="4974865" y="466909"/>
                  <a:pt x="4974865" y="466909"/>
                  <a:pt x="4971106" y="466909"/>
                </a:cubicBezTo>
                <a:cubicBezTo>
                  <a:pt x="4971106" y="466909"/>
                  <a:pt x="4971106" y="466909"/>
                  <a:pt x="4963587" y="470674"/>
                </a:cubicBezTo>
                <a:cubicBezTo>
                  <a:pt x="4959827" y="466909"/>
                  <a:pt x="4956067" y="470674"/>
                  <a:pt x="4952307" y="470674"/>
                </a:cubicBezTo>
                <a:cubicBezTo>
                  <a:pt x="4944788" y="470674"/>
                  <a:pt x="4937269" y="474440"/>
                  <a:pt x="4929749" y="474440"/>
                </a:cubicBezTo>
                <a:cubicBezTo>
                  <a:pt x="4952307" y="470674"/>
                  <a:pt x="4952307" y="470674"/>
                  <a:pt x="4952307" y="470674"/>
                </a:cubicBezTo>
                <a:cubicBezTo>
                  <a:pt x="4952307" y="470674"/>
                  <a:pt x="4952307" y="470674"/>
                  <a:pt x="4963587" y="470674"/>
                </a:cubicBezTo>
                <a:cubicBezTo>
                  <a:pt x="4963587" y="470674"/>
                  <a:pt x="4963587" y="470674"/>
                  <a:pt x="4967347" y="470674"/>
                </a:cubicBezTo>
                <a:cubicBezTo>
                  <a:pt x="4967347" y="470674"/>
                  <a:pt x="4967347" y="470674"/>
                  <a:pt x="4944788" y="481970"/>
                </a:cubicBezTo>
                <a:cubicBezTo>
                  <a:pt x="4944788" y="485736"/>
                  <a:pt x="4952307" y="485736"/>
                  <a:pt x="4959827" y="485736"/>
                </a:cubicBezTo>
                <a:cubicBezTo>
                  <a:pt x="4959827" y="485736"/>
                  <a:pt x="4959827" y="485736"/>
                  <a:pt x="4974865" y="474440"/>
                </a:cubicBezTo>
                <a:cubicBezTo>
                  <a:pt x="4974865" y="474440"/>
                  <a:pt x="4974865" y="474440"/>
                  <a:pt x="4978625" y="478205"/>
                </a:cubicBezTo>
                <a:cubicBezTo>
                  <a:pt x="4997424" y="470674"/>
                  <a:pt x="4974865" y="463144"/>
                  <a:pt x="4993665" y="455613"/>
                </a:cubicBezTo>
                <a:cubicBezTo>
                  <a:pt x="4993665" y="455613"/>
                  <a:pt x="4993665" y="455613"/>
                  <a:pt x="5004943" y="455613"/>
                </a:cubicBezTo>
                <a:cubicBezTo>
                  <a:pt x="5001184" y="474440"/>
                  <a:pt x="4997424" y="493267"/>
                  <a:pt x="5019983" y="497032"/>
                </a:cubicBezTo>
                <a:cubicBezTo>
                  <a:pt x="5042541" y="489501"/>
                  <a:pt x="5038781" y="478205"/>
                  <a:pt x="5046301" y="466909"/>
                </a:cubicBezTo>
                <a:cubicBezTo>
                  <a:pt x="5038781" y="463144"/>
                  <a:pt x="5038781" y="459378"/>
                  <a:pt x="5042541" y="451847"/>
                </a:cubicBezTo>
                <a:cubicBezTo>
                  <a:pt x="5053821" y="451847"/>
                  <a:pt x="5061339" y="455613"/>
                  <a:pt x="5065099" y="448082"/>
                </a:cubicBezTo>
                <a:cubicBezTo>
                  <a:pt x="5065099" y="448082"/>
                  <a:pt x="5065099" y="448082"/>
                  <a:pt x="5065099" y="474440"/>
                </a:cubicBezTo>
                <a:cubicBezTo>
                  <a:pt x="5065099" y="474440"/>
                  <a:pt x="5065099" y="474440"/>
                  <a:pt x="5080139" y="470674"/>
                </a:cubicBezTo>
                <a:cubicBezTo>
                  <a:pt x="5087658" y="478205"/>
                  <a:pt x="5091417" y="489501"/>
                  <a:pt x="5095177" y="497032"/>
                </a:cubicBezTo>
                <a:cubicBezTo>
                  <a:pt x="5087658" y="493267"/>
                  <a:pt x="5080139" y="493267"/>
                  <a:pt x="5072619" y="500797"/>
                </a:cubicBezTo>
                <a:cubicBezTo>
                  <a:pt x="5072619" y="500797"/>
                  <a:pt x="5072619" y="500797"/>
                  <a:pt x="5053821" y="493267"/>
                </a:cubicBezTo>
                <a:cubicBezTo>
                  <a:pt x="5042541" y="497032"/>
                  <a:pt x="5027502" y="497032"/>
                  <a:pt x="5019983" y="504563"/>
                </a:cubicBezTo>
                <a:cubicBezTo>
                  <a:pt x="5019983" y="504563"/>
                  <a:pt x="5019983" y="504563"/>
                  <a:pt x="5038781" y="504563"/>
                </a:cubicBezTo>
                <a:cubicBezTo>
                  <a:pt x="5038781" y="504563"/>
                  <a:pt x="5038781" y="504563"/>
                  <a:pt x="5035021" y="508328"/>
                </a:cubicBezTo>
                <a:cubicBezTo>
                  <a:pt x="5068859" y="504563"/>
                  <a:pt x="5083898" y="512094"/>
                  <a:pt x="5102697" y="508328"/>
                </a:cubicBezTo>
                <a:cubicBezTo>
                  <a:pt x="5106457" y="512094"/>
                  <a:pt x="5106457" y="512094"/>
                  <a:pt x="5110217" y="512094"/>
                </a:cubicBezTo>
                <a:cubicBezTo>
                  <a:pt x="5113976" y="512094"/>
                  <a:pt x="5113976" y="508328"/>
                  <a:pt x="5113976" y="508328"/>
                </a:cubicBezTo>
                <a:cubicBezTo>
                  <a:pt x="5117736" y="504563"/>
                  <a:pt x="5121495" y="504563"/>
                  <a:pt x="5125255" y="504563"/>
                </a:cubicBezTo>
                <a:cubicBezTo>
                  <a:pt x="5125255" y="500797"/>
                  <a:pt x="5121495" y="504563"/>
                  <a:pt x="5113976" y="504563"/>
                </a:cubicBezTo>
                <a:cubicBezTo>
                  <a:pt x="5113976" y="497032"/>
                  <a:pt x="5110217" y="493267"/>
                  <a:pt x="5117736" y="485736"/>
                </a:cubicBezTo>
                <a:cubicBezTo>
                  <a:pt x="5106457" y="474440"/>
                  <a:pt x="5098937" y="463144"/>
                  <a:pt x="5113976" y="444317"/>
                </a:cubicBezTo>
                <a:cubicBezTo>
                  <a:pt x="5140295" y="455613"/>
                  <a:pt x="5106457" y="497032"/>
                  <a:pt x="5159093" y="489501"/>
                </a:cubicBezTo>
                <a:cubicBezTo>
                  <a:pt x="5159093" y="489501"/>
                  <a:pt x="5159093" y="489501"/>
                  <a:pt x="5162853" y="485736"/>
                </a:cubicBezTo>
                <a:cubicBezTo>
                  <a:pt x="5162853" y="485736"/>
                  <a:pt x="5166613" y="489501"/>
                  <a:pt x="5170372" y="489501"/>
                </a:cubicBezTo>
                <a:cubicBezTo>
                  <a:pt x="5177891" y="497032"/>
                  <a:pt x="5181651" y="508328"/>
                  <a:pt x="5170372" y="519624"/>
                </a:cubicBezTo>
                <a:cubicBezTo>
                  <a:pt x="5170372" y="519624"/>
                  <a:pt x="5170372" y="519624"/>
                  <a:pt x="5162853" y="508328"/>
                </a:cubicBezTo>
                <a:cubicBezTo>
                  <a:pt x="5155333" y="519624"/>
                  <a:pt x="5132775" y="534686"/>
                  <a:pt x="5144054" y="549748"/>
                </a:cubicBezTo>
                <a:cubicBezTo>
                  <a:pt x="5136535" y="545982"/>
                  <a:pt x="5121495" y="557278"/>
                  <a:pt x="5110217" y="564809"/>
                </a:cubicBezTo>
                <a:cubicBezTo>
                  <a:pt x="5113976" y="579870"/>
                  <a:pt x="5113976" y="594932"/>
                  <a:pt x="5129015" y="606228"/>
                </a:cubicBezTo>
                <a:cubicBezTo>
                  <a:pt x="5129015" y="606228"/>
                  <a:pt x="5129015" y="606228"/>
                  <a:pt x="5159093" y="591167"/>
                </a:cubicBezTo>
                <a:cubicBezTo>
                  <a:pt x="5174132" y="602463"/>
                  <a:pt x="5129015" y="606228"/>
                  <a:pt x="5129015" y="617524"/>
                </a:cubicBezTo>
                <a:cubicBezTo>
                  <a:pt x="5129015" y="640117"/>
                  <a:pt x="5147813" y="662709"/>
                  <a:pt x="5136535" y="681536"/>
                </a:cubicBezTo>
                <a:cubicBezTo>
                  <a:pt x="5151573" y="685301"/>
                  <a:pt x="5147813" y="689067"/>
                  <a:pt x="5159093" y="692832"/>
                </a:cubicBezTo>
                <a:cubicBezTo>
                  <a:pt x="5159093" y="692832"/>
                  <a:pt x="5159093" y="692832"/>
                  <a:pt x="5207969" y="670240"/>
                </a:cubicBezTo>
                <a:cubicBezTo>
                  <a:pt x="5207969" y="670240"/>
                  <a:pt x="5207969" y="670240"/>
                  <a:pt x="5215489" y="674005"/>
                </a:cubicBezTo>
                <a:cubicBezTo>
                  <a:pt x="5215489" y="674005"/>
                  <a:pt x="5215489" y="674005"/>
                  <a:pt x="5223009" y="670240"/>
                </a:cubicBezTo>
                <a:cubicBezTo>
                  <a:pt x="5223009" y="681536"/>
                  <a:pt x="5230528" y="692832"/>
                  <a:pt x="5226769" y="704128"/>
                </a:cubicBezTo>
                <a:cubicBezTo>
                  <a:pt x="5200450" y="722955"/>
                  <a:pt x="5162853" y="730486"/>
                  <a:pt x="5129015" y="745548"/>
                </a:cubicBezTo>
                <a:cubicBezTo>
                  <a:pt x="5129015" y="745548"/>
                  <a:pt x="5129015" y="745548"/>
                  <a:pt x="5113976" y="745548"/>
                </a:cubicBezTo>
                <a:cubicBezTo>
                  <a:pt x="5113976" y="745548"/>
                  <a:pt x="5113976" y="745548"/>
                  <a:pt x="5117736" y="741782"/>
                </a:cubicBezTo>
                <a:cubicBezTo>
                  <a:pt x="5117736" y="734252"/>
                  <a:pt x="5102697" y="741782"/>
                  <a:pt x="5095177" y="741782"/>
                </a:cubicBezTo>
                <a:cubicBezTo>
                  <a:pt x="5095177" y="741782"/>
                  <a:pt x="5095177" y="741782"/>
                  <a:pt x="5038781" y="749313"/>
                </a:cubicBezTo>
                <a:cubicBezTo>
                  <a:pt x="5061339" y="756844"/>
                  <a:pt x="5102697" y="753079"/>
                  <a:pt x="5117736" y="756844"/>
                </a:cubicBezTo>
                <a:cubicBezTo>
                  <a:pt x="5087658" y="771905"/>
                  <a:pt x="5046301" y="756844"/>
                  <a:pt x="5016223" y="775671"/>
                </a:cubicBezTo>
                <a:cubicBezTo>
                  <a:pt x="5008703" y="760609"/>
                  <a:pt x="4959827" y="771905"/>
                  <a:pt x="4933509" y="768140"/>
                </a:cubicBezTo>
                <a:cubicBezTo>
                  <a:pt x="4918469" y="775671"/>
                  <a:pt x="4910950" y="786967"/>
                  <a:pt x="4892151" y="790732"/>
                </a:cubicBezTo>
                <a:cubicBezTo>
                  <a:pt x="4892151" y="790732"/>
                  <a:pt x="4892151" y="790732"/>
                  <a:pt x="4888392" y="786967"/>
                </a:cubicBezTo>
                <a:cubicBezTo>
                  <a:pt x="4873353" y="790732"/>
                  <a:pt x="4862073" y="805794"/>
                  <a:pt x="4869593" y="809559"/>
                </a:cubicBezTo>
                <a:cubicBezTo>
                  <a:pt x="4869593" y="809559"/>
                  <a:pt x="4869593" y="809559"/>
                  <a:pt x="4873353" y="813325"/>
                </a:cubicBezTo>
                <a:cubicBezTo>
                  <a:pt x="4858314" y="813325"/>
                  <a:pt x="4839515" y="813325"/>
                  <a:pt x="4831995" y="805794"/>
                </a:cubicBezTo>
                <a:cubicBezTo>
                  <a:pt x="4809437" y="809559"/>
                  <a:pt x="4786879" y="813325"/>
                  <a:pt x="4771840" y="820856"/>
                </a:cubicBezTo>
                <a:lnTo>
                  <a:pt x="4764275" y="817267"/>
                </a:lnTo>
                <a:lnTo>
                  <a:pt x="4765000" y="823531"/>
                </a:lnTo>
                <a:cubicBezTo>
                  <a:pt x="4766410" y="834357"/>
                  <a:pt x="4771109" y="842828"/>
                  <a:pt x="4797427" y="839063"/>
                </a:cubicBezTo>
                <a:cubicBezTo>
                  <a:pt x="4797427" y="839063"/>
                  <a:pt x="4797427" y="839063"/>
                  <a:pt x="4801187" y="835298"/>
                </a:cubicBezTo>
                <a:cubicBezTo>
                  <a:pt x="4801187" y="835298"/>
                  <a:pt x="4804947" y="839063"/>
                  <a:pt x="4808706" y="839063"/>
                </a:cubicBezTo>
                <a:cubicBezTo>
                  <a:pt x="4816225" y="846594"/>
                  <a:pt x="4819985" y="857890"/>
                  <a:pt x="4808706" y="869186"/>
                </a:cubicBezTo>
                <a:cubicBezTo>
                  <a:pt x="4808706" y="869186"/>
                  <a:pt x="4808706" y="869186"/>
                  <a:pt x="4801187" y="857890"/>
                </a:cubicBezTo>
                <a:cubicBezTo>
                  <a:pt x="4793667" y="869186"/>
                  <a:pt x="4771109" y="884248"/>
                  <a:pt x="4782388" y="899309"/>
                </a:cubicBezTo>
                <a:cubicBezTo>
                  <a:pt x="4774869" y="895544"/>
                  <a:pt x="4759829" y="906840"/>
                  <a:pt x="4748551" y="914371"/>
                </a:cubicBezTo>
                <a:cubicBezTo>
                  <a:pt x="4752310" y="929432"/>
                  <a:pt x="4752310" y="944494"/>
                  <a:pt x="4767349" y="955790"/>
                </a:cubicBezTo>
                <a:cubicBezTo>
                  <a:pt x="4767349" y="955790"/>
                  <a:pt x="4767349" y="955790"/>
                  <a:pt x="4797427" y="940729"/>
                </a:cubicBezTo>
                <a:cubicBezTo>
                  <a:pt x="4812466" y="952025"/>
                  <a:pt x="4767349" y="955790"/>
                  <a:pt x="4767349" y="967086"/>
                </a:cubicBezTo>
                <a:cubicBezTo>
                  <a:pt x="4767349" y="989679"/>
                  <a:pt x="4786147" y="1012271"/>
                  <a:pt x="4774869" y="1031098"/>
                </a:cubicBezTo>
                <a:cubicBezTo>
                  <a:pt x="4789907" y="1034863"/>
                  <a:pt x="4786147" y="1038629"/>
                  <a:pt x="4797427" y="1042394"/>
                </a:cubicBezTo>
                <a:cubicBezTo>
                  <a:pt x="4797427" y="1042394"/>
                  <a:pt x="4797427" y="1042394"/>
                  <a:pt x="4846303" y="1019802"/>
                </a:cubicBezTo>
                <a:cubicBezTo>
                  <a:pt x="4846303" y="1019802"/>
                  <a:pt x="4846303" y="1019802"/>
                  <a:pt x="4853823" y="1023567"/>
                </a:cubicBezTo>
                <a:cubicBezTo>
                  <a:pt x="4853823" y="1023567"/>
                  <a:pt x="4853823" y="1023567"/>
                  <a:pt x="4861343" y="1019802"/>
                </a:cubicBezTo>
                <a:cubicBezTo>
                  <a:pt x="4861343" y="1031098"/>
                  <a:pt x="4868862" y="1042394"/>
                  <a:pt x="4865103" y="1053690"/>
                </a:cubicBezTo>
                <a:cubicBezTo>
                  <a:pt x="4838784" y="1072517"/>
                  <a:pt x="4801187" y="1080048"/>
                  <a:pt x="4767349" y="1095110"/>
                </a:cubicBezTo>
                <a:cubicBezTo>
                  <a:pt x="4767349" y="1095110"/>
                  <a:pt x="4767349" y="1095110"/>
                  <a:pt x="4752310" y="1095110"/>
                </a:cubicBezTo>
                <a:cubicBezTo>
                  <a:pt x="4752310" y="1095110"/>
                  <a:pt x="4752310" y="1095110"/>
                  <a:pt x="4756070" y="1091344"/>
                </a:cubicBezTo>
                <a:cubicBezTo>
                  <a:pt x="4756070" y="1083814"/>
                  <a:pt x="4741031" y="1091344"/>
                  <a:pt x="4733511" y="1091344"/>
                </a:cubicBezTo>
                <a:cubicBezTo>
                  <a:pt x="4733511" y="1091344"/>
                  <a:pt x="4733511" y="1091344"/>
                  <a:pt x="4677115" y="1098875"/>
                </a:cubicBezTo>
                <a:cubicBezTo>
                  <a:pt x="4699673" y="1106406"/>
                  <a:pt x="4741031" y="1102641"/>
                  <a:pt x="4756070" y="1106406"/>
                </a:cubicBezTo>
                <a:cubicBezTo>
                  <a:pt x="4725992" y="1121467"/>
                  <a:pt x="4684635" y="1106406"/>
                  <a:pt x="4654557" y="1125233"/>
                </a:cubicBezTo>
                <a:cubicBezTo>
                  <a:pt x="4647037" y="1110171"/>
                  <a:pt x="4598161" y="1121467"/>
                  <a:pt x="4571843" y="1117702"/>
                </a:cubicBezTo>
                <a:cubicBezTo>
                  <a:pt x="4556803" y="1125233"/>
                  <a:pt x="4549284" y="1136529"/>
                  <a:pt x="4530485" y="1140294"/>
                </a:cubicBezTo>
                <a:cubicBezTo>
                  <a:pt x="4530485" y="1140294"/>
                  <a:pt x="4530485" y="1140294"/>
                  <a:pt x="4526726" y="1136529"/>
                </a:cubicBezTo>
                <a:cubicBezTo>
                  <a:pt x="4511687" y="1140294"/>
                  <a:pt x="4500407" y="1155356"/>
                  <a:pt x="4507927" y="1159121"/>
                </a:cubicBezTo>
                <a:cubicBezTo>
                  <a:pt x="4507927" y="1159121"/>
                  <a:pt x="4507927" y="1159121"/>
                  <a:pt x="4511687" y="1162887"/>
                </a:cubicBezTo>
                <a:cubicBezTo>
                  <a:pt x="4496648" y="1162887"/>
                  <a:pt x="4477849" y="1162887"/>
                  <a:pt x="4470329" y="1155356"/>
                </a:cubicBezTo>
                <a:cubicBezTo>
                  <a:pt x="4447771" y="1159121"/>
                  <a:pt x="4425213" y="1162887"/>
                  <a:pt x="4410174" y="1170418"/>
                </a:cubicBezTo>
                <a:cubicBezTo>
                  <a:pt x="4413933" y="1166652"/>
                  <a:pt x="4383855" y="1166652"/>
                  <a:pt x="4406414" y="1159121"/>
                </a:cubicBezTo>
                <a:cubicBezTo>
                  <a:pt x="4383855" y="1162887"/>
                  <a:pt x="4365057" y="1136529"/>
                  <a:pt x="4342499" y="1159121"/>
                </a:cubicBezTo>
                <a:cubicBezTo>
                  <a:pt x="4342499" y="1159121"/>
                  <a:pt x="4342499" y="1159121"/>
                  <a:pt x="4350018" y="1166652"/>
                </a:cubicBezTo>
                <a:cubicBezTo>
                  <a:pt x="4319940" y="1170418"/>
                  <a:pt x="4289862" y="1140294"/>
                  <a:pt x="4282343" y="1170418"/>
                </a:cubicBezTo>
                <a:cubicBezTo>
                  <a:pt x="4286103" y="1174183"/>
                  <a:pt x="4293622" y="1174183"/>
                  <a:pt x="4297381" y="1177948"/>
                </a:cubicBezTo>
                <a:cubicBezTo>
                  <a:pt x="4271063" y="1193010"/>
                  <a:pt x="4263544" y="1166652"/>
                  <a:pt x="4229707" y="1177948"/>
                </a:cubicBezTo>
                <a:cubicBezTo>
                  <a:pt x="4203388" y="1185479"/>
                  <a:pt x="4177070" y="1200541"/>
                  <a:pt x="4146992" y="1200541"/>
                </a:cubicBezTo>
                <a:cubicBezTo>
                  <a:pt x="4109395" y="1208071"/>
                  <a:pt x="4079317" y="1208071"/>
                  <a:pt x="4041719" y="1215602"/>
                </a:cubicBezTo>
                <a:cubicBezTo>
                  <a:pt x="3913888" y="1238195"/>
                  <a:pt x="3782297" y="1245725"/>
                  <a:pt x="3665745" y="1249491"/>
                </a:cubicBezTo>
                <a:cubicBezTo>
                  <a:pt x="3669505" y="1249491"/>
                  <a:pt x="3669505" y="1249491"/>
                  <a:pt x="3673265" y="1245725"/>
                </a:cubicBezTo>
                <a:cubicBezTo>
                  <a:pt x="3583031" y="1219368"/>
                  <a:pt x="3447681" y="1260787"/>
                  <a:pt x="3349927" y="1257022"/>
                </a:cubicBezTo>
                <a:cubicBezTo>
                  <a:pt x="3402564" y="1253256"/>
                  <a:pt x="3447681" y="1245725"/>
                  <a:pt x="3500317" y="1234429"/>
                </a:cubicBezTo>
                <a:cubicBezTo>
                  <a:pt x="3417603" y="1226898"/>
                  <a:pt x="3327369" y="1238195"/>
                  <a:pt x="3244655" y="1241960"/>
                </a:cubicBezTo>
                <a:cubicBezTo>
                  <a:pt x="3267213" y="1230664"/>
                  <a:pt x="3297291" y="1234429"/>
                  <a:pt x="3316090" y="1226898"/>
                </a:cubicBezTo>
                <a:cubicBezTo>
                  <a:pt x="3316090" y="1226898"/>
                  <a:pt x="3316090" y="1226898"/>
                  <a:pt x="3327369" y="1234429"/>
                </a:cubicBezTo>
                <a:cubicBezTo>
                  <a:pt x="3353687" y="1230664"/>
                  <a:pt x="3380005" y="1211837"/>
                  <a:pt x="3410083" y="1215602"/>
                </a:cubicBezTo>
                <a:cubicBezTo>
                  <a:pt x="3410083" y="1215602"/>
                  <a:pt x="3410083" y="1215602"/>
                  <a:pt x="3410083" y="1208071"/>
                </a:cubicBezTo>
                <a:cubicBezTo>
                  <a:pt x="3598070" y="1193010"/>
                  <a:pt x="3804856" y="1185479"/>
                  <a:pt x="3996603" y="1147825"/>
                </a:cubicBezTo>
                <a:cubicBezTo>
                  <a:pt x="4015401" y="1144060"/>
                  <a:pt x="4045479" y="1151591"/>
                  <a:pt x="4056759" y="1136529"/>
                </a:cubicBezTo>
                <a:cubicBezTo>
                  <a:pt x="4056759" y="1136529"/>
                  <a:pt x="4056759" y="1136529"/>
                  <a:pt x="4037960" y="1132764"/>
                </a:cubicBezTo>
                <a:cubicBezTo>
                  <a:pt x="4045479" y="1125233"/>
                  <a:pt x="4060518" y="1128998"/>
                  <a:pt x="4064278" y="1132764"/>
                </a:cubicBezTo>
                <a:cubicBezTo>
                  <a:pt x="4064278" y="1132764"/>
                  <a:pt x="4064278" y="1132764"/>
                  <a:pt x="4068037" y="1132764"/>
                </a:cubicBezTo>
                <a:cubicBezTo>
                  <a:pt x="4075557" y="1121467"/>
                  <a:pt x="4094356" y="1136529"/>
                  <a:pt x="4105635" y="1121467"/>
                </a:cubicBezTo>
                <a:cubicBezTo>
                  <a:pt x="4101875" y="1110171"/>
                  <a:pt x="4079317" y="1121467"/>
                  <a:pt x="4064278" y="1121467"/>
                </a:cubicBezTo>
                <a:cubicBezTo>
                  <a:pt x="4049239" y="1117702"/>
                  <a:pt x="4022921" y="1106406"/>
                  <a:pt x="3985323" y="1121467"/>
                </a:cubicBezTo>
                <a:cubicBezTo>
                  <a:pt x="3868771" y="1106406"/>
                  <a:pt x="3748460" y="1147825"/>
                  <a:pt x="3631908" y="1132764"/>
                </a:cubicBezTo>
                <a:cubicBezTo>
                  <a:pt x="3594311" y="1117702"/>
                  <a:pt x="3526635" y="1140294"/>
                  <a:pt x="3470239" y="1140294"/>
                </a:cubicBezTo>
                <a:cubicBezTo>
                  <a:pt x="3308570" y="1159121"/>
                  <a:pt x="3146901" y="1147825"/>
                  <a:pt x="2981473" y="1170418"/>
                </a:cubicBezTo>
                <a:cubicBezTo>
                  <a:pt x="2913798" y="1159121"/>
                  <a:pt x="2846123" y="1181714"/>
                  <a:pt x="2789726" y="1166652"/>
                </a:cubicBezTo>
                <a:cubicBezTo>
                  <a:pt x="2691973" y="1159121"/>
                  <a:pt x="2601740" y="1174183"/>
                  <a:pt x="2519025" y="1159121"/>
                </a:cubicBezTo>
                <a:cubicBezTo>
                  <a:pt x="2519025" y="1159121"/>
                  <a:pt x="2519025" y="1159121"/>
                  <a:pt x="2511506" y="1162887"/>
                </a:cubicBezTo>
                <a:cubicBezTo>
                  <a:pt x="2503986" y="1155356"/>
                  <a:pt x="2492707" y="1166652"/>
                  <a:pt x="2488947" y="1166652"/>
                </a:cubicBezTo>
                <a:cubicBezTo>
                  <a:pt x="2451350" y="1177948"/>
                  <a:pt x="2406233" y="1177948"/>
                  <a:pt x="2368636" y="1177948"/>
                </a:cubicBezTo>
                <a:cubicBezTo>
                  <a:pt x="2323519" y="1196775"/>
                  <a:pt x="2274642" y="1193010"/>
                  <a:pt x="2225766" y="1196775"/>
                </a:cubicBezTo>
                <a:cubicBezTo>
                  <a:pt x="2000181" y="1196775"/>
                  <a:pt x="1706922" y="1193010"/>
                  <a:pt x="1466298" y="1189245"/>
                </a:cubicBezTo>
                <a:cubicBezTo>
                  <a:pt x="1402383" y="1174183"/>
                  <a:pt x="1327188" y="1189245"/>
                  <a:pt x="1259513" y="1177948"/>
                </a:cubicBezTo>
                <a:cubicBezTo>
                  <a:pt x="1165519" y="1174183"/>
                  <a:pt x="1086565" y="1162887"/>
                  <a:pt x="992571" y="1162887"/>
                </a:cubicBezTo>
                <a:cubicBezTo>
                  <a:pt x="966253" y="1162887"/>
                  <a:pt x="917377" y="1162887"/>
                  <a:pt x="891058" y="1155356"/>
                </a:cubicBezTo>
                <a:lnTo>
                  <a:pt x="883995" y="1158893"/>
                </a:lnTo>
                <a:lnTo>
                  <a:pt x="876489" y="1158650"/>
                </a:lnTo>
                <a:cubicBezTo>
                  <a:pt x="861920" y="1158180"/>
                  <a:pt x="832782" y="1157239"/>
                  <a:pt x="774506" y="1155356"/>
                </a:cubicBezTo>
                <a:cubicBezTo>
                  <a:pt x="755708" y="1166652"/>
                  <a:pt x="733149" y="1155356"/>
                  <a:pt x="710591" y="1166652"/>
                </a:cubicBezTo>
                <a:cubicBezTo>
                  <a:pt x="661714" y="1162887"/>
                  <a:pt x="590279" y="1166652"/>
                  <a:pt x="530123" y="1166652"/>
                </a:cubicBezTo>
                <a:cubicBezTo>
                  <a:pt x="522604" y="1166652"/>
                  <a:pt x="522604" y="1174183"/>
                  <a:pt x="511325" y="1170418"/>
                </a:cubicBezTo>
                <a:cubicBezTo>
                  <a:pt x="511325" y="1170418"/>
                  <a:pt x="511325" y="1170418"/>
                  <a:pt x="507565" y="1170418"/>
                </a:cubicBezTo>
                <a:cubicBezTo>
                  <a:pt x="500046" y="1174183"/>
                  <a:pt x="496286" y="1177948"/>
                  <a:pt x="488766" y="1174183"/>
                </a:cubicBezTo>
                <a:cubicBezTo>
                  <a:pt x="469968" y="1170418"/>
                  <a:pt x="443649" y="1166652"/>
                  <a:pt x="424851" y="1170418"/>
                </a:cubicBezTo>
                <a:cubicBezTo>
                  <a:pt x="424851" y="1170418"/>
                  <a:pt x="424851" y="1170418"/>
                  <a:pt x="421091" y="1162887"/>
                </a:cubicBezTo>
                <a:cubicBezTo>
                  <a:pt x="413572" y="1166652"/>
                  <a:pt x="409812" y="1170418"/>
                  <a:pt x="398533" y="1170418"/>
                </a:cubicBezTo>
                <a:cubicBezTo>
                  <a:pt x="406052" y="1151591"/>
                  <a:pt x="368455" y="1166652"/>
                  <a:pt x="357175" y="1159121"/>
                </a:cubicBezTo>
                <a:cubicBezTo>
                  <a:pt x="349655" y="1162887"/>
                  <a:pt x="342136" y="1159121"/>
                  <a:pt x="334617" y="1162887"/>
                </a:cubicBezTo>
                <a:cubicBezTo>
                  <a:pt x="338376" y="1159121"/>
                  <a:pt x="334617" y="1159121"/>
                  <a:pt x="338376" y="1155356"/>
                </a:cubicBezTo>
                <a:cubicBezTo>
                  <a:pt x="323337" y="1155356"/>
                  <a:pt x="315818" y="1151591"/>
                  <a:pt x="300779" y="1155356"/>
                </a:cubicBezTo>
                <a:cubicBezTo>
                  <a:pt x="289500" y="1140294"/>
                  <a:pt x="263181" y="1140294"/>
                  <a:pt x="233104" y="1140294"/>
                </a:cubicBezTo>
                <a:cubicBezTo>
                  <a:pt x="266941" y="1136529"/>
                  <a:pt x="323337" y="1136529"/>
                  <a:pt x="353415" y="1125233"/>
                </a:cubicBezTo>
                <a:cubicBezTo>
                  <a:pt x="345896" y="1121467"/>
                  <a:pt x="330857" y="1125233"/>
                  <a:pt x="315818" y="1125233"/>
                </a:cubicBezTo>
                <a:cubicBezTo>
                  <a:pt x="312058" y="1117702"/>
                  <a:pt x="323337" y="1113937"/>
                  <a:pt x="327097" y="1110171"/>
                </a:cubicBezTo>
                <a:cubicBezTo>
                  <a:pt x="327097" y="1110171"/>
                  <a:pt x="327097" y="1110171"/>
                  <a:pt x="274461" y="1102641"/>
                </a:cubicBezTo>
                <a:cubicBezTo>
                  <a:pt x="297019" y="1102641"/>
                  <a:pt x="360935" y="1106406"/>
                  <a:pt x="387253" y="1095110"/>
                </a:cubicBezTo>
                <a:cubicBezTo>
                  <a:pt x="364695" y="1091344"/>
                  <a:pt x="349655" y="1095110"/>
                  <a:pt x="334617" y="1095110"/>
                </a:cubicBezTo>
                <a:cubicBezTo>
                  <a:pt x="338376" y="1087579"/>
                  <a:pt x="319578" y="1083814"/>
                  <a:pt x="312058" y="1083814"/>
                </a:cubicBezTo>
                <a:cubicBezTo>
                  <a:pt x="308298" y="1080048"/>
                  <a:pt x="353415" y="1083814"/>
                  <a:pt x="338376" y="1072517"/>
                </a:cubicBezTo>
                <a:cubicBezTo>
                  <a:pt x="360935" y="1068752"/>
                  <a:pt x="342136" y="1049925"/>
                  <a:pt x="372214" y="1046160"/>
                </a:cubicBezTo>
                <a:cubicBezTo>
                  <a:pt x="338376" y="1042394"/>
                  <a:pt x="323337" y="1080048"/>
                  <a:pt x="293259" y="1064987"/>
                </a:cubicBezTo>
                <a:cubicBezTo>
                  <a:pt x="281980" y="1057456"/>
                  <a:pt x="315818" y="1031098"/>
                  <a:pt x="281980" y="1034863"/>
                </a:cubicBezTo>
                <a:cubicBezTo>
                  <a:pt x="236863" y="1016037"/>
                  <a:pt x="334617" y="1012271"/>
                  <a:pt x="308298" y="985913"/>
                </a:cubicBezTo>
                <a:cubicBezTo>
                  <a:pt x="315818" y="982148"/>
                  <a:pt x="315818" y="978383"/>
                  <a:pt x="323337" y="978383"/>
                </a:cubicBezTo>
                <a:cubicBezTo>
                  <a:pt x="300779" y="978383"/>
                  <a:pt x="289500" y="963321"/>
                  <a:pt x="263181" y="970852"/>
                </a:cubicBezTo>
                <a:cubicBezTo>
                  <a:pt x="206785" y="948259"/>
                  <a:pt x="289500" y="940729"/>
                  <a:pt x="300779" y="918136"/>
                </a:cubicBezTo>
                <a:cubicBezTo>
                  <a:pt x="312058" y="918136"/>
                  <a:pt x="327097" y="918136"/>
                  <a:pt x="330857" y="914371"/>
                </a:cubicBezTo>
                <a:cubicBezTo>
                  <a:pt x="251902" y="880482"/>
                  <a:pt x="139110" y="872952"/>
                  <a:pt x="67675" y="831532"/>
                </a:cubicBezTo>
                <a:cubicBezTo>
                  <a:pt x="52636" y="827767"/>
                  <a:pt x="33837" y="824001"/>
                  <a:pt x="11279" y="824001"/>
                </a:cubicBezTo>
                <a:cubicBezTo>
                  <a:pt x="11279" y="824001"/>
                  <a:pt x="11279" y="824001"/>
                  <a:pt x="0" y="820236"/>
                </a:cubicBezTo>
                <a:cubicBezTo>
                  <a:pt x="0" y="820236"/>
                  <a:pt x="0" y="820236"/>
                  <a:pt x="30078" y="820236"/>
                </a:cubicBezTo>
                <a:cubicBezTo>
                  <a:pt x="26318" y="820236"/>
                  <a:pt x="33837" y="824001"/>
                  <a:pt x="33837" y="824001"/>
                </a:cubicBezTo>
                <a:cubicBezTo>
                  <a:pt x="41357" y="824001"/>
                  <a:pt x="41357" y="820236"/>
                  <a:pt x="45117" y="820236"/>
                </a:cubicBezTo>
                <a:cubicBezTo>
                  <a:pt x="45117" y="820236"/>
                  <a:pt x="45117" y="820236"/>
                  <a:pt x="45117" y="812705"/>
                </a:cubicBezTo>
                <a:cubicBezTo>
                  <a:pt x="101513" y="831532"/>
                  <a:pt x="161669" y="857890"/>
                  <a:pt x="236863" y="865421"/>
                </a:cubicBezTo>
                <a:cubicBezTo>
                  <a:pt x="236863" y="865421"/>
                  <a:pt x="236863" y="865421"/>
                  <a:pt x="240623" y="861655"/>
                </a:cubicBezTo>
                <a:cubicBezTo>
                  <a:pt x="236863" y="872952"/>
                  <a:pt x="251902" y="869186"/>
                  <a:pt x="259422" y="869186"/>
                </a:cubicBezTo>
                <a:cubicBezTo>
                  <a:pt x="259422" y="869186"/>
                  <a:pt x="259422" y="869186"/>
                  <a:pt x="270701" y="861655"/>
                </a:cubicBezTo>
                <a:cubicBezTo>
                  <a:pt x="270701" y="861655"/>
                  <a:pt x="270701" y="861655"/>
                  <a:pt x="274461" y="865421"/>
                </a:cubicBezTo>
                <a:cubicBezTo>
                  <a:pt x="274461" y="865421"/>
                  <a:pt x="274461" y="865421"/>
                  <a:pt x="278220" y="861655"/>
                </a:cubicBezTo>
                <a:cubicBezTo>
                  <a:pt x="274461" y="854125"/>
                  <a:pt x="251902" y="854125"/>
                  <a:pt x="233104" y="857890"/>
                </a:cubicBezTo>
                <a:cubicBezTo>
                  <a:pt x="233104" y="839063"/>
                  <a:pt x="270701" y="850359"/>
                  <a:pt x="278220" y="842828"/>
                </a:cubicBezTo>
                <a:cubicBezTo>
                  <a:pt x="278220" y="842828"/>
                  <a:pt x="278220" y="842828"/>
                  <a:pt x="293259" y="842828"/>
                </a:cubicBezTo>
                <a:cubicBezTo>
                  <a:pt x="297019" y="846594"/>
                  <a:pt x="281980" y="850359"/>
                  <a:pt x="278220" y="854125"/>
                </a:cubicBezTo>
                <a:cubicBezTo>
                  <a:pt x="289500" y="854125"/>
                  <a:pt x="300779" y="865421"/>
                  <a:pt x="312058" y="857890"/>
                </a:cubicBezTo>
                <a:cubicBezTo>
                  <a:pt x="297019" y="850359"/>
                  <a:pt x="315818" y="850359"/>
                  <a:pt x="312058" y="842828"/>
                </a:cubicBezTo>
                <a:cubicBezTo>
                  <a:pt x="312058" y="842828"/>
                  <a:pt x="312058" y="842828"/>
                  <a:pt x="308298" y="839063"/>
                </a:cubicBezTo>
                <a:cubicBezTo>
                  <a:pt x="308298" y="839063"/>
                  <a:pt x="308298" y="839063"/>
                  <a:pt x="304539" y="839063"/>
                </a:cubicBezTo>
                <a:cubicBezTo>
                  <a:pt x="308298" y="839063"/>
                  <a:pt x="308298" y="839063"/>
                  <a:pt x="308298" y="835298"/>
                </a:cubicBezTo>
                <a:cubicBezTo>
                  <a:pt x="308298" y="835298"/>
                  <a:pt x="308298" y="835298"/>
                  <a:pt x="297019" y="831532"/>
                </a:cubicBezTo>
                <a:cubicBezTo>
                  <a:pt x="289500" y="835298"/>
                  <a:pt x="278220" y="839063"/>
                  <a:pt x="270701" y="835298"/>
                </a:cubicBezTo>
                <a:cubicBezTo>
                  <a:pt x="274461" y="827767"/>
                  <a:pt x="300779" y="827767"/>
                  <a:pt x="312058" y="820236"/>
                </a:cubicBezTo>
                <a:cubicBezTo>
                  <a:pt x="312058" y="820236"/>
                  <a:pt x="312058" y="820236"/>
                  <a:pt x="308298" y="816471"/>
                </a:cubicBezTo>
                <a:cubicBezTo>
                  <a:pt x="319578" y="808940"/>
                  <a:pt x="383494" y="812705"/>
                  <a:pt x="353415" y="793878"/>
                </a:cubicBezTo>
                <a:cubicBezTo>
                  <a:pt x="349655" y="790113"/>
                  <a:pt x="342136" y="790113"/>
                  <a:pt x="334617" y="790113"/>
                </a:cubicBezTo>
                <a:cubicBezTo>
                  <a:pt x="304539" y="801409"/>
                  <a:pt x="270701" y="835298"/>
                  <a:pt x="233104" y="824001"/>
                </a:cubicBezTo>
                <a:cubicBezTo>
                  <a:pt x="210545" y="839063"/>
                  <a:pt x="191746" y="835298"/>
                  <a:pt x="161669" y="839063"/>
                </a:cubicBezTo>
                <a:cubicBezTo>
                  <a:pt x="161669" y="839063"/>
                  <a:pt x="161669" y="839063"/>
                  <a:pt x="184227" y="827767"/>
                </a:cubicBezTo>
                <a:cubicBezTo>
                  <a:pt x="184227" y="827767"/>
                  <a:pt x="184227" y="827767"/>
                  <a:pt x="176707" y="827767"/>
                </a:cubicBezTo>
                <a:cubicBezTo>
                  <a:pt x="199266" y="827767"/>
                  <a:pt x="214305" y="805175"/>
                  <a:pt x="251902" y="805175"/>
                </a:cubicBezTo>
                <a:cubicBezTo>
                  <a:pt x="259422" y="801409"/>
                  <a:pt x="259422" y="793878"/>
                  <a:pt x="274461" y="797644"/>
                </a:cubicBezTo>
                <a:cubicBezTo>
                  <a:pt x="274461" y="797644"/>
                  <a:pt x="274461" y="797644"/>
                  <a:pt x="281980" y="797644"/>
                </a:cubicBezTo>
                <a:cubicBezTo>
                  <a:pt x="281980" y="797644"/>
                  <a:pt x="281980" y="797644"/>
                  <a:pt x="297019" y="790113"/>
                </a:cubicBezTo>
                <a:cubicBezTo>
                  <a:pt x="297019" y="790113"/>
                  <a:pt x="297019" y="790113"/>
                  <a:pt x="293259" y="786348"/>
                </a:cubicBezTo>
                <a:cubicBezTo>
                  <a:pt x="281980" y="778817"/>
                  <a:pt x="372214" y="782582"/>
                  <a:pt x="327097" y="763755"/>
                </a:cubicBezTo>
                <a:cubicBezTo>
                  <a:pt x="300779" y="778817"/>
                  <a:pt x="255662" y="771286"/>
                  <a:pt x="236863" y="786348"/>
                </a:cubicBezTo>
                <a:cubicBezTo>
                  <a:pt x="236863" y="786348"/>
                  <a:pt x="236863" y="786348"/>
                  <a:pt x="199266" y="790113"/>
                </a:cubicBezTo>
                <a:cubicBezTo>
                  <a:pt x="244383" y="771286"/>
                  <a:pt x="330857" y="763755"/>
                  <a:pt x="330857" y="726101"/>
                </a:cubicBezTo>
                <a:cubicBezTo>
                  <a:pt x="345896" y="718570"/>
                  <a:pt x="353415" y="711040"/>
                  <a:pt x="357175" y="699743"/>
                </a:cubicBezTo>
                <a:cubicBezTo>
                  <a:pt x="360935" y="703509"/>
                  <a:pt x="360935" y="699743"/>
                  <a:pt x="364695" y="699743"/>
                </a:cubicBezTo>
                <a:cubicBezTo>
                  <a:pt x="364695" y="699743"/>
                  <a:pt x="364695" y="699743"/>
                  <a:pt x="364695" y="688447"/>
                </a:cubicBezTo>
                <a:cubicBezTo>
                  <a:pt x="387253" y="680917"/>
                  <a:pt x="398533" y="665855"/>
                  <a:pt x="402292" y="650793"/>
                </a:cubicBezTo>
                <a:cubicBezTo>
                  <a:pt x="439890" y="628201"/>
                  <a:pt x="417331" y="575486"/>
                  <a:pt x="511325" y="579251"/>
                </a:cubicBezTo>
                <a:cubicBezTo>
                  <a:pt x="526364" y="564190"/>
                  <a:pt x="537643" y="549128"/>
                  <a:pt x="551742" y="534537"/>
                </a:cubicBezTo>
                <a:lnTo>
                  <a:pt x="561872" y="527136"/>
                </a:lnTo>
                <a:lnTo>
                  <a:pt x="558113" y="526214"/>
                </a:lnTo>
                <a:cubicBezTo>
                  <a:pt x="511116" y="514918"/>
                  <a:pt x="465059" y="502680"/>
                  <a:pt x="429342" y="481970"/>
                </a:cubicBezTo>
                <a:cubicBezTo>
                  <a:pt x="414303" y="478205"/>
                  <a:pt x="395504" y="474440"/>
                  <a:pt x="372945" y="474440"/>
                </a:cubicBezTo>
                <a:cubicBezTo>
                  <a:pt x="372945" y="474440"/>
                  <a:pt x="372945" y="474440"/>
                  <a:pt x="361666" y="470674"/>
                </a:cubicBezTo>
                <a:cubicBezTo>
                  <a:pt x="361666" y="470674"/>
                  <a:pt x="361666" y="470674"/>
                  <a:pt x="391744" y="470674"/>
                </a:cubicBezTo>
                <a:cubicBezTo>
                  <a:pt x="387984" y="470674"/>
                  <a:pt x="395504" y="474440"/>
                  <a:pt x="395504" y="474440"/>
                </a:cubicBezTo>
                <a:cubicBezTo>
                  <a:pt x="403023" y="474440"/>
                  <a:pt x="403023" y="470674"/>
                  <a:pt x="406783" y="470674"/>
                </a:cubicBezTo>
                <a:cubicBezTo>
                  <a:pt x="406783" y="470674"/>
                  <a:pt x="406783" y="470674"/>
                  <a:pt x="406783" y="463144"/>
                </a:cubicBezTo>
                <a:cubicBezTo>
                  <a:pt x="434981" y="472557"/>
                  <a:pt x="464119" y="483853"/>
                  <a:pt x="495607" y="493737"/>
                </a:cubicBezTo>
                <a:lnTo>
                  <a:pt x="582131" y="512335"/>
                </a:lnTo>
                <a:lnTo>
                  <a:pt x="609078" y="492647"/>
                </a:lnTo>
                <a:cubicBezTo>
                  <a:pt x="610958" y="494530"/>
                  <a:pt x="614718" y="494530"/>
                  <a:pt x="618947" y="494530"/>
                </a:cubicBezTo>
                <a:lnTo>
                  <a:pt x="624178" y="495306"/>
                </a:lnTo>
                <a:lnTo>
                  <a:pt x="639060" y="493374"/>
                </a:lnTo>
                <a:lnTo>
                  <a:pt x="653196" y="487588"/>
                </a:lnTo>
                <a:lnTo>
                  <a:pt x="661962" y="483064"/>
                </a:lnTo>
                <a:lnTo>
                  <a:pt x="658686" y="481970"/>
                </a:lnTo>
                <a:cubicBezTo>
                  <a:pt x="651166" y="485736"/>
                  <a:pt x="639887" y="489501"/>
                  <a:pt x="632367" y="485736"/>
                </a:cubicBezTo>
                <a:cubicBezTo>
                  <a:pt x="636127" y="478205"/>
                  <a:pt x="662445" y="478205"/>
                  <a:pt x="673725" y="470674"/>
                </a:cubicBezTo>
                <a:cubicBezTo>
                  <a:pt x="673725" y="470674"/>
                  <a:pt x="673725" y="470674"/>
                  <a:pt x="669965" y="466909"/>
                </a:cubicBezTo>
                <a:cubicBezTo>
                  <a:pt x="681244" y="459378"/>
                  <a:pt x="745160" y="463144"/>
                  <a:pt x="715082" y="444317"/>
                </a:cubicBezTo>
                <a:cubicBezTo>
                  <a:pt x="711322" y="440551"/>
                  <a:pt x="703802" y="440551"/>
                  <a:pt x="696283" y="440551"/>
                </a:cubicBezTo>
                <a:cubicBezTo>
                  <a:pt x="666205" y="451847"/>
                  <a:pt x="632367" y="485736"/>
                  <a:pt x="594770" y="474440"/>
                </a:cubicBezTo>
                <a:cubicBezTo>
                  <a:pt x="572212" y="489501"/>
                  <a:pt x="553413" y="485736"/>
                  <a:pt x="523335" y="489501"/>
                </a:cubicBezTo>
                <a:cubicBezTo>
                  <a:pt x="523335" y="489501"/>
                  <a:pt x="523335" y="489501"/>
                  <a:pt x="545893" y="478205"/>
                </a:cubicBezTo>
                <a:cubicBezTo>
                  <a:pt x="545893" y="478205"/>
                  <a:pt x="545893" y="478205"/>
                  <a:pt x="538374" y="478205"/>
                </a:cubicBezTo>
                <a:cubicBezTo>
                  <a:pt x="560932" y="478205"/>
                  <a:pt x="575971" y="455613"/>
                  <a:pt x="613569" y="455613"/>
                </a:cubicBezTo>
                <a:cubicBezTo>
                  <a:pt x="621088" y="451847"/>
                  <a:pt x="621088" y="444317"/>
                  <a:pt x="636127" y="448082"/>
                </a:cubicBezTo>
                <a:cubicBezTo>
                  <a:pt x="636127" y="448082"/>
                  <a:pt x="636127" y="448082"/>
                  <a:pt x="643647" y="448082"/>
                </a:cubicBezTo>
                <a:cubicBezTo>
                  <a:pt x="643647" y="448082"/>
                  <a:pt x="643647" y="448082"/>
                  <a:pt x="658686" y="440551"/>
                </a:cubicBezTo>
                <a:cubicBezTo>
                  <a:pt x="658686" y="440551"/>
                  <a:pt x="658686" y="440551"/>
                  <a:pt x="654926" y="436786"/>
                </a:cubicBezTo>
                <a:cubicBezTo>
                  <a:pt x="643647" y="429255"/>
                  <a:pt x="733880" y="433020"/>
                  <a:pt x="688764" y="414193"/>
                </a:cubicBezTo>
                <a:cubicBezTo>
                  <a:pt x="662445" y="429255"/>
                  <a:pt x="617328" y="421724"/>
                  <a:pt x="598530" y="436786"/>
                </a:cubicBezTo>
                <a:cubicBezTo>
                  <a:pt x="598530" y="436786"/>
                  <a:pt x="598530" y="436786"/>
                  <a:pt x="560932" y="440551"/>
                </a:cubicBezTo>
                <a:cubicBezTo>
                  <a:pt x="606049" y="421724"/>
                  <a:pt x="692523" y="414193"/>
                  <a:pt x="692523" y="376539"/>
                </a:cubicBezTo>
                <a:cubicBezTo>
                  <a:pt x="707562" y="369009"/>
                  <a:pt x="715082" y="361478"/>
                  <a:pt x="718841" y="350182"/>
                </a:cubicBezTo>
                <a:cubicBezTo>
                  <a:pt x="722601" y="353947"/>
                  <a:pt x="722601" y="350182"/>
                  <a:pt x="726361" y="350182"/>
                </a:cubicBezTo>
                <a:cubicBezTo>
                  <a:pt x="726361" y="350182"/>
                  <a:pt x="726361" y="350182"/>
                  <a:pt x="726361" y="338886"/>
                </a:cubicBezTo>
                <a:cubicBezTo>
                  <a:pt x="748919" y="331355"/>
                  <a:pt x="760199" y="316293"/>
                  <a:pt x="763958" y="301232"/>
                </a:cubicBezTo>
                <a:cubicBezTo>
                  <a:pt x="801556" y="278639"/>
                  <a:pt x="778997" y="225924"/>
                  <a:pt x="872991" y="229689"/>
                </a:cubicBezTo>
                <a:cubicBezTo>
                  <a:pt x="903069" y="199566"/>
                  <a:pt x="918108" y="169443"/>
                  <a:pt x="970744" y="143085"/>
                </a:cubicBezTo>
                <a:cubicBezTo>
                  <a:pt x="974504" y="146851"/>
                  <a:pt x="985783" y="143085"/>
                  <a:pt x="993302" y="146851"/>
                </a:cubicBezTo>
                <a:cubicBezTo>
                  <a:pt x="1023380" y="139320"/>
                  <a:pt x="1045939" y="109197"/>
                  <a:pt x="1087296" y="124258"/>
                </a:cubicBezTo>
                <a:cubicBezTo>
                  <a:pt x="1098575" y="128024"/>
                  <a:pt x="1102335" y="124258"/>
                  <a:pt x="1109854" y="120493"/>
                </a:cubicBezTo>
                <a:cubicBezTo>
                  <a:pt x="1109854" y="120493"/>
                  <a:pt x="1109854" y="120493"/>
                  <a:pt x="1109854" y="112962"/>
                </a:cubicBezTo>
                <a:cubicBezTo>
                  <a:pt x="1113614" y="128024"/>
                  <a:pt x="1154971" y="124258"/>
                  <a:pt x="1173770" y="120493"/>
                </a:cubicBezTo>
                <a:cubicBezTo>
                  <a:pt x="1170010" y="124258"/>
                  <a:pt x="1177530" y="128024"/>
                  <a:pt x="1166250" y="131789"/>
                </a:cubicBezTo>
                <a:cubicBezTo>
                  <a:pt x="1211367" y="139320"/>
                  <a:pt x="1233926" y="161912"/>
                  <a:pt x="1290322" y="154381"/>
                </a:cubicBezTo>
                <a:cubicBezTo>
                  <a:pt x="1290322" y="154381"/>
                  <a:pt x="1290322" y="154381"/>
                  <a:pt x="1286562" y="158147"/>
                </a:cubicBezTo>
                <a:cubicBezTo>
                  <a:pt x="1297841" y="158147"/>
                  <a:pt x="1301601" y="165678"/>
                  <a:pt x="1316640" y="161912"/>
                </a:cubicBezTo>
                <a:cubicBezTo>
                  <a:pt x="1350478" y="143085"/>
                  <a:pt x="1339198" y="109197"/>
                  <a:pt x="1399354" y="101666"/>
                </a:cubicBezTo>
                <a:cubicBezTo>
                  <a:pt x="1399354" y="94135"/>
                  <a:pt x="1406874" y="79073"/>
                  <a:pt x="1380555" y="82839"/>
                </a:cubicBezTo>
                <a:cubicBezTo>
                  <a:pt x="1376796" y="82839"/>
                  <a:pt x="1369276" y="86604"/>
                  <a:pt x="1369276" y="90370"/>
                </a:cubicBezTo>
                <a:cubicBezTo>
                  <a:pt x="1369276" y="86604"/>
                  <a:pt x="1369276" y="86604"/>
                  <a:pt x="1369276" y="86604"/>
                </a:cubicBezTo>
                <a:cubicBezTo>
                  <a:pt x="1339198" y="79073"/>
                  <a:pt x="1309120" y="79073"/>
                  <a:pt x="1275283" y="86604"/>
                </a:cubicBezTo>
                <a:cubicBezTo>
                  <a:pt x="1275283" y="86604"/>
                  <a:pt x="1275283" y="86604"/>
                  <a:pt x="1252724" y="97900"/>
                </a:cubicBezTo>
                <a:cubicBezTo>
                  <a:pt x="1248965" y="86604"/>
                  <a:pt x="1301601" y="86604"/>
                  <a:pt x="1282802" y="71543"/>
                </a:cubicBezTo>
                <a:cubicBezTo>
                  <a:pt x="1282802" y="71543"/>
                  <a:pt x="1282802" y="71543"/>
                  <a:pt x="1309120" y="67777"/>
                </a:cubicBezTo>
                <a:cubicBezTo>
                  <a:pt x="1327919" y="79073"/>
                  <a:pt x="1373036" y="79073"/>
                  <a:pt x="1399354" y="82839"/>
                </a:cubicBezTo>
                <a:cubicBezTo>
                  <a:pt x="1425672" y="82839"/>
                  <a:pt x="1433192" y="60247"/>
                  <a:pt x="1455750" y="56481"/>
                </a:cubicBezTo>
                <a:cubicBezTo>
                  <a:pt x="1455750" y="52716"/>
                  <a:pt x="1448231" y="52716"/>
                  <a:pt x="1440711" y="52716"/>
                </a:cubicBezTo>
                <a:cubicBezTo>
                  <a:pt x="1444471" y="33889"/>
                  <a:pt x="1485828" y="33889"/>
                  <a:pt x="1508387" y="22593"/>
                </a:cubicBezTo>
                <a:cubicBezTo>
                  <a:pt x="1497107" y="18827"/>
                  <a:pt x="1485828" y="15062"/>
                  <a:pt x="1474549" y="18827"/>
                </a:cubicBezTo>
                <a:cubicBezTo>
                  <a:pt x="1512146" y="7531"/>
                  <a:pt x="1557263" y="18827"/>
                  <a:pt x="1594861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                   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zh-CN" altLang="en-US" sz="2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       探究一：从正面战场看全民族抗战</a:t>
            </a:r>
          </a:p>
          <a:p>
            <a:endParaRPr lang="en-US" altLang="zh-CN" sz="1800" b="1" dirty="0">
              <a:solidFill>
                <a:srgbClr val="C00000"/>
              </a:solidFill>
              <a:latin typeface="汉仪雁翎体简" panose="02010609000101010101" pitchFamily="49" charset="-122"/>
              <a:ea typeface="汉仪雁翎体简" panose="02010609000101010101" pitchFamily="49" charset="-122"/>
            </a:endParaRPr>
          </a:p>
          <a:p>
            <a:endParaRPr lang="zh-CN" altLang="en-US" sz="2800" b="1" dirty="0">
              <a:solidFill>
                <a:srgbClr val="C00000"/>
              </a:solidFill>
              <a:latin typeface="汉仪雁翎体简" panose="02010609000101010101" pitchFamily="49" charset="-122"/>
              <a:ea typeface="汉仪雁翎体简" panose="02010609000101010101" pitchFamily="49" charset="-122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E53ACDF2-3BD4-4715-F9E3-04EF8DAB885C}"/>
              </a:ext>
            </a:extLst>
          </p:cNvPr>
          <p:cNvSpPr txBox="1"/>
          <p:nvPr/>
        </p:nvSpPr>
        <p:spPr>
          <a:xfrm>
            <a:off x="-798286" y="6589486"/>
            <a:ext cx="4172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v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27755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45833E-6 4.81481E-6 L -0.03984 4.81481E-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92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-1.11111E-6 L -0.03985 -1.11111E-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9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5" grpId="0" animBg="1"/>
      <p:bldP spid="5" grpId="1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27">
            <a:extLst>
              <a:ext uri="{FF2B5EF4-FFF2-40B4-BE49-F238E27FC236}">
                <a16:creationId xmlns:a16="http://schemas.microsoft.com/office/drawing/2014/main" id="{5DB28526-A05E-87A2-D60B-6B71872D3E20}"/>
              </a:ext>
            </a:extLst>
          </p:cNvPr>
          <p:cNvSpPr/>
          <p:nvPr/>
        </p:nvSpPr>
        <p:spPr bwMode="auto">
          <a:xfrm>
            <a:off x="-418156" y="1491515"/>
            <a:ext cx="16389957" cy="2433124"/>
          </a:xfrm>
          <a:custGeom>
            <a:avLst/>
            <a:gdLst>
              <a:gd name="connsiteX0" fmla="*/ 0 w 6313714"/>
              <a:gd name="connsiteY0" fmla="*/ 0 h 6858000"/>
              <a:gd name="connsiteX1" fmla="*/ 5433970 w 6313714"/>
              <a:gd name="connsiteY1" fmla="*/ 0 h 6858000"/>
              <a:gd name="connsiteX2" fmla="*/ 6313714 w 6313714"/>
              <a:gd name="connsiteY2" fmla="*/ 3429000 h 6858000"/>
              <a:gd name="connsiteX3" fmla="*/ 5433970 w 6313714"/>
              <a:gd name="connsiteY3" fmla="*/ 6858000 h 6858000"/>
              <a:gd name="connsiteX4" fmla="*/ 0 w 6313714"/>
              <a:gd name="connsiteY4" fmla="*/ 6858000 h 6858000"/>
              <a:gd name="connsiteX5" fmla="*/ 0 w 631371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3714" h="6858000">
                <a:moveTo>
                  <a:pt x="0" y="0"/>
                </a:moveTo>
                <a:lnTo>
                  <a:pt x="5433970" y="0"/>
                </a:lnTo>
                <a:lnTo>
                  <a:pt x="6313714" y="3429000"/>
                </a:lnTo>
                <a:lnTo>
                  <a:pt x="543397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>
            <a:innerShdw blurRad="254000" dist="50800" dir="18900000">
              <a:prstClr val="black">
                <a:alpha val="35000"/>
              </a:prst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32D5A0B-96A3-3C7E-75EC-6E457545AF12}"/>
              </a:ext>
            </a:extLst>
          </p:cNvPr>
          <p:cNvSpPr txBox="1"/>
          <p:nvPr/>
        </p:nvSpPr>
        <p:spPr>
          <a:xfrm>
            <a:off x="220623" y="1769809"/>
            <a:ext cx="11540359" cy="277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【</a:t>
            </a:r>
            <a:r>
              <a:rPr lang="zh-CN" altLang="en-US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明其义</a:t>
            </a:r>
            <a:r>
              <a:rPr lang="en-US" altLang="zh-CN" b="1" i="0" dirty="0">
                <a:solidFill>
                  <a:srgbClr val="404040"/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</a:rPr>
              <a:t>】</a:t>
            </a:r>
          </a:p>
          <a:p>
            <a:pPr>
              <a:lnSpc>
                <a:spcPct val="150000"/>
              </a:lnSpc>
            </a:pPr>
            <a:endParaRPr lang="en-US" altLang="zh-CN" b="1" i="0" dirty="0">
              <a:solidFill>
                <a:srgbClr val="404040"/>
              </a:solidFill>
              <a:effectLst/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材料五：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"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闻日本投降，联大学生彻夜游行。有湘西同学泣曰：‘今日方知中国人之为中国！’</a:t>
            </a:r>
            <a:endParaRPr lang="en-US" altLang="zh-CN" b="1" dirty="0">
              <a:solidFill>
                <a:srgbClr val="404040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algn="r">
              <a:lnSpc>
                <a:spcPct val="150000"/>
              </a:lnSpc>
            </a:pP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——《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朱自清全集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》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第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9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卷</a:t>
            </a:r>
            <a:endParaRPr lang="en-US" altLang="zh-CN" b="0" i="0" dirty="0">
              <a:solidFill>
                <a:srgbClr val="404040"/>
              </a:solidFill>
              <a:effectLst/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>
              <a:lnSpc>
                <a:spcPct val="150000"/>
              </a:lnSpc>
            </a:pPr>
            <a:endParaRPr lang="en-US" altLang="zh-CN" sz="2400" b="1" i="0" dirty="0">
              <a:solidFill>
                <a:srgbClr val="404040"/>
              </a:solidFill>
              <a:effectLst/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2400" b="1" i="0" dirty="0">
                <a:solidFill>
                  <a:srgbClr val="40404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（</a:t>
            </a:r>
            <a:r>
              <a:rPr lang="en-US" altLang="zh-CN" sz="2400" b="1" i="0" dirty="0">
                <a:solidFill>
                  <a:srgbClr val="40404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3</a:t>
            </a:r>
            <a:r>
              <a:rPr lang="zh-CN" altLang="en-US" sz="2400" b="1" i="0" dirty="0">
                <a:solidFill>
                  <a:srgbClr val="40404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）根据以上</a:t>
            </a:r>
            <a:r>
              <a:rPr lang="zh-CN" altLang="en-US" sz="2400" b="1" dirty="0">
                <a:solidFill>
                  <a:srgbClr val="40404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材料及所学知识，请从“民族意识”的角度，说明全民族抗战的意义。</a:t>
            </a:r>
            <a:endParaRPr lang="en-US" altLang="zh-CN" sz="2400" b="1" dirty="0">
              <a:solidFill>
                <a:srgbClr val="40404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13972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2.59259E-6 L -0.03984 2.59259E-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9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DFD9786C-1784-483C-15BA-B78B980447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4926" y="56072"/>
            <a:ext cx="7691480" cy="6858000"/>
          </a:xfrm>
          <a:prstGeom prst="rect">
            <a:avLst/>
          </a:prstGeom>
        </p:spPr>
      </p:pic>
      <p:sp>
        <p:nvSpPr>
          <p:cNvPr id="2" name="Freeform: Shape 27">
            <a:extLst>
              <a:ext uri="{FF2B5EF4-FFF2-40B4-BE49-F238E27FC236}">
                <a16:creationId xmlns:a16="http://schemas.microsoft.com/office/drawing/2014/main" id="{264BB791-996C-7C2A-B3D6-EDF3015FB4DE}"/>
              </a:ext>
            </a:extLst>
          </p:cNvPr>
          <p:cNvSpPr/>
          <p:nvPr/>
        </p:nvSpPr>
        <p:spPr bwMode="auto">
          <a:xfrm>
            <a:off x="0" y="0"/>
            <a:ext cx="2514404" cy="6858000"/>
          </a:xfrm>
          <a:custGeom>
            <a:avLst/>
            <a:gdLst>
              <a:gd name="connsiteX0" fmla="*/ 0 w 6313714"/>
              <a:gd name="connsiteY0" fmla="*/ 0 h 6858000"/>
              <a:gd name="connsiteX1" fmla="*/ 5433970 w 6313714"/>
              <a:gd name="connsiteY1" fmla="*/ 0 h 6858000"/>
              <a:gd name="connsiteX2" fmla="*/ 6313714 w 6313714"/>
              <a:gd name="connsiteY2" fmla="*/ 3429000 h 6858000"/>
              <a:gd name="connsiteX3" fmla="*/ 5433970 w 6313714"/>
              <a:gd name="connsiteY3" fmla="*/ 6858000 h 6858000"/>
              <a:gd name="connsiteX4" fmla="*/ 0 w 6313714"/>
              <a:gd name="connsiteY4" fmla="*/ 6858000 h 6858000"/>
              <a:gd name="connsiteX5" fmla="*/ 0 w 631371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3714" h="6858000">
                <a:moveTo>
                  <a:pt x="0" y="0"/>
                </a:moveTo>
                <a:lnTo>
                  <a:pt x="5433970" y="0"/>
                </a:lnTo>
                <a:lnTo>
                  <a:pt x="6313714" y="3429000"/>
                </a:lnTo>
                <a:lnTo>
                  <a:pt x="543397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>
            <a:innerShdw blurRad="254000" dist="50800" dir="18900000">
              <a:prstClr val="black">
                <a:alpha val="35000"/>
              </a:prst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0FAB5D0F-1138-7470-1E25-BFBAB73530D8}"/>
              </a:ext>
            </a:extLst>
          </p:cNvPr>
          <p:cNvSpPr txBox="1"/>
          <p:nvPr/>
        </p:nvSpPr>
        <p:spPr>
          <a:xfrm>
            <a:off x="918648" y="1215484"/>
            <a:ext cx="677108" cy="4917687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sz="3200" b="1" dirty="0">
                <a:latin typeface="黑体" panose="02010609060101010101" pitchFamily="49" charset="-122"/>
                <a:ea typeface="黑体" panose="02010609060101010101" pitchFamily="49" charset="-122"/>
              </a:rPr>
              <a:t>战略生命线：滇缅公路</a:t>
            </a:r>
            <a:r>
              <a:rPr lang="zh-CN" altLang="en-US" dirty="0"/>
              <a:t>。</a:t>
            </a:r>
          </a:p>
        </p:txBody>
      </p:sp>
      <p:grpSp>
        <p:nvGrpSpPr>
          <p:cNvPr id="42" name="组合 41">
            <a:extLst>
              <a:ext uri="{FF2B5EF4-FFF2-40B4-BE49-F238E27FC236}">
                <a16:creationId xmlns:a16="http://schemas.microsoft.com/office/drawing/2014/main" id="{861B944D-B42F-6CCC-87BE-193368992AF3}"/>
              </a:ext>
            </a:extLst>
          </p:cNvPr>
          <p:cNvGrpSpPr/>
          <p:nvPr/>
        </p:nvGrpSpPr>
        <p:grpSpPr>
          <a:xfrm>
            <a:off x="4455491" y="888522"/>
            <a:ext cx="5801315" cy="1143695"/>
            <a:chOff x="4438239" y="859128"/>
            <a:chExt cx="5801315" cy="1184644"/>
          </a:xfrm>
        </p:grpSpPr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B098C0EE-0EC1-05BB-6C57-FC5512804C9C}"/>
                </a:ext>
              </a:extLst>
            </p:cNvPr>
            <p:cNvGrpSpPr/>
            <p:nvPr/>
          </p:nvGrpSpPr>
          <p:grpSpPr>
            <a:xfrm>
              <a:off x="4487867" y="859128"/>
              <a:ext cx="5751687" cy="1098379"/>
              <a:chOff x="7740401" y="703853"/>
              <a:chExt cx="5419469" cy="1098379"/>
            </a:xfrm>
          </p:grpSpPr>
          <p:cxnSp>
            <p:nvCxnSpPr>
              <p:cNvPr id="26" name="直接连接符 25">
                <a:extLst>
                  <a:ext uri="{FF2B5EF4-FFF2-40B4-BE49-F238E27FC236}">
                    <a16:creationId xmlns:a16="http://schemas.microsoft.com/office/drawing/2014/main" id="{EF367801-2E27-3D48-4049-101E3A684A01}"/>
                  </a:ext>
                </a:extLst>
              </p:cNvPr>
              <p:cNvCxnSpPr>
                <a:cxnSpLocks/>
                <a:endCxn id="38" idx="0"/>
              </p:cNvCxnSpPr>
              <p:nvPr/>
            </p:nvCxnSpPr>
            <p:spPr>
              <a:xfrm flipH="1">
                <a:off x="7740401" y="1078302"/>
                <a:ext cx="6120" cy="723930"/>
              </a:xfrm>
              <a:prstGeom prst="line">
                <a:avLst/>
              </a:prstGeom>
              <a:ln w="19050">
                <a:solidFill>
                  <a:schemeClr val="tx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连接符 26">
                <a:extLst>
                  <a:ext uri="{FF2B5EF4-FFF2-40B4-BE49-F238E27FC236}">
                    <a16:creationId xmlns:a16="http://schemas.microsoft.com/office/drawing/2014/main" id="{146365C0-E442-9305-A330-287312C9E36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746521" y="1078302"/>
                <a:ext cx="1246788" cy="0"/>
              </a:xfrm>
              <a:prstGeom prst="line">
                <a:avLst/>
              </a:prstGeom>
              <a:ln w="19050">
                <a:solidFill>
                  <a:schemeClr val="tx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矩形: 圆角 29">
                <a:extLst>
                  <a:ext uri="{FF2B5EF4-FFF2-40B4-BE49-F238E27FC236}">
                    <a16:creationId xmlns:a16="http://schemas.microsoft.com/office/drawing/2014/main" id="{622FB1C9-7253-2BBD-5E18-A27871BBADB6}"/>
                  </a:ext>
                </a:extLst>
              </p:cNvPr>
              <p:cNvSpPr/>
              <p:nvPr/>
            </p:nvSpPr>
            <p:spPr>
              <a:xfrm>
                <a:off x="8993309" y="703853"/>
                <a:ext cx="4166561" cy="696060"/>
              </a:xfrm>
              <a:prstGeom prst="roundRect">
                <a:avLst/>
              </a:prstGeom>
              <a:noFill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400" b="1" dirty="0">
                    <a:solidFill>
                      <a:schemeClr val="tx1"/>
                    </a:solidFill>
                  </a:rPr>
                  <a:t>（</a:t>
                </a:r>
                <a:r>
                  <a:rPr lang="en-US" altLang="zh-CN" sz="1400" b="1" dirty="0">
                    <a:solidFill>
                      <a:schemeClr val="tx1"/>
                    </a:solidFill>
                  </a:rPr>
                  <a:t>1944.3—1944.8</a:t>
                </a:r>
                <a:r>
                  <a:rPr lang="zh-CN" altLang="en-US" sz="1400" b="1" dirty="0">
                    <a:solidFill>
                      <a:schemeClr val="tx1"/>
                    </a:solidFill>
                  </a:rPr>
                  <a:t>）孟拱河谷战役，日军第 </a:t>
                </a:r>
                <a:r>
                  <a:rPr lang="en-US" altLang="zh-CN" sz="1400" b="1" dirty="0">
                    <a:solidFill>
                      <a:schemeClr val="tx1"/>
                    </a:solidFill>
                  </a:rPr>
                  <a:t>18 </a:t>
                </a:r>
                <a:r>
                  <a:rPr lang="zh-CN" altLang="en-US" sz="1400" b="1" dirty="0">
                    <a:solidFill>
                      <a:schemeClr val="tx1"/>
                    </a:solidFill>
                  </a:rPr>
                  <a:t>师团残部溃退。切断日军补给线，歼敌 </a:t>
                </a:r>
                <a:r>
                  <a:rPr lang="en-US" altLang="zh-CN" sz="1400" b="1" dirty="0">
                    <a:solidFill>
                      <a:schemeClr val="tx1"/>
                    </a:solidFill>
                  </a:rPr>
                  <a:t>2 </a:t>
                </a:r>
                <a:r>
                  <a:rPr lang="zh-CN" altLang="en-US" sz="1400" b="1" dirty="0">
                    <a:solidFill>
                      <a:schemeClr val="tx1"/>
                    </a:solidFill>
                  </a:rPr>
                  <a:t>万余人。</a:t>
                </a:r>
                <a:endParaRPr lang="zh-CN" altLang="en-US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8" name="椭圆 37">
              <a:extLst>
                <a:ext uri="{FF2B5EF4-FFF2-40B4-BE49-F238E27FC236}">
                  <a16:creationId xmlns:a16="http://schemas.microsoft.com/office/drawing/2014/main" id="{18B298C8-9CD2-9B9B-C448-6DF97E0081B3}"/>
                </a:ext>
              </a:extLst>
            </p:cNvPr>
            <p:cNvSpPr/>
            <p:nvPr/>
          </p:nvSpPr>
          <p:spPr>
            <a:xfrm>
              <a:off x="4438239" y="1957507"/>
              <a:ext cx="99256" cy="86265"/>
            </a:xfrm>
            <a:prstGeom prst="ellipse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E84BBA25-B083-7CD5-8149-CC59E1C94AB9}"/>
              </a:ext>
            </a:extLst>
          </p:cNvPr>
          <p:cNvGrpSpPr/>
          <p:nvPr/>
        </p:nvGrpSpPr>
        <p:grpSpPr>
          <a:xfrm>
            <a:off x="4668273" y="1619966"/>
            <a:ext cx="6185929" cy="528592"/>
            <a:chOff x="4659647" y="1645844"/>
            <a:chExt cx="6282301" cy="528592"/>
          </a:xfrm>
        </p:grpSpPr>
        <p:cxnSp>
          <p:nvCxnSpPr>
            <p:cNvPr id="32" name="直接连接符 31">
              <a:extLst>
                <a:ext uri="{FF2B5EF4-FFF2-40B4-BE49-F238E27FC236}">
                  <a16:creationId xmlns:a16="http://schemas.microsoft.com/office/drawing/2014/main" id="{4BED6AD1-0DB1-5B19-5B0F-B58057B93D0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72783" y="1907186"/>
              <a:ext cx="2096505" cy="12949"/>
            </a:xfrm>
            <a:prstGeom prst="line">
              <a:avLst/>
            </a:prstGeom>
            <a:ln w="19050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矩形: 圆角 36">
              <a:extLst>
                <a:ext uri="{FF2B5EF4-FFF2-40B4-BE49-F238E27FC236}">
                  <a16:creationId xmlns:a16="http://schemas.microsoft.com/office/drawing/2014/main" id="{E94CC886-B910-A539-AE03-77882837C75D}"/>
                </a:ext>
              </a:extLst>
            </p:cNvPr>
            <p:cNvSpPr/>
            <p:nvPr/>
          </p:nvSpPr>
          <p:spPr>
            <a:xfrm>
              <a:off x="6883168" y="1645844"/>
              <a:ext cx="4058780" cy="528592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b="1" dirty="0">
                  <a:solidFill>
                    <a:schemeClr val="tx1"/>
                  </a:solidFill>
                </a:rPr>
                <a:t>（</a:t>
              </a:r>
              <a:r>
                <a:rPr lang="en-US" altLang="zh-CN" sz="1400" b="1" dirty="0">
                  <a:solidFill>
                    <a:schemeClr val="tx1"/>
                  </a:solidFill>
                </a:rPr>
                <a:t>1944.5—1944.8</a:t>
              </a:r>
              <a:r>
                <a:rPr lang="zh-CN" altLang="en-US" sz="1400" b="1" dirty="0">
                  <a:solidFill>
                    <a:schemeClr val="tx1"/>
                  </a:solidFill>
                </a:rPr>
                <a:t>）密支那战役，毙敌 </a:t>
              </a:r>
              <a:r>
                <a:rPr lang="en-US" altLang="zh-CN" sz="1400" b="1" dirty="0">
                  <a:solidFill>
                    <a:schemeClr val="tx1"/>
                  </a:solidFill>
                </a:rPr>
                <a:t>2 </a:t>
              </a:r>
              <a:r>
                <a:rPr lang="zh-CN" altLang="en-US" sz="1400" b="1" dirty="0">
                  <a:solidFill>
                    <a:schemeClr val="tx1"/>
                  </a:solidFill>
                </a:rPr>
                <a:t>千余人，打通中印空运线。</a:t>
              </a:r>
            </a:p>
          </p:txBody>
        </p:sp>
        <p:sp>
          <p:nvSpPr>
            <p:cNvPr id="41" name="椭圆 40">
              <a:extLst>
                <a:ext uri="{FF2B5EF4-FFF2-40B4-BE49-F238E27FC236}">
                  <a16:creationId xmlns:a16="http://schemas.microsoft.com/office/drawing/2014/main" id="{7EF501DB-6EBB-0B65-7505-D00A37B50768}"/>
                </a:ext>
              </a:extLst>
            </p:cNvPr>
            <p:cNvSpPr/>
            <p:nvPr/>
          </p:nvSpPr>
          <p:spPr>
            <a:xfrm>
              <a:off x="4659647" y="1920135"/>
              <a:ext cx="99256" cy="86265"/>
            </a:xfrm>
            <a:prstGeom prst="ellipse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62FCD20D-8112-DDA9-7FB4-9CE6521F7CFF}"/>
              </a:ext>
            </a:extLst>
          </p:cNvPr>
          <p:cNvGrpSpPr/>
          <p:nvPr/>
        </p:nvGrpSpPr>
        <p:grpSpPr>
          <a:xfrm>
            <a:off x="4648153" y="2195054"/>
            <a:ext cx="6419538" cy="623327"/>
            <a:chOff x="4659647" y="1645843"/>
            <a:chExt cx="5479684" cy="623327"/>
          </a:xfrm>
        </p:grpSpPr>
        <p:cxnSp>
          <p:nvCxnSpPr>
            <p:cNvPr id="46" name="直接连接符 45">
              <a:extLst>
                <a:ext uri="{FF2B5EF4-FFF2-40B4-BE49-F238E27FC236}">
                  <a16:creationId xmlns:a16="http://schemas.microsoft.com/office/drawing/2014/main" id="{7C7E89A5-6E8E-2011-BB44-D7B830C9A7D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72783" y="1907186"/>
              <a:ext cx="2096505" cy="12949"/>
            </a:xfrm>
            <a:prstGeom prst="line">
              <a:avLst/>
            </a:prstGeom>
            <a:ln w="19050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矩形: 圆角 46">
              <a:extLst>
                <a:ext uri="{FF2B5EF4-FFF2-40B4-BE49-F238E27FC236}">
                  <a16:creationId xmlns:a16="http://schemas.microsoft.com/office/drawing/2014/main" id="{1AB974B6-1354-3B8A-6A57-106EF0FC2543}"/>
                </a:ext>
              </a:extLst>
            </p:cNvPr>
            <p:cNvSpPr/>
            <p:nvPr/>
          </p:nvSpPr>
          <p:spPr>
            <a:xfrm>
              <a:off x="6883168" y="1645843"/>
              <a:ext cx="3256163" cy="62332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b="1" dirty="0">
                  <a:solidFill>
                    <a:schemeClr val="tx1"/>
                  </a:solidFill>
                </a:rPr>
                <a:t>（</a:t>
              </a:r>
              <a:r>
                <a:rPr lang="en-US" altLang="zh-CN" sz="1400" b="1" dirty="0">
                  <a:solidFill>
                    <a:schemeClr val="tx1"/>
                  </a:solidFill>
                </a:rPr>
                <a:t>1944.10—1945.1</a:t>
              </a:r>
              <a:r>
                <a:rPr lang="zh-CN" altLang="en-US" sz="1400" b="1" dirty="0">
                  <a:solidFill>
                    <a:schemeClr val="tx1"/>
                  </a:solidFill>
                </a:rPr>
                <a:t>）八莫、南坎战役：克复八莫，毙敌 </a:t>
              </a:r>
              <a:r>
                <a:rPr lang="en-US" altLang="zh-CN" sz="1400" b="1" dirty="0">
                  <a:solidFill>
                    <a:schemeClr val="tx1"/>
                  </a:solidFill>
                </a:rPr>
                <a:t>2400 </a:t>
              </a:r>
              <a:r>
                <a:rPr lang="zh-CN" altLang="en-US" sz="1400" b="1" dirty="0">
                  <a:solidFill>
                    <a:schemeClr val="tx1"/>
                  </a:solidFill>
                </a:rPr>
                <a:t>余人，切断日军退路。</a:t>
              </a:r>
            </a:p>
          </p:txBody>
        </p:sp>
        <p:sp>
          <p:nvSpPr>
            <p:cNvPr id="48" name="椭圆 47">
              <a:extLst>
                <a:ext uri="{FF2B5EF4-FFF2-40B4-BE49-F238E27FC236}">
                  <a16:creationId xmlns:a16="http://schemas.microsoft.com/office/drawing/2014/main" id="{A8033D46-1118-6DF8-A888-BC725352436F}"/>
                </a:ext>
              </a:extLst>
            </p:cNvPr>
            <p:cNvSpPr/>
            <p:nvPr/>
          </p:nvSpPr>
          <p:spPr>
            <a:xfrm>
              <a:off x="4659647" y="1920135"/>
              <a:ext cx="99256" cy="86265"/>
            </a:xfrm>
            <a:prstGeom prst="ellipse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9" name="组合 48">
            <a:extLst>
              <a:ext uri="{FF2B5EF4-FFF2-40B4-BE49-F238E27FC236}">
                <a16:creationId xmlns:a16="http://schemas.microsoft.com/office/drawing/2014/main" id="{A33BB57C-D304-5FDF-8949-7A29F00BE077}"/>
              </a:ext>
            </a:extLst>
          </p:cNvPr>
          <p:cNvGrpSpPr/>
          <p:nvPr/>
        </p:nvGrpSpPr>
        <p:grpSpPr>
          <a:xfrm>
            <a:off x="4889330" y="2832614"/>
            <a:ext cx="6445779" cy="583438"/>
            <a:chOff x="4659647" y="1645843"/>
            <a:chExt cx="5479684" cy="623327"/>
          </a:xfrm>
        </p:grpSpPr>
        <p:cxnSp>
          <p:nvCxnSpPr>
            <p:cNvPr id="50" name="直接连接符 49">
              <a:extLst>
                <a:ext uri="{FF2B5EF4-FFF2-40B4-BE49-F238E27FC236}">
                  <a16:creationId xmlns:a16="http://schemas.microsoft.com/office/drawing/2014/main" id="{DC0D16BE-CF04-96AA-A1BA-31737CBA4CA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72783" y="1907186"/>
              <a:ext cx="2096505" cy="12949"/>
            </a:xfrm>
            <a:prstGeom prst="line">
              <a:avLst/>
            </a:prstGeom>
            <a:ln w="19050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矩形: 圆角 50">
              <a:extLst>
                <a:ext uri="{FF2B5EF4-FFF2-40B4-BE49-F238E27FC236}">
                  <a16:creationId xmlns:a16="http://schemas.microsoft.com/office/drawing/2014/main" id="{0DBD573E-5D64-3750-0EB5-EC441C6DAB46}"/>
                </a:ext>
              </a:extLst>
            </p:cNvPr>
            <p:cNvSpPr/>
            <p:nvPr/>
          </p:nvSpPr>
          <p:spPr>
            <a:xfrm>
              <a:off x="6883168" y="1645843"/>
              <a:ext cx="3256163" cy="62332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b="1" dirty="0">
                  <a:solidFill>
                    <a:schemeClr val="tx1"/>
                  </a:solidFill>
                </a:rPr>
                <a:t>（</a:t>
              </a:r>
              <a:r>
                <a:rPr lang="en-US" altLang="zh-CN" sz="1400" b="1" dirty="0">
                  <a:solidFill>
                    <a:schemeClr val="tx1"/>
                  </a:solidFill>
                </a:rPr>
                <a:t>1945.3</a:t>
              </a:r>
              <a:r>
                <a:rPr lang="zh-CN" altLang="en-US" sz="1400" b="1" dirty="0">
                  <a:solidFill>
                    <a:schemeClr val="tx1"/>
                  </a:solidFill>
                </a:rPr>
                <a:t>）腊戍战役打通中印公路全线。</a:t>
              </a:r>
            </a:p>
          </p:txBody>
        </p:sp>
        <p:sp>
          <p:nvSpPr>
            <p:cNvPr id="52" name="椭圆 51">
              <a:extLst>
                <a:ext uri="{FF2B5EF4-FFF2-40B4-BE49-F238E27FC236}">
                  <a16:creationId xmlns:a16="http://schemas.microsoft.com/office/drawing/2014/main" id="{004F95B0-0D1B-57D3-09AB-D68962D7DFF3}"/>
                </a:ext>
              </a:extLst>
            </p:cNvPr>
            <p:cNvSpPr/>
            <p:nvPr/>
          </p:nvSpPr>
          <p:spPr>
            <a:xfrm>
              <a:off x="4659647" y="1920135"/>
              <a:ext cx="99256" cy="86265"/>
            </a:xfrm>
            <a:prstGeom prst="ellipse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aphicFrame>
        <p:nvGraphicFramePr>
          <p:cNvPr id="54" name="表格 53">
            <a:extLst>
              <a:ext uri="{FF2B5EF4-FFF2-40B4-BE49-F238E27FC236}">
                <a16:creationId xmlns:a16="http://schemas.microsoft.com/office/drawing/2014/main" id="{F831115E-FE7A-389C-4F96-D948EE4BB5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6778977"/>
              </p:ext>
            </p:extLst>
          </p:nvPr>
        </p:nvGraphicFramePr>
        <p:xfrm>
          <a:off x="6764650" y="257705"/>
          <a:ext cx="4791433" cy="365760"/>
        </p:xfrm>
        <a:graphic>
          <a:graphicData uri="http://schemas.openxmlformats.org/drawingml/2006/table">
            <a:tbl>
              <a:tblPr/>
              <a:tblGrid>
                <a:gridCol w="4791433">
                  <a:extLst>
                    <a:ext uri="{9D8B030D-6E8A-4147-A177-3AD203B41FA5}">
                      <a16:colId xmlns:a16="http://schemas.microsoft.com/office/drawing/2014/main" val="238033104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材料一：</a:t>
                      </a:r>
                      <a:r>
                        <a:rPr lang="en-US" altLang="zh-CN" sz="18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——</a:t>
                      </a:r>
                      <a:r>
                        <a:rPr lang="zh-CN" altLang="en-US" sz="18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战果均整理自</a:t>
                      </a:r>
                      <a:r>
                        <a:rPr lang="en-US" altLang="zh-CN" sz="18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《</a:t>
                      </a:r>
                      <a:r>
                        <a:rPr lang="zh-CN" altLang="en-US" sz="18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郑洞国回忆录</a:t>
                      </a:r>
                      <a:r>
                        <a:rPr lang="en-US" altLang="zh-CN" sz="18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》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66749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05197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026D76-89EC-5F87-0D32-D84D17BFC4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27">
            <a:extLst>
              <a:ext uri="{FF2B5EF4-FFF2-40B4-BE49-F238E27FC236}">
                <a16:creationId xmlns:a16="http://schemas.microsoft.com/office/drawing/2014/main" id="{36BD6AB0-6734-76EF-A62F-2779738953A8}"/>
              </a:ext>
            </a:extLst>
          </p:cNvPr>
          <p:cNvSpPr/>
          <p:nvPr/>
        </p:nvSpPr>
        <p:spPr bwMode="auto">
          <a:xfrm>
            <a:off x="0" y="0"/>
            <a:ext cx="6313714" cy="6858000"/>
          </a:xfrm>
          <a:custGeom>
            <a:avLst/>
            <a:gdLst>
              <a:gd name="connsiteX0" fmla="*/ 0 w 6313714"/>
              <a:gd name="connsiteY0" fmla="*/ 0 h 6858000"/>
              <a:gd name="connsiteX1" fmla="*/ 5433970 w 6313714"/>
              <a:gd name="connsiteY1" fmla="*/ 0 h 6858000"/>
              <a:gd name="connsiteX2" fmla="*/ 6313714 w 6313714"/>
              <a:gd name="connsiteY2" fmla="*/ 3429000 h 6858000"/>
              <a:gd name="connsiteX3" fmla="*/ 5433970 w 6313714"/>
              <a:gd name="connsiteY3" fmla="*/ 6858000 h 6858000"/>
              <a:gd name="connsiteX4" fmla="*/ 0 w 6313714"/>
              <a:gd name="connsiteY4" fmla="*/ 6858000 h 6858000"/>
              <a:gd name="connsiteX5" fmla="*/ 0 w 631371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3714" h="6858000">
                <a:moveTo>
                  <a:pt x="0" y="0"/>
                </a:moveTo>
                <a:lnTo>
                  <a:pt x="5433970" y="0"/>
                </a:lnTo>
                <a:lnTo>
                  <a:pt x="6313714" y="3429000"/>
                </a:lnTo>
                <a:lnTo>
                  <a:pt x="543397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>
            <a:innerShdw blurRad="254000" dist="50800" dir="18900000">
              <a:prstClr val="black">
                <a:alpha val="35000"/>
              </a:prst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00DEE7CC-15F7-7E43-B7D1-253282E2D5F2}"/>
              </a:ext>
            </a:extLst>
          </p:cNvPr>
          <p:cNvSpPr txBox="1"/>
          <p:nvPr/>
        </p:nvSpPr>
        <p:spPr>
          <a:xfrm>
            <a:off x="39153" y="1596187"/>
            <a:ext cx="5863210" cy="29358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材料一：美国总统罗斯福先生曾有公正、客观的评价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,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他说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:“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假如没有中国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,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假如中国被打坍了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,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你想一想有多少师的日本兵可以因此调到其他方面作战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?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他们可以马上打下澳州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,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打下印度 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…… 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他们并且可以一直冲向中东 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…… 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和德国配合起来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,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举行一个大规模的夹击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,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在近东会师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,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把俄国完全隔离起来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,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吞并埃及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,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切断通过地中海的一切交通线。”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           ——《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郑洞国回忆录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》</a:t>
            </a:r>
          </a:p>
        </p:txBody>
      </p:sp>
      <p:graphicFrame>
        <p:nvGraphicFramePr>
          <p:cNvPr id="9" name="表格 8">
            <a:extLst>
              <a:ext uri="{FF2B5EF4-FFF2-40B4-BE49-F238E27FC236}">
                <a16:creationId xmlns:a16="http://schemas.microsoft.com/office/drawing/2014/main" id="{C74210AE-9EA6-F97A-F7AC-FCD8E1B938C6}"/>
              </a:ext>
            </a:extLst>
          </p:cNvPr>
          <p:cNvGraphicFramePr>
            <a:graphicFrameLocks noGrp="1"/>
          </p:cNvGraphicFramePr>
          <p:nvPr/>
        </p:nvGraphicFramePr>
        <p:xfrm>
          <a:off x="6512118" y="1282297"/>
          <a:ext cx="5494385" cy="14833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988109">
                  <a:extLst>
                    <a:ext uri="{9D8B030D-6E8A-4147-A177-3AD203B41FA5}">
                      <a16:colId xmlns:a16="http://schemas.microsoft.com/office/drawing/2014/main" val="739347711"/>
                    </a:ext>
                  </a:extLst>
                </a:gridCol>
                <a:gridCol w="1289812">
                  <a:extLst>
                    <a:ext uri="{9D8B030D-6E8A-4147-A177-3AD203B41FA5}">
                      <a16:colId xmlns:a16="http://schemas.microsoft.com/office/drawing/2014/main" val="289247628"/>
                    </a:ext>
                  </a:extLst>
                </a:gridCol>
                <a:gridCol w="3216464">
                  <a:extLst>
                    <a:ext uri="{9D8B030D-6E8A-4147-A177-3AD203B41FA5}">
                      <a16:colId xmlns:a16="http://schemas.microsoft.com/office/drawing/2014/main" val="350275657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>
                          <a:solidFill>
                            <a:schemeClr val="tx1"/>
                          </a:solidFill>
                          <a:effectLst/>
                        </a:rPr>
                        <a:t>国家</a:t>
                      </a:r>
                      <a:endParaRPr lang="zh-CN" altLang="en-US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>
                          <a:solidFill>
                            <a:schemeClr val="tx1"/>
                          </a:solidFill>
                          <a:effectLst/>
                        </a:rPr>
                        <a:t>签约时间</a:t>
                      </a:r>
                      <a:endParaRPr lang="zh-CN" altLang="en-US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>
                          <a:solidFill>
                            <a:schemeClr val="tx1"/>
                          </a:solidFill>
                          <a:effectLst/>
                        </a:rPr>
                        <a:t>核心内容</a:t>
                      </a:r>
                      <a:endParaRPr lang="zh-CN" altLang="en-US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02161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>
                          <a:effectLst/>
                        </a:rPr>
                        <a:t>美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>
                          <a:effectLst/>
                        </a:rPr>
                        <a:t>1943.1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>
                          <a:effectLst/>
                        </a:rPr>
                        <a:t>废除治外法权、归还租界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43607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>
                          <a:effectLst/>
                        </a:rPr>
                        <a:t>英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>
                          <a:effectLst/>
                        </a:rPr>
                        <a:t>1943.1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>
                          <a:effectLst/>
                        </a:rPr>
                        <a:t>放弃领事裁判权、交还威海卫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36494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>
                          <a:effectLst/>
                        </a:rPr>
                        <a:t>比利时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>
                          <a:effectLst/>
                        </a:rPr>
                        <a:t>1943.10.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>
                          <a:effectLst/>
                        </a:rPr>
                        <a:t>终止</a:t>
                      </a:r>
                      <a:r>
                        <a:rPr lang="en-US" altLang="zh-CN" dirty="0">
                          <a:effectLst/>
                        </a:rPr>
                        <a:t>1901</a:t>
                      </a:r>
                      <a:r>
                        <a:rPr lang="zh-CN" altLang="en-US" dirty="0">
                          <a:effectLst/>
                        </a:rPr>
                        <a:t>年条约特权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7527183"/>
                  </a:ext>
                </a:extLst>
              </a:tr>
            </a:tbl>
          </a:graphicData>
        </a:graphic>
      </p:graphicFrame>
      <p:sp>
        <p:nvSpPr>
          <p:cNvPr id="11" name="文本框 10">
            <a:extLst>
              <a:ext uri="{FF2B5EF4-FFF2-40B4-BE49-F238E27FC236}">
                <a16:creationId xmlns:a16="http://schemas.microsoft.com/office/drawing/2014/main" id="{97B31DEF-D469-073D-572B-816588325923}"/>
              </a:ext>
            </a:extLst>
          </p:cNvPr>
          <p:cNvSpPr txBox="1"/>
          <p:nvPr/>
        </p:nvSpPr>
        <p:spPr>
          <a:xfrm>
            <a:off x="7854570" y="836127"/>
            <a:ext cx="30226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1" i="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抗战期间废除的不平等条约</a:t>
            </a:r>
            <a:endParaRPr lang="en-US" altLang="zh-CN" sz="1800" b="1" i="0" kern="120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3B2BE722-6C62-06BE-68D9-4FA9DB1163E6}"/>
              </a:ext>
            </a:extLst>
          </p:cNvPr>
          <p:cNvSpPr txBox="1"/>
          <p:nvPr/>
        </p:nvSpPr>
        <p:spPr>
          <a:xfrm>
            <a:off x="8812966" y="2879455"/>
            <a:ext cx="412840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effectLst/>
              </a:rPr>
              <a:t>——《</a:t>
            </a:r>
            <a:r>
              <a:rPr lang="zh-CN" altLang="en-US" dirty="0">
                <a:effectLst/>
              </a:rPr>
              <a:t>中华民国外交史料汇编</a:t>
            </a:r>
            <a:r>
              <a:rPr lang="en-US" altLang="zh-CN" dirty="0">
                <a:effectLst/>
              </a:rPr>
              <a:t>》</a:t>
            </a:r>
            <a:endParaRPr lang="zh-CN" altLang="en-US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EC10181F-2B3D-A9E2-02D1-4998F6E18CC4}"/>
              </a:ext>
            </a:extLst>
          </p:cNvPr>
          <p:cNvSpPr txBox="1"/>
          <p:nvPr/>
        </p:nvSpPr>
        <p:spPr>
          <a:xfrm>
            <a:off x="5982590" y="799167"/>
            <a:ext cx="18719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材料二：</a:t>
            </a:r>
            <a:endParaRPr lang="zh-CN" altLang="en-US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B818498E-0A6E-5E72-4278-D121EFCE6AB6}"/>
              </a:ext>
            </a:extLst>
          </p:cNvPr>
          <p:cNvSpPr txBox="1"/>
          <p:nvPr/>
        </p:nvSpPr>
        <p:spPr>
          <a:xfrm>
            <a:off x="6313714" y="3207561"/>
            <a:ext cx="5692789" cy="8583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b="1" i="0" dirty="0">
                <a:solidFill>
                  <a:srgbClr val="40404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（</a:t>
            </a:r>
            <a:r>
              <a:rPr lang="en-US" altLang="zh-CN" b="1" i="0" dirty="0">
                <a:solidFill>
                  <a:srgbClr val="40404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1</a:t>
            </a:r>
            <a:r>
              <a:rPr lang="zh-CN" altLang="en-US" b="1" i="0" dirty="0">
                <a:solidFill>
                  <a:srgbClr val="40404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）结合地图上的信息，请你说说这两段段材料中的联系</a:t>
            </a:r>
            <a:r>
              <a:rPr lang="zh-CN" altLang="en-US" b="1" dirty="0">
                <a:solidFill>
                  <a:srgbClr val="40404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  <a:endParaRPr lang="en-US" altLang="zh-CN" b="1" i="0" dirty="0">
              <a:solidFill>
                <a:srgbClr val="404040"/>
              </a:solidFill>
              <a:effectLst/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988E114F-745B-A913-6AAC-DD85F21FBF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4417" y="3943930"/>
            <a:ext cx="4028420" cy="2687837"/>
          </a:xfrm>
          <a:prstGeom prst="rect">
            <a:avLst/>
          </a:prstGeom>
        </p:spPr>
      </p:pic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F1E1CCDF-3D02-98AA-7788-592EB9A85644}"/>
              </a:ext>
            </a:extLst>
          </p:cNvPr>
          <p:cNvSpPr>
            <a:spLocks/>
          </p:cNvSpPr>
          <p:nvPr/>
        </p:nvSpPr>
        <p:spPr bwMode="auto">
          <a:xfrm>
            <a:off x="-301410" y="323282"/>
            <a:ext cx="5503455" cy="845217"/>
          </a:xfrm>
          <a:custGeom>
            <a:avLst/>
            <a:gdLst>
              <a:gd name="connsiteX0" fmla="*/ 883995 w 5227821"/>
              <a:gd name="connsiteY0" fmla="*/ 1158893 h 1257266"/>
              <a:gd name="connsiteX1" fmla="*/ 891058 w 5227821"/>
              <a:gd name="connsiteY1" fmla="*/ 1159121 h 1257266"/>
              <a:gd name="connsiteX2" fmla="*/ 883539 w 5227821"/>
              <a:gd name="connsiteY2" fmla="*/ 1159121 h 1257266"/>
              <a:gd name="connsiteX3" fmla="*/ 4615788 w 5227821"/>
              <a:gd name="connsiteY3" fmla="*/ 826594 h 1257266"/>
              <a:gd name="connsiteX4" fmla="*/ 4616959 w 5227821"/>
              <a:gd name="connsiteY4" fmla="*/ 827767 h 1257266"/>
              <a:gd name="connsiteX5" fmla="*/ 4617450 w 5227821"/>
              <a:gd name="connsiteY5" fmla="*/ 827029 h 1257266"/>
              <a:gd name="connsiteX6" fmla="*/ 4610559 w 5227821"/>
              <a:gd name="connsiteY6" fmla="*/ 825984 h 1257266"/>
              <a:gd name="connsiteX7" fmla="*/ 4591373 w 5227821"/>
              <a:gd name="connsiteY7" fmla="*/ 828386 h 1257266"/>
              <a:gd name="connsiteX8" fmla="*/ 4584680 w 5227821"/>
              <a:gd name="connsiteY8" fmla="*/ 830752 h 1257266"/>
              <a:gd name="connsiteX9" fmla="*/ 4583122 w 5227821"/>
              <a:gd name="connsiteY9" fmla="*/ 831532 h 1257266"/>
              <a:gd name="connsiteX10" fmla="*/ 4598161 w 5227821"/>
              <a:gd name="connsiteY10" fmla="*/ 835298 h 1257266"/>
              <a:gd name="connsiteX11" fmla="*/ 4600041 w 5227821"/>
              <a:gd name="connsiteY11" fmla="*/ 833886 h 1257266"/>
              <a:gd name="connsiteX12" fmla="*/ 4763331 w 5227821"/>
              <a:gd name="connsiteY12" fmla="*/ 809097 h 1257266"/>
              <a:gd name="connsiteX13" fmla="*/ 4764025 w 5227821"/>
              <a:gd name="connsiteY13" fmla="*/ 815097 h 1257266"/>
              <a:gd name="connsiteX14" fmla="*/ 4768080 w 5227821"/>
              <a:gd name="connsiteY14" fmla="*/ 809559 h 1257266"/>
              <a:gd name="connsiteX15" fmla="*/ 4653526 w 5227821"/>
              <a:gd name="connsiteY15" fmla="*/ 808089 h 1257266"/>
              <a:gd name="connsiteX16" fmla="*/ 4644009 w 5227821"/>
              <a:gd name="connsiteY16" fmla="*/ 820856 h 1257266"/>
              <a:gd name="connsiteX17" fmla="*/ 4659047 w 5227821"/>
              <a:gd name="connsiteY17" fmla="*/ 828386 h 1257266"/>
              <a:gd name="connsiteX18" fmla="*/ 4642634 w 5227821"/>
              <a:gd name="connsiteY18" fmla="*/ 833009 h 1257266"/>
              <a:gd name="connsiteX19" fmla="*/ 4658317 w 5227821"/>
              <a:gd name="connsiteY19" fmla="*/ 846594 h 1257266"/>
              <a:gd name="connsiteX20" fmla="*/ 4684635 w 5227821"/>
              <a:gd name="connsiteY20" fmla="*/ 816471 h 1257266"/>
              <a:gd name="connsiteX21" fmla="*/ 4683861 w 5227821"/>
              <a:gd name="connsiteY21" fmla="*/ 813370 h 1257266"/>
              <a:gd name="connsiteX22" fmla="*/ 4669387 w 5227821"/>
              <a:gd name="connsiteY22" fmla="*/ 809089 h 1257266"/>
              <a:gd name="connsiteX23" fmla="*/ 4653526 w 5227821"/>
              <a:gd name="connsiteY23" fmla="*/ 808089 h 1257266"/>
              <a:gd name="connsiteX24" fmla="*/ 4720496 w 5227821"/>
              <a:gd name="connsiteY24" fmla="*/ 800558 h 1257266"/>
              <a:gd name="connsiteX25" fmla="*/ 4704165 w 5227821"/>
              <a:gd name="connsiteY25" fmla="*/ 809559 h 1257266"/>
              <a:gd name="connsiteX26" fmla="*/ 4711684 w 5227821"/>
              <a:gd name="connsiteY26" fmla="*/ 817090 h 1257266"/>
              <a:gd name="connsiteX27" fmla="*/ 4703433 w 5227821"/>
              <a:gd name="connsiteY27" fmla="*/ 816325 h 1257266"/>
              <a:gd name="connsiteX28" fmla="*/ 4703433 w 5227821"/>
              <a:gd name="connsiteY28" fmla="*/ 824001 h 1257266"/>
              <a:gd name="connsiteX29" fmla="*/ 4718473 w 5227821"/>
              <a:gd name="connsiteY29" fmla="*/ 820236 h 1257266"/>
              <a:gd name="connsiteX30" fmla="*/ 4733511 w 5227821"/>
              <a:gd name="connsiteY30" fmla="*/ 846594 h 1257266"/>
              <a:gd name="connsiteX31" fmla="*/ 4710953 w 5227821"/>
              <a:gd name="connsiteY31" fmla="*/ 850359 h 1257266"/>
              <a:gd name="connsiteX32" fmla="*/ 4692155 w 5227821"/>
              <a:gd name="connsiteY32" fmla="*/ 842828 h 1257266"/>
              <a:gd name="connsiteX33" fmla="*/ 4658317 w 5227821"/>
              <a:gd name="connsiteY33" fmla="*/ 854125 h 1257266"/>
              <a:gd name="connsiteX34" fmla="*/ 4677115 w 5227821"/>
              <a:gd name="connsiteY34" fmla="*/ 854125 h 1257266"/>
              <a:gd name="connsiteX35" fmla="*/ 4673355 w 5227821"/>
              <a:gd name="connsiteY35" fmla="*/ 857890 h 1257266"/>
              <a:gd name="connsiteX36" fmla="*/ 4741031 w 5227821"/>
              <a:gd name="connsiteY36" fmla="*/ 857890 h 1257266"/>
              <a:gd name="connsiteX37" fmla="*/ 4748551 w 5227821"/>
              <a:gd name="connsiteY37" fmla="*/ 861655 h 1257266"/>
              <a:gd name="connsiteX38" fmla="*/ 4752310 w 5227821"/>
              <a:gd name="connsiteY38" fmla="*/ 857890 h 1257266"/>
              <a:gd name="connsiteX39" fmla="*/ 4763589 w 5227821"/>
              <a:gd name="connsiteY39" fmla="*/ 854125 h 1257266"/>
              <a:gd name="connsiteX40" fmla="*/ 4752310 w 5227821"/>
              <a:gd name="connsiteY40" fmla="*/ 854125 h 1257266"/>
              <a:gd name="connsiteX41" fmla="*/ 4756070 w 5227821"/>
              <a:gd name="connsiteY41" fmla="*/ 835298 h 1257266"/>
              <a:gd name="connsiteX42" fmla="*/ 4744321 w 5227821"/>
              <a:gd name="connsiteY42" fmla="*/ 817412 h 1257266"/>
              <a:gd name="connsiteX43" fmla="*/ 4747974 w 5227821"/>
              <a:gd name="connsiteY43" fmla="*/ 806649 h 1257266"/>
              <a:gd name="connsiteX44" fmla="*/ 4736122 w 5227821"/>
              <a:gd name="connsiteY44" fmla="*/ 802499 h 1257266"/>
              <a:gd name="connsiteX45" fmla="*/ 4720496 w 5227821"/>
              <a:gd name="connsiteY45" fmla="*/ 800558 h 1257266"/>
              <a:gd name="connsiteX46" fmla="*/ 1676438 w 5227821"/>
              <a:gd name="connsiteY46" fmla="*/ 90716 h 1257266"/>
              <a:gd name="connsiteX47" fmla="*/ 1850993 w 5227821"/>
              <a:gd name="connsiteY47" fmla="*/ 94135 h 1257266"/>
              <a:gd name="connsiteX48" fmla="*/ 2046029 w 5227821"/>
              <a:gd name="connsiteY48" fmla="*/ 97900 h 1257266"/>
              <a:gd name="connsiteX49" fmla="*/ 2057308 w 5227821"/>
              <a:gd name="connsiteY49" fmla="*/ 101666 h 1257266"/>
              <a:gd name="connsiteX50" fmla="*/ 1850523 w 5227821"/>
              <a:gd name="connsiteY50" fmla="*/ 97900 h 1257266"/>
              <a:gd name="connsiteX51" fmla="*/ 1692614 w 5227821"/>
              <a:gd name="connsiteY51" fmla="*/ 94135 h 1257266"/>
              <a:gd name="connsiteX52" fmla="*/ 1675636 w 5227821"/>
              <a:gd name="connsiteY52" fmla="*/ 90546 h 1257266"/>
              <a:gd name="connsiteX53" fmla="*/ 1676438 w 5227821"/>
              <a:gd name="connsiteY53" fmla="*/ 90716 h 1257266"/>
              <a:gd name="connsiteX54" fmla="*/ 1674865 w 5227821"/>
              <a:gd name="connsiteY54" fmla="*/ 90685 h 1257266"/>
              <a:gd name="connsiteX55" fmla="*/ 2005634 w 5227821"/>
              <a:gd name="connsiteY55" fmla="*/ 36919 h 1257266"/>
              <a:gd name="connsiteX56" fmla="*/ 2008432 w 5227821"/>
              <a:gd name="connsiteY56" fmla="*/ 37654 h 1257266"/>
              <a:gd name="connsiteX57" fmla="*/ 2000912 w 5227821"/>
              <a:gd name="connsiteY57" fmla="*/ 37654 h 1257266"/>
              <a:gd name="connsiteX58" fmla="*/ 1594861 w 5227821"/>
              <a:gd name="connsiteY58" fmla="*/ 0 h 1257266"/>
              <a:gd name="connsiteX59" fmla="*/ 1655016 w 5227821"/>
              <a:gd name="connsiteY59" fmla="*/ 11296 h 1257266"/>
              <a:gd name="connsiteX60" fmla="*/ 1651257 w 5227821"/>
              <a:gd name="connsiteY60" fmla="*/ 18827 h 1257266"/>
              <a:gd name="connsiteX61" fmla="*/ 1767809 w 5227821"/>
              <a:gd name="connsiteY61" fmla="*/ 22593 h 1257266"/>
              <a:gd name="connsiteX62" fmla="*/ 2230256 w 5227821"/>
              <a:gd name="connsiteY62" fmla="*/ 26358 h 1257266"/>
              <a:gd name="connsiteX63" fmla="*/ 2275373 w 5227821"/>
              <a:gd name="connsiteY63" fmla="*/ 30123 h 1257266"/>
              <a:gd name="connsiteX64" fmla="*/ 2046029 w 5227821"/>
              <a:gd name="connsiteY64" fmla="*/ 33889 h 1257266"/>
              <a:gd name="connsiteX65" fmla="*/ 2022061 w 5227821"/>
              <a:gd name="connsiteY65" fmla="*/ 34359 h 1257266"/>
              <a:gd name="connsiteX66" fmla="*/ 2005634 w 5227821"/>
              <a:gd name="connsiteY66" fmla="*/ 36919 h 1257266"/>
              <a:gd name="connsiteX67" fmla="*/ 1983817 w 5227821"/>
              <a:gd name="connsiteY67" fmla="*/ 31183 h 1257266"/>
              <a:gd name="connsiteX68" fmla="*/ 1888120 w 5227821"/>
              <a:gd name="connsiteY68" fmla="*/ 30123 h 1257266"/>
              <a:gd name="connsiteX69" fmla="*/ 1662536 w 5227821"/>
              <a:gd name="connsiteY69" fmla="*/ 26358 h 1257266"/>
              <a:gd name="connsiteX70" fmla="*/ 1655016 w 5227821"/>
              <a:gd name="connsiteY70" fmla="*/ 37654 h 1257266"/>
              <a:gd name="connsiteX71" fmla="*/ 1609900 w 5227821"/>
              <a:gd name="connsiteY71" fmla="*/ 30123 h 1257266"/>
              <a:gd name="connsiteX72" fmla="*/ 1553503 w 5227821"/>
              <a:gd name="connsiteY72" fmla="*/ 52716 h 1257266"/>
              <a:gd name="connsiteX73" fmla="*/ 1587341 w 5227821"/>
              <a:gd name="connsiteY73" fmla="*/ 56481 h 1257266"/>
              <a:gd name="connsiteX74" fmla="*/ 1542224 w 5227821"/>
              <a:gd name="connsiteY74" fmla="*/ 56481 h 1257266"/>
              <a:gd name="connsiteX75" fmla="*/ 1527185 w 5227821"/>
              <a:gd name="connsiteY75" fmla="*/ 71543 h 1257266"/>
              <a:gd name="connsiteX76" fmla="*/ 1478309 w 5227821"/>
              <a:gd name="connsiteY76" fmla="*/ 79073 h 1257266"/>
              <a:gd name="connsiteX77" fmla="*/ 1658776 w 5227821"/>
              <a:gd name="connsiteY77" fmla="*/ 90370 h 1257266"/>
              <a:gd name="connsiteX78" fmla="*/ 1674865 w 5227821"/>
              <a:gd name="connsiteY78" fmla="*/ 90685 h 1257266"/>
              <a:gd name="connsiteX79" fmla="*/ 1658306 w 5227821"/>
              <a:gd name="connsiteY79" fmla="*/ 93664 h 1257266"/>
              <a:gd name="connsiteX80" fmla="*/ 1621179 w 5227821"/>
              <a:gd name="connsiteY80" fmla="*/ 101666 h 1257266"/>
              <a:gd name="connsiteX81" fmla="*/ 1579822 w 5227821"/>
              <a:gd name="connsiteY81" fmla="*/ 128024 h 1257266"/>
              <a:gd name="connsiteX82" fmla="*/ 1576062 w 5227821"/>
              <a:gd name="connsiteY82" fmla="*/ 120493 h 1257266"/>
              <a:gd name="connsiteX83" fmla="*/ 1598620 w 5227821"/>
              <a:gd name="connsiteY83" fmla="*/ 112962 h 1257266"/>
              <a:gd name="connsiteX84" fmla="*/ 1587341 w 5227821"/>
              <a:gd name="connsiteY84" fmla="*/ 109197 h 1257266"/>
              <a:gd name="connsiteX85" fmla="*/ 1564783 w 5227821"/>
              <a:gd name="connsiteY85" fmla="*/ 109197 h 1257266"/>
              <a:gd name="connsiteX86" fmla="*/ 1553503 w 5227821"/>
              <a:gd name="connsiteY86" fmla="*/ 105431 h 1257266"/>
              <a:gd name="connsiteX87" fmla="*/ 1621179 w 5227821"/>
              <a:gd name="connsiteY87" fmla="*/ 94135 h 1257266"/>
              <a:gd name="connsiteX88" fmla="*/ 1448231 w 5227821"/>
              <a:gd name="connsiteY88" fmla="*/ 86604 h 1257266"/>
              <a:gd name="connsiteX89" fmla="*/ 1410633 w 5227821"/>
              <a:gd name="connsiteY89" fmla="*/ 97900 h 1257266"/>
              <a:gd name="connsiteX90" fmla="*/ 1444471 w 5227821"/>
              <a:gd name="connsiteY90" fmla="*/ 101666 h 1257266"/>
              <a:gd name="connsiteX91" fmla="*/ 1380555 w 5227821"/>
              <a:gd name="connsiteY91" fmla="*/ 131789 h 1257266"/>
              <a:gd name="connsiteX92" fmla="*/ 1380555 w 5227821"/>
              <a:gd name="connsiteY92" fmla="*/ 112962 h 1257266"/>
              <a:gd name="connsiteX93" fmla="*/ 1369276 w 5227821"/>
              <a:gd name="connsiteY93" fmla="*/ 131789 h 1257266"/>
              <a:gd name="connsiteX94" fmla="*/ 1357997 w 5227821"/>
              <a:gd name="connsiteY94" fmla="*/ 131789 h 1257266"/>
              <a:gd name="connsiteX95" fmla="*/ 1354237 w 5227821"/>
              <a:gd name="connsiteY95" fmla="*/ 146851 h 1257266"/>
              <a:gd name="connsiteX96" fmla="*/ 1350478 w 5227821"/>
              <a:gd name="connsiteY96" fmla="*/ 139320 h 1257266"/>
              <a:gd name="connsiteX97" fmla="*/ 1327919 w 5227821"/>
              <a:gd name="connsiteY97" fmla="*/ 161912 h 1257266"/>
              <a:gd name="connsiteX98" fmla="*/ 1436952 w 5227821"/>
              <a:gd name="connsiteY98" fmla="*/ 173208 h 1257266"/>
              <a:gd name="connsiteX99" fmla="*/ 1459510 w 5227821"/>
              <a:gd name="connsiteY99" fmla="*/ 192035 h 1257266"/>
              <a:gd name="connsiteX100" fmla="*/ 1421913 w 5227821"/>
              <a:gd name="connsiteY100" fmla="*/ 207097 h 1257266"/>
              <a:gd name="connsiteX101" fmla="*/ 1451990 w 5227821"/>
              <a:gd name="connsiteY101" fmla="*/ 207097 h 1257266"/>
              <a:gd name="connsiteX102" fmla="*/ 1451990 w 5227821"/>
              <a:gd name="connsiteY102" fmla="*/ 210862 h 1257266"/>
              <a:gd name="connsiteX103" fmla="*/ 1512146 w 5227821"/>
              <a:gd name="connsiteY103" fmla="*/ 210862 h 1257266"/>
              <a:gd name="connsiteX104" fmla="*/ 1512146 w 5227821"/>
              <a:gd name="connsiteY104" fmla="*/ 214628 h 1257266"/>
              <a:gd name="connsiteX105" fmla="*/ 1534705 w 5227821"/>
              <a:gd name="connsiteY105" fmla="*/ 214628 h 1257266"/>
              <a:gd name="connsiteX106" fmla="*/ 1538464 w 5227821"/>
              <a:gd name="connsiteY106" fmla="*/ 210862 h 1257266"/>
              <a:gd name="connsiteX107" fmla="*/ 1538464 w 5227821"/>
              <a:gd name="connsiteY107" fmla="*/ 218393 h 1257266"/>
              <a:gd name="connsiteX108" fmla="*/ 1515906 w 5227821"/>
              <a:gd name="connsiteY108" fmla="*/ 225924 h 1257266"/>
              <a:gd name="connsiteX109" fmla="*/ 1549744 w 5227821"/>
              <a:gd name="connsiteY109" fmla="*/ 229689 h 1257266"/>
              <a:gd name="connsiteX110" fmla="*/ 1542224 w 5227821"/>
              <a:gd name="connsiteY110" fmla="*/ 237220 h 1257266"/>
              <a:gd name="connsiteX111" fmla="*/ 1722692 w 5227821"/>
              <a:gd name="connsiteY111" fmla="*/ 225924 h 1257266"/>
              <a:gd name="connsiteX112" fmla="*/ 1764049 w 5227821"/>
              <a:gd name="connsiteY112" fmla="*/ 218393 h 1257266"/>
              <a:gd name="connsiteX113" fmla="*/ 1801646 w 5227821"/>
              <a:gd name="connsiteY113" fmla="*/ 218393 h 1257266"/>
              <a:gd name="connsiteX114" fmla="*/ 1809166 w 5227821"/>
              <a:gd name="connsiteY114" fmla="*/ 214628 h 1257266"/>
              <a:gd name="connsiteX115" fmla="*/ 1940757 w 5227821"/>
              <a:gd name="connsiteY115" fmla="*/ 214628 h 1257266"/>
              <a:gd name="connsiteX116" fmla="*/ 2083627 w 5227821"/>
              <a:gd name="connsiteY116" fmla="*/ 203331 h 1257266"/>
              <a:gd name="connsiteX117" fmla="*/ 2124984 w 5227821"/>
              <a:gd name="connsiteY117" fmla="*/ 203331 h 1257266"/>
              <a:gd name="connsiteX118" fmla="*/ 2128744 w 5227821"/>
              <a:gd name="connsiteY118" fmla="*/ 199566 h 1257266"/>
              <a:gd name="connsiteX119" fmla="*/ 2117464 w 5227821"/>
              <a:gd name="connsiteY119" fmla="*/ 195801 h 1257266"/>
              <a:gd name="connsiteX120" fmla="*/ 2128744 w 5227821"/>
              <a:gd name="connsiteY120" fmla="*/ 192035 h 1257266"/>
              <a:gd name="connsiteX121" fmla="*/ 2121224 w 5227821"/>
              <a:gd name="connsiteY121" fmla="*/ 188270 h 1257266"/>
              <a:gd name="connsiteX122" fmla="*/ 2192659 w 5227821"/>
              <a:gd name="connsiteY122" fmla="*/ 184504 h 1257266"/>
              <a:gd name="connsiteX123" fmla="*/ 2196419 w 5227821"/>
              <a:gd name="connsiteY123" fmla="*/ 199566 h 1257266"/>
              <a:gd name="connsiteX124" fmla="*/ 2215218 w 5227821"/>
              <a:gd name="connsiteY124" fmla="*/ 195801 h 1257266"/>
              <a:gd name="connsiteX125" fmla="*/ 2203938 w 5227821"/>
              <a:gd name="connsiteY125" fmla="*/ 188270 h 1257266"/>
              <a:gd name="connsiteX126" fmla="*/ 2271614 w 5227821"/>
              <a:gd name="connsiteY126" fmla="*/ 188270 h 1257266"/>
              <a:gd name="connsiteX127" fmla="*/ 2395685 w 5227821"/>
              <a:gd name="connsiteY127" fmla="*/ 184504 h 1257266"/>
              <a:gd name="connsiteX128" fmla="*/ 2422003 w 5227821"/>
              <a:gd name="connsiteY128" fmla="*/ 169443 h 1257266"/>
              <a:gd name="connsiteX129" fmla="*/ 2564873 w 5227821"/>
              <a:gd name="connsiteY129" fmla="*/ 180739 h 1257266"/>
              <a:gd name="connsiteX130" fmla="*/ 2737821 w 5227821"/>
              <a:gd name="connsiteY130" fmla="*/ 176974 h 1257266"/>
              <a:gd name="connsiteX131" fmla="*/ 2737821 w 5227821"/>
              <a:gd name="connsiteY131" fmla="*/ 169443 h 1257266"/>
              <a:gd name="connsiteX132" fmla="*/ 2794217 w 5227821"/>
              <a:gd name="connsiteY132" fmla="*/ 176974 h 1257266"/>
              <a:gd name="connsiteX133" fmla="*/ 2805496 w 5227821"/>
              <a:gd name="connsiteY133" fmla="*/ 169443 h 1257266"/>
              <a:gd name="connsiteX134" fmla="*/ 3568723 w 5227821"/>
              <a:gd name="connsiteY134" fmla="*/ 165678 h 1257266"/>
              <a:gd name="connsiteX135" fmla="*/ 3673996 w 5227821"/>
              <a:gd name="connsiteY135" fmla="*/ 158147 h 1257266"/>
              <a:gd name="connsiteX136" fmla="*/ 3719113 w 5227821"/>
              <a:gd name="connsiteY136" fmla="*/ 161912 h 1257266"/>
              <a:gd name="connsiteX137" fmla="*/ 3880782 w 5227821"/>
              <a:gd name="connsiteY137" fmla="*/ 150616 h 1257266"/>
              <a:gd name="connsiteX138" fmla="*/ 3869503 w 5227821"/>
              <a:gd name="connsiteY138" fmla="*/ 161912 h 1257266"/>
              <a:gd name="connsiteX139" fmla="*/ 3922139 w 5227821"/>
              <a:gd name="connsiteY139" fmla="*/ 169443 h 1257266"/>
              <a:gd name="connsiteX140" fmla="*/ 4046210 w 5227821"/>
              <a:gd name="connsiteY140" fmla="*/ 165678 h 1257266"/>
              <a:gd name="connsiteX141" fmla="*/ 4083807 w 5227821"/>
              <a:gd name="connsiteY141" fmla="*/ 165678 h 1257266"/>
              <a:gd name="connsiteX142" fmla="*/ 4083807 w 5227821"/>
              <a:gd name="connsiteY142" fmla="*/ 169443 h 1257266"/>
              <a:gd name="connsiteX143" fmla="*/ 4181561 w 5227821"/>
              <a:gd name="connsiteY143" fmla="*/ 173208 h 1257266"/>
              <a:gd name="connsiteX144" fmla="*/ 4264275 w 5227821"/>
              <a:gd name="connsiteY144" fmla="*/ 173208 h 1257266"/>
              <a:gd name="connsiteX145" fmla="*/ 4316911 w 5227821"/>
              <a:gd name="connsiteY145" fmla="*/ 184504 h 1257266"/>
              <a:gd name="connsiteX146" fmla="*/ 4440983 w 5227821"/>
              <a:gd name="connsiteY146" fmla="*/ 184504 h 1257266"/>
              <a:gd name="connsiteX147" fmla="*/ 4433463 w 5227821"/>
              <a:gd name="connsiteY147" fmla="*/ 192035 h 1257266"/>
              <a:gd name="connsiteX148" fmla="*/ 4512418 w 5227821"/>
              <a:gd name="connsiteY148" fmla="*/ 199566 h 1257266"/>
              <a:gd name="connsiteX149" fmla="*/ 4550015 w 5227821"/>
              <a:gd name="connsiteY149" fmla="*/ 203331 h 1257266"/>
              <a:gd name="connsiteX150" fmla="*/ 4557535 w 5227821"/>
              <a:gd name="connsiteY150" fmla="*/ 199566 h 1257266"/>
              <a:gd name="connsiteX151" fmla="*/ 4568814 w 5227821"/>
              <a:gd name="connsiteY151" fmla="*/ 207097 h 1257266"/>
              <a:gd name="connsiteX152" fmla="*/ 4644009 w 5227821"/>
              <a:gd name="connsiteY152" fmla="*/ 233455 h 1257266"/>
              <a:gd name="connsiteX153" fmla="*/ 4775599 w 5227821"/>
              <a:gd name="connsiteY153" fmla="*/ 237220 h 1257266"/>
              <a:gd name="connsiteX154" fmla="*/ 4828236 w 5227821"/>
              <a:gd name="connsiteY154" fmla="*/ 199566 h 1257266"/>
              <a:gd name="connsiteX155" fmla="*/ 4783119 w 5227821"/>
              <a:gd name="connsiteY155" fmla="*/ 188270 h 1257266"/>
              <a:gd name="connsiteX156" fmla="*/ 4828236 w 5227821"/>
              <a:gd name="connsiteY156" fmla="*/ 195801 h 1257266"/>
              <a:gd name="connsiteX157" fmla="*/ 4850795 w 5227821"/>
              <a:gd name="connsiteY157" fmla="*/ 180739 h 1257266"/>
              <a:gd name="connsiteX158" fmla="*/ 4794399 w 5227821"/>
              <a:gd name="connsiteY158" fmla="*/ 150616 h 1257266"/>
              <a:gd name="connsiteX159" fmla="*/ 4813197 w 5227821"/>
              <a:gd name="connsiteY159" fmla="*/ 143085 h 1257266"/>
              <a:gd name="connsiteX160" fmla="*/ 4738002 w 5227821"/>
              <a:gd name="connsiteY160" fmla="*/ 135554 h 1257266"/>
              <a:gd name="connsiteX161" fmla="*/ 4677847 w 5227821"/>
              <a:gd name="connsiteY161" fmla="*/ 139320 h 1257266"/>
              <a:gd name="connsiteX162" fmla="*/ 4644009 w 5227821"/>
              <a:gd name="connsiteY162" fmla="*/ 116727 h 1257266"/>
              <a:gd name="connsiteX163" fmla="*/ 4516177 w 5227821"/>
              <a:gd name="connsiteY163" fmla="*/ 109197 h 1257266"/>
              <a:gd name="connsiteX164" fmla="*/ 4444743 w 5227821"/>
              <a:gd name="connsiteY164" fmla="*/ 90370 h 1257266"/>
              <a:gd name="connsiteX165" fmla="*/ 4380827 w 5227821"/>
              <a:gd name="connsiteY165" fmla="*/ 82839 h 1257266"/>
              <a:gd name="connsiteX166" fmla="*/ 4365788 w 5227821"/>
              <a:gd name="connsiteY166" fmla="*/ 90370 h 1257266"/>
              <a:gd name="connsiteX167" fmla="*/ 4354509 w 5227821"/>
              <a:gd name="connsiteY167" fmla="*/ 86604 h 1257266"/>
              <a:gd name="connsiteX168" fmla="*/ 4331951 w 5227821"/>
              <a:gd name="connsiteY168" fmla="*/ 82839 h 1257266"/>
              <a:gd name="connsiteX169" fmla="*/ 4335710 w 5227821"/>
              <a:gd name="connsiteY169" fmla="*/ 67777 h 1257266"/>
              <a:gd name="connsiteX170" fmla="*/ 4474821 w 5227821"/>
              <a:gd name="connsiteY170" fmla="*/ 79073 h 1257266"/>
              <a:gd name="connsiteX171" fmla="*/ 4561295 w 5227821"/>
              <a:gd name="connsiteY171" fmla="*/ 90370 h 1257266"/>
              <a:gd name="connsiteX172" fmla="*/ 4681606 w 5227821"/>
              <a:gd name="connsiteY172" fmla="*/ 94135 h 1257266"/>
              <a:gd name="connsiteX173" fmla="*/ 4685366 w 5227821"/>
              <a:gd name="connsiteY173" fmla="*/ 97900 h 1257266"/>
              <a:gd name="connsiteX174" fmla="*/ 4801918 w 5227821"/>
              <a:gd name="connsiteY174" fmla="*/ 109197 h 1257266"/>
              <a:gd name="connsiteX175" fmla="*/ 4809437 w 5227821"/>
              <a:gd name="connsiteY175" fmla="*/ 112962 h 1257266"/>
              <a:gd name="connsiteX176" fmla="*/ 4824476 w 5227821"/>
              <a:gd name="connsiteY176" fmla="*/ 105431 h 1257266"/>
              <a:gd name="connsiteX177" fmla="*/ 4828236 w 5227821"/>
              <a:gd name="connsiteY177" fmla="*/ 109197 h 1257266"/>
              <a:gd name="connsiteX178" fmla="*/ 4805677 w 5227821"/>
              <a:gd name="connsiteY178" fmla="*/ 124258 h 1257266"/>
              <a:gd name="connsiteX179" fmla="*/ 4903431 w 5227821"/>
              <a:gd name="connsiteY179" fmla="*/ 124258 h 1257266"/>
              <a:gd name="connsiteX180" fmla="*/ 4925989 w 5227821"/>
              <a:gd name="connsiteY180" fmla="*/ 143085 h 1257266"/>
              <a:gd name="connsiteX181" fmla="*/ 4941028 w 5227821"/>
              <a:gd name="connsiteY181" fmla="*/ 143085 h 1257266"/>
              <a:gd name="connsiteX182" fmla="*/ 4922229 w 5227821"/>
              <a:gd name="connsiteY182" fmla="*/ 109197 h 1257266"/>
              <a:gd name="connsiteX183" fmla="*/ 4956067 w 5227821"/>
              <a:gd name="connsiteY183" fmla="*/ 97900 h 1257266"/>
              <a:gd name="connsiteX184" fmla="*/ 4959827 w 5227821"/>
              <a:gd name="connsiteY184" fmla="*/ 94135 h 1257266"/>
              <a:gd name="connsiteX185" fmla="*/ 4922229 w 5227821"/>
              <a:gd name="connsiteY185" fmla="*/ 97900 h 1257266"/>
              <a:gd name="connsiteX186" fmla="*/ 4903431 w 5227821"/>
              <a:gd name="connsiteY186" fmla="*/ 86604 h 1257266"/>
              <a:gd name="connsiteX187" fmla="*/ 4933509 w 5227821"/>
              <a:gd name="connsiteY187" fmla="*/ 75308 h 1257266"/>
              <a:gd name="connsiteX188" fmla="*/ 4929749 w 5227821"/>
              <a:gd name="connsiteY188" fmla="*/ 71543 h 1257266"/>
              <a:gd name="connsiteX189" fmla="*/ 5068859 w 5227821"/>
              <a:gd name="connsiteY189" fmla="*/ 79073 h 1257266"/>
              <a:gd name="connsiteX190" fmla="*/ 5061339 w 5227821"/>
              <a:gd name="connsiteY190" fmla="*/ 75308 h 1257266"/>
              <a:gd name="connsiteX191" fmla="*/ 5132775 w 5227821"/>
              <a:gd name="connsiteY191" fmla="*/ 75308 h 1257266"/>
              <a:gd name="connsiteX192" fmla="*/ 5136535 w 5227821"/>
              <a:gd name="connsiteY192" fmla="*/ 71543 h 1257266"/>
              <a:gd name="connsiteX193" fmla="*/ 5087658 w 5227821"/>
              <a:gd name="connsiteY193" fmla="*/ 71543 h 1257266"/>
              <a:gd name="connsiteX194" fmla="*/ 5189171 w 5227821"/>
              <a:gd name="connsiteY194" fmla="*/ 52716 h 1257266"/>
              <a:gd name="connsiteX195" fmla="*/ 5095177 w 5227821"/>
              <a:gd name="connsiteY195" fmla="*/ 101666 h 1257266"/>
              <a:gd name="connsiteX196" fmla="*/ 5065099 w 5227821"/>
              <a:gd name="connsiteY196" fmla="*/ 131789 h 1257266"/>
              <a:gd name="connsiteX197" fmla="*/ 4971106 w 5227821"/>
              <a:gd name="connsiteY197" fmla="*/ 161912 h 1257266"/>
              <a:gd name="connsiteX198" fmla="*/ 5035021 w 5227821"/>
              <a:gd name="connsiteY198" fmla="*/ 165678 h 1257266"/>
              <a:gd name="connsiteX199" fmla="*/ 5023743 w 5227821"/>
              <a:gd name="connsiteY199" fmla="*/ 184504 h 1257266"/>
              <a:gd name="connsiteX200" fmla="*/ 4869593 w 5227821"/>
              <a:gd name="connsiteY200" fmla="*/ 263578 h 1257266"/>
              <a:gd name="connsiteX201" fmla="*/ 4884632 w 5227821"/>
              <a:gd name="connsiteY201" fmla="*/ 267343 h 1257266"/>
              <a:gd name="connsiteX202" fmla="*/ 4798158 w 5227821"/>
              <a:gd name="connsiteY202" fmla="*/ 312528 h 1257266"/>
              <a:gd name="connsiteX203" fmla="*/ 4809437 w 5227821"/>
              <a:gd name="connsiteY203" fmla="*/ 316293 h 1257266"/>
              <a:gd name="connsiteX204" fmla="*/ 4783119 w 5227821"/>
              <a:gd name="connsiteY204" fmla="*/ 327589 h 1257266"/>
              <a:gd name="connsiteX205" fmla="*/ 4783119 w 5227821"/>
              <a:gd name="connsiteY205" fmla="*/ 304997 h 1257266"/>
              <a:gd name="connsiteX206" fmla="*/ 4760561 w 5227821"/>
              <a:gd name="connsiteY206" fmla="*/ 335120 h 1257266"/>
              <a:gd name="connsiteX207" fmla="*/ 4801918 w 5227821"/>
              <a:gd name="connsiteY207" fmla="*/ 342651 h 1257266"/>
              <a:gd name="connsiteX208" fmla="*/ 4801918 w 5227821"/>
              <a:gd name="connsiteY208" fmla="*/ 350182 h 1257266"/>
              <a:gd name="connsiteX209" fmla="*/ 4820717 w 5227821"/>
              <a:gd name="connsiteY209" fmla="*/ 346416 h 1257266"/>
              <a:gd name="connsiteX210" fmla="*/ 4816957 w 5227821"/>
              <a:gd name="connsiteY210" fmla="*/ 342651 h 1257266"/>
              <a:gd name="connsiteX211" fmla="*/ 4850795 w 5227821"/>
              <a:gd name="connsiteY211" fmla="*/ 342651 h 1257266"/>
              <a:gd name="connsiteX212" fmla="*/ 4850795 w 5227821"/>
              <a:gd name="connsiteY212" fmla="*/ 331355 h 1257266"/>
              <a:gd name="connsiteX213" fmla="*/ 4910950 w 5227821"/>
              <a:gd name="connsiteY213" fmla="*/ 323824 h 1257266"/>
              <a:gd name="connsiteX214" fmla="*/ 4918469 w 5227821"/>
              <a:gd name="connsiteY214" fmla="*/ 293701 h 1257266"/>
              <a:gd name="connsiteX215" fmla="*/ 4937269 w 5227821"/>
              <a:gd name="connsiteY215" fmla="*/ 278639 h 1257266"/>
              <a:gd name="connsiteX216" fmla="*/ 4941028 w 5227821"/>
              <a:gd name="connsiteY216" fmla="*/ 278639 h 1257266"/>
              <a:gd name="connsiteX217" fmla="*/ 4997424 w 5227821"/>
              <a:gd name="connsiteY217" fmla="*/ 256047 h 1257266"/>
              <a:gd name="connsiteX218" fmla="*/ 5042541 w 5227821"/>
              <a:gd name="connsiteY218" fmla="*/ 263578 h 1257266"/>
              <a:gd name="connsiteX219" fmla="*/ 5027502 w 5227821"/>
              <a:gd name="connsiteY219" fmla="*/ 278639 h 1257266"/>
              <a:gd name="connsiteX220" fmla="*/ 5061339 w 5227821"/>
              <a:gd name="connsiteY220" fmla="*/ 278639 h 1257266"/>
              <a:gd name="connsiteX221" fmla="*/ 5019983 w 5227821"/>
              <a:gd name="connsiteY221" fmla="*/ 323824 h 1257266"/>
              <a:gd name="connsiteX222" fmla="*/ 5012463 w 5227821"/>
              <a:gd name="connsiteY222" fmla="*/ 342651 h 1257266"/>
              <a:gd name="connsiteX223" fmla="*/ 5001184 w 5227821"/>
              <a:gd name="connsiteY223" fmla="*/ 335120 h 1257266"/>
              <a:gd name="connsiteX224" fmla="*/ 5001184 w 5227821"/>
              <a:gd name="connsiteY224" fmla="*/ 327589 h 1257266"/>
              <a:gd name="connsiteX225" fmla="*/ 4986145 w 5227821"/>
              <a:gd name="connsiteY225" fmla="*/ 335120 h 1257266"/>
              <a:gd name="connsiteX226" fmla="*/ 4978625 w 5227821"/>
              <a:gd name="connsiteY226" fmla="*/ 335120 h 1257266"/>
              <a:gd name="connsiteX227" fmla="*/ 4993665 w 5227821"/>
              <a:gd name="connsiteY227" fmla="*/ 301232 h 1257266"/>
              <a:gd name="connsiteX228" fmla="*/ 5008703 w 5227821"/>
              <a:gd name="connsiteY228" fmla="*/ 297466 h 1257266"/>
              <a:gd name="connsiteX229" fmla="*/ 5012463 w 5227821"/>
              <a:gd name="connsiteY229" fmla="*/ 286170 h 1257266"/>
              <a:gd name="connsiteX230" fmla="*/ 5027502 w 5227821"/>
              <a:gd name="connsiteY230" fmla="*/ 282405 h 1257266"/>
              <a:gd name="connsiteX231" fmla="*/ 4982385 w 5227821"/>
              <a:gd name="connsiteY231" fmla="*/ 286170 h 1257266"/>
              <a:gd name="connsiteX232" fmla="*/ 4888392 w 5227821"/>
              <a:gd name="connsiteY232" fmla="*/ 353947 h 1257266"/>
              <a:gd name="connsiteX233" fmla="*/ 4884632 w 5227821"/>
              <a:gd name="connsiteY233" fmla="*/ 365243 h 1257266"/>
              <a:gd name="connsiteX234" fmla="*/ 4869593 w 5227821"/>
              <a:gd name="connsiteY234" fmla="*/ 369009 h 1257266"/>
              <a:gd name="connsiteX235" fmla="*/ 4880873 w 5227821"/>
              <a:gd name="connsiteY235" fmla="*/ 380305 h 1257266"/>
              <a:gd name="connsiteX236" fmla="*/ 4865833 w 5227821"/>
              <a:gd name="connsiteY236" fmla="*/ 387836 h 1257266"/>
              <a:gd name="connsiteX237" fmla="*/ 4903431 w 5227821"/>
              <a:gd name="connsiteY237" fmla="*/ 391601 h 1257266"/>
              <a:gd name="connsiteX238" fmla="*/ 4929749 w 5227821"/>
              <a:gd name="connsiteY238" fmla="*/ 384070 h 1257266"/>
              <a:gd name="connsiteX239" fmla="*/ 4918469 w 5227821"/>
              <a:gd name="connsiteY239" fmla="*/ 395366 h 1257266"/>
              <a:gd name="connsiteX240" fmla="*/ 4925989 w 5227821"/>
              <a:gd name="connsiteY240" fmla="*/ 399132 h 1257266"/>
              <a:gd name="connsiteX241" fmla="*/ 4971106 w 5227821"/>
              <a:gd name="connsiteY241" fmla="*/ 380305 h 1257266"/>
              <a:gd name="connsiteX242" fmla="*/ 4967347 w 5227821"/>
              <a:gd name="connsiteY242" fmla="*/ 429255 h 1257266"/>
              <a:gd name="connsiteX243" fmla="*/ 5001184 w 5227821"/>
              <a:gd name="connsiteY243" fmla="*/ 391601 h 1257266"/>
              <a:gd name="connsiteX244" fmla="*/ 5012463 w 5227821"/>
              <a:gd name="connsiteY244" fmla="*/ 391601 h 1257266"/>
              <a:gd name="connsiteX245" fmla="*/ 4974865 w 5227821"/>
              <a:gd name="connsiteY245" fmla="*/ 466909 h 1257266"/>
              <a:gd name="connsiteX246" fmla="*/ 4971106 w 5227821"/>
              <a:gd name="connsiteY246" fmla="*/ 466909 h 1257266"/>
              <a:gd name="connsiteX247" fmla="*/ 4963587 w 5227821"/>
              <a:gd name="connsiteY247" fmla="*/ 470674 h 1257266"/>
              <a:gd name="connsiteX248" fmla="*/ 4952307 w 5227821"/>
              <a:gd name="connsiteY248" fmla="*/ 470674 h 1257266"/>
              <a:gd name="connsiteX249" fmla="*/ 4929749 w 5227821"/>
              <a:gd name="connsiteY249" fmla="*/ 474440 h 1257266"/>
              <a:gd name="connsiteX250" fmla="*/ 4952307 w 5227821"/>
              <a:gd name="connsiteY250" fmla="*/ 470674 h 1257266"/>
              <a:gd name="connsiteX251" fmla="*/ 4963587 w 5227821"/>
              <a:gd name="connsiteY251" fmla="*/ 470674 h 1257266"/>
              <a:gd name="connsiteX252" fmla="*/ 4967347 w 5227821"/>
              <a:gd name="connsiteY252" fmla="*/ 470674 h 1257266"/>
              <a:gd name="connsiteX253" fmla="*/ 4944788 w 5227821"/>
              <a:gd name="connsiteY253" fmla="*/ 481970 h 1257266"/>
              <a:gd name="connsiteX254" fmla="*/ 4959827 w 5227821"/>
              <a:gd name="connsiteY254" fmla="*/ 485736 h 1257266"/>
              <a:gd name="connsiteX255" fmla="*/ 4974865 w 5227821"/>
              <a:gd name="connsiteY255" fmla="*/ 474440 h 1257266"/>
              <a:gd name="connsiteX256" fmla="*/ 4978625 w 5227821"/>
              <a:gd name="connsiteY256" fmla="*/ 478205 h 1257266"/>
              <a:gd name="connsiteX257" fmla="*/ 4993665 w 5227821"/>
              <a:gd name="connsiteY257" fmla="*/ 455613 h 1257266"/>
              <a:gd name="connsiteX258" fmla="*/ 5004943 w 5227821"/>
              <a:gd name="connsiteY258" fmla="*/ 455613 h 1257266"/>
              <a:gd name="connsiteX259" fmla="*/ 5019983 w 5227821"/>
              <a:gd name="connsiteY259" fmla="*/ 497032 h 1257266"/>
              <a:gd name="connsiteX260" fmla="*/ 5046301 w 5227821"/>
              <a:gd name="connsiteY260" fmla="*/ 466909 h 1257266"/>
              <a:gd name="connsiteX261" fmla="*/ 5042541 w 5227821"/>
              <a:gd name="connsiteY261" fmla="*/ 451847 h 1257266"/>
              <a:gd name="connsiteX262" fmla="*/ 5065099 w 5227821"/>
              <a:gd name="connsiteY262" fmla="*/ 448082 h 1257266"/>
              <a:gd name="connsiteX263" fmla="*/ 5065099 w 5227821"/>
              <a:gd name="connsiteY263" fmla="*/ 474440 h 1257266"/>
              <a:gd name="connsiteX264" fmla="*/ 5080139 w 5227821"/>
              <a:gd name="connsiteY264" fmla="*/ 470674 h 1257266"/>
              <a:gd name="connsiteX265" fmla="*/ 5095177 w 5227821"/>
              <a:gd name="connsiteY265" fmla="*/ 497032 h 1257266"/>
              <a:gd name="connsiteX266" fmla="*/ 5072619 w 5227821"/>
              <a:gd name="connsiteY266" fmla="*/ 500797 h 1257266"/>
              <a:gd name="connsiteX267" fmla="*/ 5053821 w 5227821"/>
              <a:gd name="connsiteY267" fmla="*/ 493267 h 1257266"/>
              <a:gd name="connsiteX268" fmla="*/ 5019983 w 5227821"/>
              <a:gd name="connsiteY268" fmla="*/ 504563 h 1257266"/>
              <a:gd name="connsiteX269" fmla="*/ 5038781 w 5227821"/>
              <a:gd name="connsiteY269" fmla="*/ 504563 h 1257266"/>
              <a:gd name="connsiteX270" fmla="*/ 5035021 w 5227821"/>
              <a:gd name="connsiteY270" fmla="*/ 508328 h 1257266"/>
              <a:gd name="connsiteX271" fmla="*/ 5102697 w 5227821"/>
              <a:gd name="connsiteY271" fmla="*/ 508328 h 1257266"/>
              <a:gd name="connsiteX272" fmla="*/ 5110217 w 5227821"/>
              <a:gd name="connsiteY272" fmla="*/ 512094 h 1257266"/>
              <a:gd name="connsiteX273" fmla="*/ 5113976 w 5227821"/>
              <a:gd name="connsiteY273" fmla="*/ 508328 h 1257266"/>
              <a:gd name="connsiteX274" fmla="*/ 5125255 w 5227821"/>
              <a:gd name="connsiteY274" fmla="*/ 504563 h 1257266"/>
              <a:gd name="connsiteX275" fmla="*/ 5113976 w 5227821"/>
              <a:gd name="connsiteY275" fmla="*/ 504563 h 1257266"/>
              <a:gd name="connsiteX276" fmla="*/ 5117736 w 5227821"/>
              <a:gd name="connsiteY276" fmla="*/ 485736 h 1257266"/>
              <a:gd name="connsiteX277" fmla="*/ 5113976 w 5227821"/>
              <a:gd name="connsiteY277" fmla="*/ 444317 h 1257266"/>
              <a:gd name="connsiteX278" fmla="*/ 5159093 w 5227821"/>
              <a:gd name="connsiteY278" fmla="*/ 489501 h 1257266"/>
              <a:gd name="connsiteX279" fmla="*/ 5162853 w 5227821"/>
              <a:gd name="connsiteY279" fmla="*/ 485736 h 1257266"/>
              <a:gd name="connsiteX280" fmla="*/ 5170372 w 5227821"/>
              <a:gd name="connsiteY280" fmla="*/ 489501 h 1257266"/>
              <a:gd name="connsiteX281" fmla="*/ 5170372 w 5227821"/>
              <a:gd name="connsiteY281" fmla="*/ 519624 h 1257266"/>
              <a:gd name="connsiteX282" fmla="*/ 5162853 w 5227821"/>
              <a:gd name="connsiteY282" fmla="*/ 508328 h 1257266"/>
              <a:gd name="connsiteX283" fmla="*/ 5144054 w 5227821"/>
              <a:gd name="connsiteY283" fmla="*/ 549748 h 1257266"/>
              <a:gd name="connsiteX284" fmla="*/ 5110217 w 5227821"/>
              <a:gd name="connsiteY284" fmla="*/ 564809 h 1257266"/>
              <a:gd name="connsiteX285" fmla="*/ 5129015 w 5227821"/>
              <a:gd name="connsiteY285" fmla="*/ 606228 h 1257266"/>
              <a:gd name="connsiteX286" fmla="*/ 5159093 w 5227821"/>
              <a:gd name="connsiteY286" fmla="*/ 591167 h 1257266"/>
              <a:gd name="connsiteX287" fmla="*/ 5129015 w 5227821"/>
              <a:gd name="connsiteY287" fmla="*/ 617524 h 1257266"/>
              <a:gd name="connsiteX288" fmla="*/ 5136535 w 5227821"/>
              <a:gd name="connsiteY288" fmla="*/ 681536 h 1257266"/>
              <a:gd name="connsiteX289" fmla="*/ 5159093 w 5227821"/>
              <a:gd name="connsiteY289" fmla="*/ 692832 h 1257266"/>
              <a:gd name="connsiteX290" fmla="*/ 5207969 w 5227821"/>
              <a:gd name="connsiteY290" fmla="*/ 670240 h 1257266"/>
              <a:gd name="connsiteX291" fmla="*/ 5215489 w 5227821"/>
              <a:gd name="connsiteY291" fmla="*/ 674005 h 1257266"/>
              <a:gd name="connsiteX292" fmla="*/ 5223009 w 5227821"/>
              <a:gd name="connsiteY292" fmla="*/ 670240 h 1257266"/>
              <a:gd name="connsiteX293" fmla="*/ 5226769 w 5227821"/>
              <a:gd name="connsiteY293" fmla="*/ 704128 h 1257266"/>
              <a:gd name="connsiteX294" fmla="*/ 5129015 w 5227821"/>
              <a:gd name="connsiteY294" fmla="*/ 745548 h 1257266"/>
              <a:gd name="connsiteX295" fmla="*/ 5113976 w 5227821"/>
              <a:gd name="connsiteY295" fmla="*/ 745548 h 1257266"/>
              <a:gd name="connsiteX296" fmla="*/ 5117736 w 5227821"/>
              <a:gd name="connsiteY296" fmla="*/ 741782 h 1257266"/>
              <a:gd name="connsiteX297" fmla="*/ 5095177 w 5227821"/>
              <a:gd name="connsiteY297" fmla="*/ 741782 h 1257266"/>
              <a:gd name="connsiteX298" fmla="*/ 5038781 w 5227821"/>
              <a:gd name="connsiteY298" fmla="*/ 749313 h 1257266"/>
              <a:gd name="connsiteX299" fmla="*/ 5117736 w 5227821"/>
              <a:gd name="connsiteY299" fmla="*/ 756844 h 1257266"/>
              <a:gd name="connsiteX300" fmla="*/ 5016223 w 5227821"/>
              <a:gd name="connsiteY300" fmla="*/ 775671 h 1257266"/>
              <a:gd name="connsiteX301" fmla="*/ 4933509 w 5227821"/>
              <a:gd name="connsiteY301" fmla="*/ 768140 h 1257266"/>
              <a:gd name="connsiteX302" fmla="*/ 4892151 w 5227821"/>
              <a:gd name="connsiteY302" fmla="*/ 790732 h 1257266"/>
              <a:gd name="connsiteX303" fmla="*/ 4888392 w 5227821"/>
              <a:gd name="connsiteY303" fmla="*/ 786967 h 1257266"/>
              <a:gd name="connsiteX304" fmla="*/ 4869593 w 5227821"/>
              <a:gd name="connsiteY304" fmla="*/ 809559 h 1257266"/>
              <a:gd name="connsiteX305" fmla="*/ 4873353 w 5227821"/>
              <a:gd name="connsiteY305" fmla="*/ 813325 h 1257266"/>
              <a:gd name="connsiteX306" fmla="*/ 4831995 w 5227821"/>
              <a:gd name="connsiteY306" fmla="*/ 805794 h 1257266"/>
              <a:gd name="connsiteX307" fmla="*/ 4771840 w 5227821"/>
              <a:gd name="connsiteY307" fmla="*/ 820856 h 1257266"/>
              <a:gd name="connsiteX308" fmla="*/ 4764275 w 5227821"/>
              <a:gd name="connsiteY308" fmla="*/ 817267 h 1257266"/>
              <a:gd name="connsiteX309" fmla="*/ 4765000 w 5227821"/>
              <a:gd name="connsiteY309" fmla="*/ 823531 h 1257266"/>
              <a:gd name="connsiteX310" fmla="*/ 4797427 w 5227821"/>
              <a:gd name="connsiteY310" fmla="*/ 839063 h 1257266"/>
              <a:gd name="connsiteX311" fmla="*/ 4801187 w 5227821"/>
              <a:gd name="connsiteY311" fmla="*/ 835298 h 1257266"/>
              <a:gd name="connsiteX312" fmla="*/ 4808706 w 5227821"/>
              <a:gd name="connsiteY312" fmla="*/ 839063 h 1257266"/>
              <a:gd name="connsiteX313" fmla="*/ 4808706 w 5227821"/>
              <a:gd name="connsiteY313" fmla="*/ 869186 h 1257266"/>
              <a:gd name="connsiteX314" fmla="*/ 4801187 w 5227821"/>
              <a:gd name="connsiteY314" fmla="*/ 857890 h 1257266"/>
              <a:gd name="connsiteX315" fmla="*/ 4782388 w 5227821"/>
              <a:gd name="connsiteY315" fmla="*/ 899309 h 1257266"/>
              <a:gd name="connsiteX316" fmla="*/ 4748551 w 5227821"/>
              <a:gd name="connsiteY316" fmla="*/ 914371 h 1257266"/>
              <a:gd name="connsiteX317" fmla="*/ 4767349 w 5227821"/>
              <a:gd name="connsiteY317" fmla="*/ 955790 h 1257266"/>
              <a:gd name="connsiteX318" fmla="*/ 4797427 w 5227821"/>
              <a:gd name="connsiteY318" fmla="*/ 940729 h 1257266"/>
              <a:gd name="connsiteX319" fmla="*/ 4767349 w 5227821"/>
              <a:gd name="connsiteY319" fmla="*/ 967086 h 1257266"/>
              <a:gd name="connsiteX320" fmla="*/ 4774869 w 5227821"/>
              <a:gd name="connsiteY320" fmla="*/ 1031098 h 1257266"/>
              <a:gd name="connsiteX321" fmla="*/ 4797427 w 5227821"/>
              <a:gd name="connsiteY321" fmla="*/ 1042394 h 1257266"/>
              <a:gd name="connsiteX322" fmla="*/ 4846303 w 5227821"/>
              <a:gd name="connsiteY322" fmla="*/ 1019802 h 1257266"/>
              <a:gd name="connsiteX323" fmla="*/ 4853823 w 5227821"/>
              <a:gd name="connsiteY323" fmla="*/ 1023567 h 1257266"/>
              <a:gd name="connsiteX324" fmla="*/ 4861343 w 5227821"/>
              <a:gd name="connsiteY324" fmla="*/ 1019802 h 1257266"/>
              <a:gd name="connsiteX325" fmla="*/ 4865103 w 5227821"/>
              <a:gd name="connsiteY325" fmla="*/ 1053690 h 1257266"/>
              <a:gd name="connsiteX326" fmla="*/ 4767349 w 5227821"/>
              <a:gd name="connsiteY326" fmla="*/ 1095110 h 1257266"/>
              <a:gd name="connsiteX327" fmla="*/ 4752310 w 5227821"/>
              <a:gd name="connsiteY327" fmla="*/ 1095110 h 1257266"/>
              <a:gd name="connsiteX328" fmla="*/ 4756070 w 5227821"/>
              <a:gd name="connsiteY328" fmla="*/ 1091344 h 1257266"/>
              <a:gd name="connsiteX329" fmla="*/ 4733511 w 5227821"/>
              <a:gd name="connsiteY329" fmla="*/ 1091344 h 1257266"/>
              <a:gd name="connsiteX330" fmla="*/ 4677115 w 5227821"/>
              <a:gd name="connsiteY330" fmla="*/ 1098875 h 1257266"/>
              <a:gd name="connsiteX331" fmla="*/ 4756070 w 5227821"/>
              <a:gd name="connsiteY331" fmla="*/ 1106406 h 1257266"/>
              <a:gd name="connsiteX332" fmla="*/ 4654557 w 5227821"/>
              <a:gd name="connsiteY332" fmla="*/ 1125233 h 1257266"/>
              <a:gd name="connsiteX333" fmla="*/ 4571843 w 5227821"/>
              <a:gd name="connsiteY333" fmla="*/ 1117702 h 1257266"/>
              <a:gd name="connsiteX334" fmla="*/ 4530485 w 5227821"/>
              <a:gd name="connsiteY334" fmla="*/ 1140294 h 1257266"/>
              <a:gd name="connsiteX335" fmla="*/ 4526726 w 5227821"/>
              <a:gd name="connsiteY335" fmla="*/ 1136529 h 1257266"/>
              <a:gd name="connsiteX336" fmla="*/ 4507927 w 5227821"/>
              <a:gd name="connsiteY336" fmla="*/ 1159121 h 1257266"/>
              <a:gd name="connsiteX337" fmla="*/ 4511687 w 5227821"/>
              <a:gd name="connsiteY337" fmla="*/ 1162887 h 1257266"/>
              <a:gd name="connsiteX338" fmla="*/ 4470329 w 5227821"/>
              <a:gd name="connsiteY338" fmla="*/ 1155356 h 1257266"/>
              <a:gd name="connsiteX339" fmla="*/ 4410174 w 5227821"/>
              <a:gd name="connsiteY339" fmla="*/ 1170418 h 1257266"/>
              <a:gd name="connsiteX340" fmla="*/ 4406414 w 5227821"/>
              <a:gd name="connsiteY340" fmla="*/ 1159121 h 1257266"/>
              <a:gd name="connsiteX341" fmla="*/ 4342499 w 5227821"/>
              <a:gd name="connsiteY341" fmla="*/ 1159121 h 1257266"/>
              <a:gd name="connsiteX342" fmla="*/ 4350018 w 5227821"/>
              <a:gd name="connsiteY342" fmla="*/ 1166652 h 1257266"/>
              <a:gd name="connsiteX343" fmla="*/ 4282343 w 5227821"/>
              <a:gd name="connsiteY343" fmla="*/ 1170418 h 1257266"/>
              <a:gd name="connsiteX344" fmla="*/ 4297381 w 5227821"/>
              <a:gd name="connsiteY344" fmla="*/ 1177948 h 1257266"/>
              <a:gd name="connsiteX345" fmla="*/ 4229707 w 5227821"/>
              <a:gd name="connsiteY345" fmla="*/ 1177948 h 1257266"/>
              <a:gd name="connsiteX346" fmla="*/ 4146992 w 5227821"/>
              <a:gd name="connsiteY346" fmla="*/ 1200541 h 1257266"/>
              <a:gd name="connsiteX347" fmla="*/ 4041719 w 5227821"/>
              <a:gd name="connsiteY347" fmla="*/ 1215602 h 1257266"/>
              <a:gd name="connsiteX348" fmla="*/ 3665745 w 5227821"/>
              <a:gd name="connsiteY348" fmla="*/ 1249491 h 1257266"/>
              <a:gd name="connsiteX349" fmla="*/ 3673265 w 5227821"/>
              <a:gd name="connsiteY349" fmla="*/ 1245725 h 1257266"/>
              <a:gd name="connsiteX350" fmla="*/ 3349927 w 5227821"/>
              <a:gd name="connsiteY350" fmla="*/ 1257022 h 1257266"/>
              <a:gd name="connsiteX351" fmla="*/ 3500317 w 5227821"/>
              <a:gd name="connsiteY351" fmla="*/ 1234429 h 1257266"/>
              <a:gd name="connsiteX352" fmla="*/ 3244655 w 5227821"/>
              <a:gd name="connsiteY352" fmla="*/ 1241960 h 1257266"/>
              <a:gd name="connsiteX353" fmla="*/ 3316090 w 5227821"/>
              <a:gd name="connsiteY353" fmla="*/ 1226898 h 1257266"/>
              <a:gd name="connsiteX354" fmla="*/ 3327369 w 5227821"/>
              <a:gd name="connsiteY354" fmla="*/ 1234429 h 1257266"/>
              <a:gd name="connsiteX355" fmla="*/ 3410083 w 5227821"/>
              <a:gd name="connsiteY355" fmla="*/ 1215602 h 1257266"/>
              <a:gd name="connsiteX356" fmla="*/ 3410083 w 5227821"/>
              <a:gd name="connsiteY356" fmla="*/ 1208071 h 1257266"/>
              <a:gd name="connsiteX357" fmla="*/ 3996603 w 5227821"/>
              <a:gd name="connsiteY357" fmla="*/ 1147825 h 1257266"/>
              <a:gd name="connsiteX358" fmla="*/ 4056759 w 5227821"/>
              <a:gd name="connsiteY358" fmla="*/ 1136529 h 1257266"/>
              <a:gd name="connsiteX359" fmla="*/ 4037960 w 5227821"/>
              <a:gd name="connsiteY359" fmla="*/ 1132764 h 1257266"/>
              <a:gd name="connsiteX360" fmla="*/ 4064278 w 5227821"/>
              <a:gd name="connsiteY360" fmla="*/ 1132764 h 1257266"/>
              <a:gd name="connsiteX361" fmla="*/ 4068037 w 5227821"/>
              <a:gd name="connsiteY361" fmla="*/ 1132764 h 1257266"/>
              <a:gd name="connsiteX362" fmla="*/ 4105635 w 5227821"/>
              <a:gd name="connsiteY362" fmla="*/ 1121467 h 1257266"/>
              <a:gd name="connsiteX363" fmla="*/ 4064278 w 5227821"/>
              <a:gd name="connsiteY363" fmla="*/ 1121467 h 1257266"/>
              <a:gd name="connsiteX364" fmla="*/ 3985323 w 5227821"/>
              <a:gd name="connsiteY364" fmla="*/ 1121467 h 1257266"/>
              <a:gd name="connsiteX365" fmla="*/ 3631908 w 5227821"/>
              <a:gd name="connsiteY365" fmla="*/ 1132764 h 1257266"/>
              <a:gd name="connsiteX366" fmla="*/ 3470239 w 5227821"/>
              <a:gd name="connsiteY366" fmla="*/ 1140294 h 1257266"/>
              <a:gd name="connsiteX367" fmla="*/ 2981473 w 5227821"/>
              <a:gd name="connsiteY367" fmla="*/ 1170418 h 1257266"/>
              <a:gd name="connsiteX368" fmla="*/ 2789726 w 5227821"/>
              <a:gd name="connsiteY368" fmla="*/ 1166652 h 1257266"/>
              <a:gd name="connsiteX369" fmla="*/ 2519025 w 5227821"/>
              <a:gd name="connsiteY369" fmla="*/ 1159121 h 1257266"/>
              <a:gd name="connsiteX370" fmla="*/ 2511506 w 5227821"/>
              <a:gd name="connsiteY370" fmla="*/ 1162887 h 1257266"/>
              <a:gd name="connsiteX371" fmla="*/ 2488947 w 5227821"/>
              <a:gd name="connsiteY371" fmla="*/ 1166652 h 1257266"/>
              <a:gd name="connsiteX372" fmla="*/ 2368636 w 5227821"/>
              <a:gd name="connsiteY372" fmla="*/ 1177948 h 1257266"/>
              <a:gd name="connsiteX373" fmla="*/ 2225766 w 5227821"/>
              <a:gd name="connsiteY373" fmla="*/ 1196775 h 1257266"/>
              <a:gd name="connsiteX374" fmla="*/ 1466298 w 5227821"/>
              <a:gd name="connsiteY374" fmla="*/ 1189245 h 1257266"/>
              <a:gd name="connsiteX375" fmla="*/ 1259513 w 5227821"/>
              <a:gd name="connsiteY375" fmla="*/ 1177948 h 1257266"/>
              <a:gd name="connsiteX376" fmla="*/ 992571 w 5227821"/>
              <a:gd name="connsiteY376" fmla="*/ 1162887 h 1257266"/>
              <a:gd name="connsiteX377" fmla="*/ 891058 w 5227821"/>
              <a:gd name="connsiteY377" fmla="*/ 1155356 h 1257266"/>
              <a:gd name="connsiteX378" fmla="*/ 883995 w 5227821"/>
              <a:gd name="connsiteY378" fmla="*/ 1158893 h 1257266"/>
              <a:gd name="connsiteX379" fmla="*/ 876489 w 5227821"/>
              <a:gd name="connsiteY379" fmla="*/ 1158650 h 1257266"/>
              <a:gd name="connsiteX380" fmla="*/ 774506 w 5227821"/>
              <a:gd name="connsiteY380" fmla="*/ 1155356 h 1257266"/>
              <a:gd name="connsiteX381" fmla="*/ 710591 w 5227821"/>
              <a:gd name="connsiteY381" fmla="*/ 1166652 h 1257266"/>
              <a:gd name="connsiteX382" fmla="*/ 530123 w 5227821"/>
              <a:gd name="connsiteY382" fmla="*/ 1166652 h 1257266"/>
              <a:gd name="connsiteX383" fmla="*/ 511325 w 5227821"/>
              <a:gd name="connsiteY383" fmla="*/ 1170418 h 1257266"/>
              <a:gd name="connsiteX384" fmla="*/ 507565 w 5227821"/>
              <a:gd name="connsiteY384" fmla="*/ 1170418 h 1257266"/>
              <a:gd name="connsiteX385" fmla="*/ 488766 w 5227821"/>
              <a:gd name="connsiteY385" fmla="*/ 1174183 h 1257266"/>
              <a:gd name="connsiteX386" fmla="*/ 424851 w 5227821"/>
              <a:gd name="connsiteY386" fmla="*/ 1170418 h 1257266"/>
              <a:gd name="connsiteX387" fmla="*/ 421091 w 5227821"/>
              <a:gd name="connsiteY387" fmla="*/ 1162887 h 1257266"/>
              <a:gd name="connsiteX388" fmla="*/ 398533 w 5227821"/>
              <a:gd name="connsiteY388" fmla="*/ 1170418 h 1257266"/>
              <a:gd name="connsiteX389" fmla="*/ 357175 w 5227821"/>
              <a:gd name="connsiteY389" fmla="*/ 1159121 h 1257266"/>
              <a:gd name="connsiteX390" fmla="*/ 334617 w 5227821"/>
              <a:gd name="connsiteY390" fmla="*/ 1162887 h 1257266"/>
              <a:gd name="connsiteX391" fmla="*/ 338376 w 5227821"/>
              <a:gd name="connsiteY391" fmla="*/ 1155356 h 1257266"/>
              <a:gd name="connsiteX392" fmla="*/ 300779 w 5227821"/>
              <a:gd name="connsiteY392" fmla="*/ 1155356 h 1257266"/>
              <a:gd name="connsiteX393" fmla="*/ 233104 w 5227821"/>
              <a:gd name="connsiteY393" fmla="*/ 1140294 h 1257266"/>
              <a:gd name="connsiteX394" fmla="*/ 353415 w 5227821"/>
              <a:gd name="connsiteY394" fmla="*/ 1125233 h 1257266"/>
              <a:gd name="connsiteX395" fmla="*/ 315818 w 5227821"/>
              <a:gd name="connsiteY395" fmla="*/ 1125233 h 1257266"/>
              <a:gd name="connsiteX396" fmla="*/ 327097 w 5227821"/>
              <a:gd name="connsiteY396" fmla="*/ 1110171 h 1257266"/>
              <a:gd name="connsiteX397" fmla="*/ 274461 w 5227821"/>
              <a:gd name="connsiteY397" fmla="*/ 1102641 h 1257266"/>
              <a:gd name="connsiteX398" fmla="*/ 387253 w 5227821"/>
              <a:gd name="connsiteY398" fmla="*/ 1095110 h 1257266"/>
              <a:gd name="connsiteX399" fmla="*/ 334617 w 5227821"/>
              <a:gd name="connsiteY399" fmla="*/ 1095110 h 1257266"/>
              <a:gd name="connsiteX400" fmla="*/ 312058 w 5227821"/>
              <a:gd name="connsiteY400" fmla="*/ 1083814 h 1257266"/>
              <a:gd name="connsiteX401" fmla="*/ 338376 w 5227821"/>
              <a:gd name="connsiteY401" fmla="*/ 1072517 h 1257266"/>
              <a:gd name="connsiteX402" fmla="*/ 372214 w 5227821"/>
              <a:gd name="connsiteY402" fmla="*/ 1046160 h 1257266"/>
              <a:gd name="connsiteX403" fmla="*/ 293259 w 5227821"/>
              <a:gd name="connsiteY403" fmla="*/ 1064987 h 1257266"/>
              <a:gd name="connsiteX404" fmla="*/ 281980 w 5227821"/>
              <a:gd name="connsiteY404" fmla="*/ 1034863 h 1257266"/>
              <a:gd name="connsiteX405" fmla="*/ 308298 w 5227821"/>
              <a:gd name="connsiteY405" fmla="*/ 985913 h 1257266"/>
              <a:gd name="connsiteX406" fmla="*/ 323337 w 5227821"/>
              <a:gd name="connsiteY406" fmla="*/ 978383 h 1257266"/>
              <a:gd name="connsiteX407" fmla="*/ 263181 w 5227821"/>
              <a:gd name="connsiteY407" fmla="*/ 970852 h 1257266"/>
              <a:gd name="connsiteX408" fmla="*/ 300779 w 5227821"/>
              <a:gd name="connsiteY408" fmla="*/ 918136 h 1257266"/>
              <a:gd name="connsiteX409" fmla="*/ 330857 w 5227821"/>
              <a:gd name="connsiteY409" fmla="*/ 914371 h 1257266"/>
              <a:gd name="connsiteX410" fmla="*/ 67675 w 5227821"/>
              <a:gd name="connsiteY410" fmla="*/ 831532 h 1257266"/>
              <a:gd name="connsiteX411" fmla="*/ 11279 w 5227821"/>
              <a:gd name="connsiteY411" fmla="*/ 824001 h 1257266"/>
              <a:gd name="connsiteX412" fmla="*/ 0 w 5227821"/>
              <a:gd name="connsiteY412" fmla="*/ 820236 h 1257266"/>
              <a:gd name="connsiteX413" fmla="*/ 30078 w 5227821"/>
              <a:gd name="connsiteY413" fmla="*/ 820236 h 1257266"/>
              <a:gd name="connsiteX414" fmla="*/ 33837 w 5227821"/>
              <a:gd name="connsiteY414" fmla="*/ 824001 h 1257266"/>
              <a:gd name="connsiteX415" fmla="*/ 45117 w 5227821"/>
              <a:gd name="connsiteY415" fmla="*/ 820236 h 1257266"/>
              <a:gd name="connsiteX416" fmla="*/ 45117 w 5227821"/>
              <a:gd name="connsiteY416" fmla="*/ 812705 h 1257266"/>
              <a:gd name="connsiteX417" fmla="*/ 236863 w 5227821"/>
              <a:gd name="connsiteY417" fmla="*/ 865421 h 1257266"/>
              <a:gd name="connsiteX418" fmla="*/ 240623 w 5227821"/>
              <a:gd name="connsiteY418" fmla="*/ 861655 h 1257266"/>
              <a:gd name="connsiteX419" fmla="*/ 259422 w 5227821"/>
              <a:gd name="connsiteY419" fmla="*/ 869186 h 1257266"/>
              <a:gd name="connsiteX420" fmla="*/ 270701 w 5227821"/>
              <a:gd name="connsiteY420" fmla="*/ 861655 h 1257266"/>
              <a:gd name="connsiteX421" fmla="*/ 274461 w 5227821"/>
              <a:gd name="connsiteY421" fmla="*/ 865421 h 1257266"/>
              <a:gd name="connsiteX422" fmla="*/ 278220 w 5227821"/>
              <a:gd name="connsiteY422" fmla="*/ 861655 h 1257266"/>
              <a:gd name="connsiteX423" fmla="*/ 233104 w 5227821"/>
              <a:gd name="connsiteY423" fmla="*/ 857890 h 1257266"/>
              <a:gd name="connsiteX424" fmla="*/ 278220 w 5227821"/>
              <a:gd name="connsiteY424" fmla="*/ 842828 h 1257266"/>
              <a:gd name="connsiteX425" fmla="*/ 293259 w 5227821"/>
              <a:gd name="connsiteY425" fmla="*/ 842828 h 1257266"/>
              <a:gd name="connsiteX426" fmla="*/ 278220 w 5227821"/>
              <a:gd name="connsiteY426" fmla="*/ 854125 h 1257266"/>
              <a:gd name="connsiteX427" fmla="*/ 312058 w 5227821"/>
              <a:gd name="connsiteY427" fmla="*/ 857890 h 1257266"/>
              <a:gd name="connsiteX428" fmla="*/ 312058 w 5227821"/>
              <a:gd name="connsiteY428" fmla="*/ 842828 h 1257266"/>
              <a:gd name="connsiteX429" fmla="*/ 308298 w 5227821"/>
              <a:gd name="connsiteY429" fmla="*/ 839063 h 1257266"/>
              <a:gd name="connsiteX430" fmla="*/ 304539 w 5227821"/>
              <a:gd name="connsiteY430" fmla="*/ 839063 h 1257266"/>
              <a:gd name="connsiteX431" fmla="*/ 308298 w 5227821"/>
              <a:gd name="connsiteY431" fmla="*/ 835298 h 1257266"/>
              <a:gd name="connsiteX432" fmla="*/ 297019 w 5227821"/>
              <a:gd name="connsiteY432" fmla="*/ 831532 h 1257266"/>
              <a:gd name="connsiteX433" fmla="*/ 270701 w 5227821"/>
              <a:gd name="connsiteY433" fmla="*/ 835298 h 1257266"/>
              <a:gd name="connsiteX434" fmla="*/ 312058 w 5227821"/>
              <a:gd name="connsiteY434" fmla="*/ 820236 h 1257266"/>
              <a:gd name="connsiteX435" fmla="*/ 308298 w 5227821"/>
              <a:gd name="connsiteY435" fmla="*/ 816471 h 1257266"/>
              <a:gd name="connsiteX436" fmla="*/ 353415 w 5227821"/>
              <a:gd name="connsiteY436" fmla="*/ 793878 h 1257266"/>
              <a:gd name="connsiteX437" fmla="*/ 334617 w 5227821"/>
              <a:gd name="connsiteY437" fmla="*/ 790113 h 1257266"/>
              <a:gd name="connsiteX438" fmla="*/ 233104 w 5227821"/>
              <a:gd name="connsiteY438" fmla="*/ 824001 h 1257266"/>
              <a:gd name="connsiteX439" fmla="*/ 161669 w 5227821"/>
              <a:gd name="connsiteY439" fmla="*/ 839063 h 1257266"/>
              <a:gd name="connsiteX440" fmla="*/ 184227 w 5227821"/>
              <a:gd name="connsiteY440" fmla="*/ 827767 h 1257266"/>
              <a:gd name="connsiteX441" fmla="*/ 176707 w 5227821"/>
              <a:gd name="connsiteY441" fmla="*/ 827767 h 1257266"/>
              <a:gd name="connsiteX442" fmla="*/ 251902 w 5227821"/>
              <a:gd name="connsiteY442" fmla="*/ 805175 h 1257266"/>
              <a:gd name="connsiteX443" fmla="*/ 274461 w 5227821"/>
              <a:gd name="connsiteY443" fmla="*/ 797644 h 1257266"/>
              <a:gd name="connsiteX444" fmla="*/ 281980 w 5227821"/>
              <a:gd name="connsiteY444" fmla="*/ 797644 h 1257266"/>
              <a:gd name="connsiteX445" fmla="*/ 297019 w 5227821"/>
              <a:gd name="connsiteY445" fmla="*/ 790113 h 1257266"/>
              <a:gd name="connsiteX446" fmla="*/ 293259 w 5227821"/>
              <a:gd name="connsiteY446" fmla="*/ 786348 h 1257266"/>
              <a:gd name="connsiteX447" fmla="*/ 327097 w 5227821"/>
              <a:gd name="connsiteY447" fmla="*/ 763755 h 1257266"/>
              <a:gd name="connsiteX448" fmla="*/ 236863 w 5227821"/>
              <a:gd name="connsiteY448" fmla="*/ 786348 h 1257266"/>
              <a:gd name="connsiteX449" fmla="*/ 199266 w 5227821"/>
              <a:gd name="connsiteY449" fmla="*/ 790113 h 1257266"/>
              <a:gd name="connsiteX450" fmla="*/ 330857 w 5227821"/>
              <a:gd name="connsiteY450" fmla="*/ 726101 h 1257266"/>
              <a:gd name="connsiteX451" fmla="*/ 357175 w 5227821"/>
              <a:gd name="connsiteY451" fmla="*/ 699743 h 1257266"/>
              <a:gd name="connsiteX452" fmla="*/ 364695 w 5227821"/>
              <a:gd name="connsiteY452" fmla="*/ 699743 h 1257266"/>
              <a:gd name="connsiteX453" fmla="*/ 364695 w 5227821"/>
              <a:gd name="connsiteY453" fmla="*/ 688447 h 1257266"/>
              <a:gd name="connsiteX454" fmla="*/ 402292 w 5227821"/>
              <a:gd name="connsiteY454" fmla="*/ 650793 h 1257266"/>
              <a:gd name="connsiteX455" fmla="*/ 511325 w 5227821"/>
              <a:gd name="connsiteY455" fmla="*/ 579251 h 1257266"/>
              <a:gd name="connsiteX456" fmla="*/ 551742 w 5227821"/>
              <a:gd name="connsiteY456" fmla="*/ 534537 h 1257266"/>
              <a:gd name="connsiteX457" fmla="*/ 561872 w 5227821"/>
              <a:gd name="connsiteY457" fmla="*/ 527136 h 1257266"/>
              <a:gd name="connsiteX458" fmla="*/ 558113 w 5227821"/>
              <a:gd name="connsiteY458" fmla="*/ 526214 h 1257266"/>
              <a:gd name="connsiteX459" fmla="*/ 429342 w 5227821"/>
              <a:gd name="connsiteY459" fmla="*/ 481970 h 1257266"/>
              <a:gd name="connsiteX460" fmla="*/ 372945 w 5227821"/>
              <a:gd name="connsiteY460" fmla="*/ 474440 h 1257266"/>
              <a:gd name="connsiteX461" fmla="*/ 361666 w 5227821"/>
              <a:gd name="connsiteY461" fmla="*/ 470674 h 1257266"/>
              <a:gd name="connsiteX462" fmla="*/ 391744 w 5227821"/>
              <a:gd name="connsiteY462" fmla="*/ 470674 h 1257266"/>
              <a:gd name="connsiteX463" fmla="*/ 395504 w 5227821"/>
              <a:gd name="connsiteY463" fmla="*/ 474440 h 1257266"/>
              <a:gd name="connsiteX464" fmla="*/ 406783 w 5227821"/>
              <a:gd name="connsiteY464" fmla="*/ 470674 h 1257266"/>
              <a:gd name="connsiteX465" fmla="*/ 406783 w 5227821"/>
              <a:gd name="connsiteY465" fmla="*/ 463144 h 1257266"/>
              <a:gd name="connsiteX466" fmla="*/ 495607 w 5227821"/>
              <a:gd name="connsiteY466" fmla="*/ 493737 h 1257266"/>
              <a:gd name="connsiteX467" fmla="*/ 582131 w 5227821"/>
              <a:gd name="connsiteY467" fmla="*/ 512335 h 1257266"/>
              <a:gd name="connsiteX468" fmla="*/ 609078 w 5227821"/>
              <a:gd name="connsiteY468" fmla="*/ 492647 h 1257266"/>
              <a:gd name="connsiteX469" fmla="*/ 618947 w 5227821"/>
              <a:gd name="connsiteY469" fmla="*/ 494530 h 1257266"/>
              <a:gd name="connsiteX470" fmla="*/ 624178 w 5227821"/>
              <a:gd name="connsiteY470" fmla="*/ 495306 h 1257266"/>
              <a:gd name="connsiteX471" fmla="*/ 639060 w 5227821"/>
              <a:gd name="connsiteY471" fmla="*/ 493374 h 1257266"/>
              <a:gd name="connsiteX472" fmla="*/ 653196 w 5227821"/>
              <a:gd name="connsiteY472" fmla="*/ 487588 h 1257266"/>
              <a:gd name="connsiteX473" fmla="*/ 661962 w 5227821"/>
              <a:gd name="connsiteY473" fmla="*/ 483064 h 1257266"/>
              <a:gd name="connsiteX474" fmla="*/ 658686 w 5227821"/>
              <a:gd name="connsiteY474" fmla="*/ 481970 h 1257266"/>
              <a:gd name="connsiteX475" fmla="*/ 632367 w 5227821"/>
              <a:gd name="connsiteY475" fmla="*/ 485736 h 1257266"/>
              <a:gd name="connsiteX476" fmla="*/ 673725 w 5227821"/>
              <a:gd name="connsiteY476" fmla="*/ 470674 h 1257266"/>
              <a:gd name="connsiteX477" fmla="*/ 669965 w 5227821"/>
              <a:gd name="connsiteY477" fmla="*/ 466909 h 1257266"/>
              <a:gd name="connsiteX478" fmla="*/ 715082 w 5227821"/>
              <a:gd name="connsiteY478" fmla="*/ 444317 h 1257266"/>
              <a:gd name="connsiteX479" fmla="*/ 696283 w 5227821"/>
              <a:gd name="connsiteY479" fmla="*/ 440551 h 1257266"/>
              <a:gd name="connsiteX480" fmla="*/ 594770 w 5227821"/>
              <a:gd name="connsiteY480" fmla="*/ 474440 h 1257266"/>
              <a:gd name="connsiteX481" fmla="*/ 523335 w 5227821"/>
              <a:gd name="connsiteY481" fmla="*/ 489501 h 1257266"/>
              <a:gd name="connsiteX482" fmla="*/ 545893 w 5227821"/>
              <a:gd name="connsiteY482" fmla="*/ 478205 h 1257266"/>
              <a:gd name="connsiteX483" fmla="*/ 538374 w 5227821"/>
              <a:gd name="connsiteY483" fmla="*/ 478205 h 1257266"/>
              <a:gd name="connsiteX484" fmla="*/ 613569 w 5227821"/>
              <a:gd name="connsiteY484" fmla="*/ 455613 h 1257266"/>
              <a:gd name="connsiteX485" fmla="*/ 636127 w 5227821"/>
              <a:gd name="connsiteY485" fmla="*/ 448082 h 1257266"/>
              <a:gd name="connsiteX486" fmla="*/ 643647 w 5227821"/>
              <a:gd name="connsiteY486" fmla="*/ 448082 h 1257266"/>
              <a:gd name="connsiteX487" fmla="*/ 658686 w 5227821"/>
              <a:gd name="connsiteY487" fmla="*/ 440551 h 1257266"/>
              <a:gd name="connsiteX488" fmla="*/ 654926 w 5227821"/>
              <a:gd name="connsiteY488" fmla="*/ 436786 h 1257266"/>
              <a:gd name="connsiteX489" fmla="*/ 688764 w 5227821"/>
              <a:gd name="connsiteY489" fmla="*/ 414193 h 1257266"/>
              <a:gd name="connsiteX490" fmla="*/ 598530 w 5227821"/>
              <a:gd name="connsiteY490" fmla="*/ 436786 h 1257266"/>
              <a:gd name="connsiteX491" fmla="*/ 560932 w 5227821"/>
              <a:gd name="connsiteY491" fmla="*/ 440551 h 1257266"/>
              <a:gd name="connsiteX492" fmla="*/ 692523 w 5227821"/>
              <a:gd name="connsiteY492" fmla="*/ 376539 h 1257266"/>
              <a:gd name="connsiteX493" fmla="*/ 718841 w 5227821"/>
              <a:gd name="connsiteY493" fmla="*/ 350182 h 1257266"/>
              <a:gd name="connsiteX494" fmla="*/ 726361 w 5227821"/>
              <a:gd name="connsiteY494" fmla="*/ 350182 h 1257266"/>
              <a:gd name="connsiteX495" fmla="*/ 726361 w 5227821"/>
              <a:gd name="connsiteY495" fmla="*/ 338886 h 1257266"/>
              <a:gd name="connsiteX496" fmla="*/ 763958 w 5227821"/>
              <a:gd name="connsiteY496" fmla="*/ 301232 h 1257266"/>
              <a:gd name="connsiteX497" fmla="*/ 872991 w 5227821"/>
              <a:gd name="connsiteY497" fmla="*/ 229689 h 1257266"/>
              <a:gd name="connsiteX498" fmla="*/ 970744 w 5227821"/>
              <a:gd name="connsiteY498" fmla="*/ 143085 h 1257266"/>
              <a:gd name="connsiteX499" fmla="*/ 993302 w 5227821"/>
              <a:gd name="connsiteY499" fmla="*/ 146851 h 1257266"/>
              <a:gd name="connsiteX500" fmla="*/ 1087296 w 5227821"/>
              <a:gd name="connsiteY500" fmla="*/ 124258 h 1257266"/>
              <a:gd name="connsiteX501" fmla="*/ 1109854 w 5227821"/>
              <a:gd name="connsiteY501" fmla="*/ 120493 h 1257266"/>
              <a:gd name="connsiteX502" fmla="*/ 1109854 w 5227821"/>
              <a:gd name="connsiteY502" fmla="*/ 112962 h 1257266"/>
              <a:gd name="connsiteX503" fmla="*/ 1173770 w 5227821"/>
              <a:gd name="connsiteY503" fmla="*/ 120493 h 1257266"/>
              <a:gd name="connsiteX504" fmla="*/ 1166250 w 5227821"/>
              <a:gd name="connsiteY504" fmla="*/ 131789 h 1257266"/>
              <a:gd name="connsiteX505" fmla="*/ 1290322 w 5227821"/>
              <a:gd name="connsiteY505" fmla="*/ 154381 h 1257266"/>
              <a:gd name="connsiteX506" fmla="*/ 1286562 w 5227821"/>
              <a:gd name="connsiteY506" fmla="*/ 158147 h 1257266"/>
              <a:gd name="connsiteX507" fmla="*/ 1316640 w 5227821"/>
              <a:gd name="connsiteY507" fmla="*/ 161912 h 1257266"/>
              <a:gd name="connsiteX508" fmla="*/ 1399354 w 5227821"/>
              <a:gd name="connsiteY508" fmla="*/ 101666 h 1257266"/>
              <a:gd name="connsiteX509" fmla="*/ 1380555 w 5227821"/>
              <a:gd name="connsiteY509" fmla="*/ 82839 h 1257266"/>
              <a:gd name="connsiteX510" fmla="*/ 1369276 w 5227821"/>
              <a:gd name="connsiteY510" fmla="*/ 90370 h 1257266"/>
              <a:gd name="connsiteX511" fmla="*/ 1369276 w 5227821"/>
              <a:gd name="connsiteY511" fmla="*/ 86604 h 1257266"/>
              <a:gd name="connsiteX512" fmla="*/ 1275283 w 5227821"/>
              <a:gd name="connsiteY512" fmla="*/ 86604 h 1257266"/>
              <a:gd name="connsiteX513" fmla="*/ 1252724 w 5227821"/>
              <a:gd name="connsiteY513" fmla="*/ 97900 h 1257266"/>
              <a:gd name="connsiteX514" fmla="*/ 1282802 w 5227821"/>
              <a:gd name="connsiteY514" fmla="*/ 71543 h 1257266"/>
              <a:gd name="connsiteX515" fmla="*/ 1309120 w 5227821"/>
              <a:gd name="connsiteY515" fmla="*/ 67777 h 1257266"/>
              <a:gd name="connsiteX516" fmla="*/ 1399354 w 5227821"/>
              <a:gd name="connsiteY516" fmla="*/ 82839 h 1257266"/>
              <a:gd name="connsiteX517" fmla="*/ 1455750 w 5227821"/>
              <a:gd name="connsiteY517" fmla="*/ 56481 h 1257266"/>
              <a:gd name="connsiteX518" fmla="*/ 1440711 w 5227821"/>
              <a:gd name="connsiteY518" fmla="*/ 52716 h 1257266"/>
              <a:gd name="connsiteX519" fmla="*/ 1508387 w 5227821"/>
              <a:gd name="connsiteY519" fmla="*/ 22593 h 1257266"/>
              <a:gd name="connsiteX520" fmla="*/ 1474549 w 5227821"/>
              <a:gd name="connsiteY520" fmla="*/ 18827 h 1257266"/>
              <a:gd name="connsiteX521" fmla="*/ 1594861 w 5227821"/>
              <a:gd name="connsiteY521" fmla="*/ 0 h 1257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</a:cxnLst>
            <a:rect l="l" t="t" r="r" b="b"/>
            <a:pathLst>
              <a:path w="5227821" h="1257266">
                <a:moveTo>
                  <a:pt x="883995" y="1158893"/>
                </a:moveTo>
                <a:lnTo>
                  <a:pt x="891058" y="1159121"/>
                </a:lnTo>
                <a:cubicBezTo>
                  <a:pt x="883539" y="1159121"/>
                  <a:pt x="883539" y="1159121"/>
                  <a:pt x="883539" y="1159121"/>
                </a:cubicBezTo>
                <a:close/>
                <a:moveTo>
                  <a:pt x="4615788" y="826594"/>
                </a:moveTo>
                <a:lnTo>
                  <a:pt x="4616959" y="827767"/>
                </a:lnTo>
                <a:lnTo>
                  <a:pt x="4617450" y="827029"/>
                </a:lnTo>
                <a:close/>
                <a:moveTo>
                  <a:pt x="4610559" y="825984"/>
                </a:moveTo>
                <a:lnTo>
                  <a:pt x="4591373" y="828386"/>
                </a:lnTo>
                <a:lnTo>
                  <a:pt x="4584680" y="830752"/>
                </a:lnTo>
                <a:lnTo>
                  <a:pt x="4583122" y="831532"/>
                </a:lnTo>
                <a:cubicBezTo>
                  <a:pt x="4583122" y="835298"/>
                  <a:pt x="4590641" y="835298"/>
                  <a:pt x="4598161" y="835298"/>
                </a:cubicBezTo>
                <a:cubicBezTo>
                  <a:pt x="4598161" y="835298"/>
                  <a:pt x="4598161" y="835298"/>
                  <a:pt x="4600041" y="833886"/>
                </a:cubicBezTo>
                <a:close/>
                <a:moveTo>
                  <a:pt x="4763331" y="809097"/>
                </a:moveTo>
                <a:lnTo>
                  <a:pt x="4764025" y="815097"/>
                </a:lnTo>
                <a:lnTo>
                  <a:pt x="4768080" y="809559"/>
                </a:lnTo>
                <a:close/>
                <a:moveTo>
                  <a:pt x="4653526" y="808089"/>
                </a:moveTo>
                <a:cubicBezTo>
                  <a:pt x="4649178" y="809559"/>
                  <a:pt x="4645889" y="813325"/>
                  <a:pt x="4644009" y="820856"/>
                </a:cubicBezTo>
                <a:cubicBezTo>
                  <a:pt x="4647769" y="824621"/>
                  <a:pt x="4655288" y="824621"/>
                  <a:pt x="4659047" y="828386"/>
                </a:cubicBezTo>
                <a:lnTo>
                  <a:pt x="4642634" y="833009"/>
                </a:lnTo>
                <a:lnTo>
                  <a:pt x="4658317" y="846594"/>
                </a:lnTo>
                <a:cubicBezTo>
                  <a:pt x="4680875" y="839063"/>
                  <a:pt x="4677115" y="827767"/>
                  <a:pt x="4684635" y="816471"/>
                </a:cubicBezTo>
                <a:lnTo>
                  <a:pt x="4683861" y="813370"/>
                </a:lnTo>
                <a:lnTo>
                  <a:pt x="4669387" y="809089"/>
                </a:lnTo>
                <a:cubicBezTo>
                  <a:pt x="4663277" y="807441"/>
                  <a:pt x="4657873" y="806618"/>
                  <a:pt x="4653526" y="808089"/>
                </a:cubicBezTo>
                <a:close/>
                <a:moveTo>
                  <a:pt x="4720496" y="800558"/>
                </a:moveTo>
                <a:cubicBezTo>
                  <a:pt x="4715209" y="801322"/>
                  <a:pt x="4709804" y="803911"/>
                  <a:pt x="4704165" y="809559"/>
                </a:cubicBezTo>
                <a:cubicBezTo>
                  <a:pt x="4704165" y="809559"/>
                  <a:pt x="4704165" y="809559"/>
                  <a:pt x="4711684" y="817090"/>
                </a:cubicBezTo>
                <a:lnTo>
                  <a:pt x="4703433" y="816325"/>
                </a:lnTo>
                <a:lnTo>
                  <a:pt x="4703433" y="824001"/>
                </a:lnTo>
                <a:cubicBezTo>
                  <a:pt x="4703433" y="824001"/>
                  <a:pt x="4703433" y="824001"/>
                  <a:pt x="4718473" y="820236"/>
                </a:cubicBezTo>
                <a:cubicBezTo>
                  <a:pt x="4725992" y="827767"/>
                  <a:pt x="4729751" y="839063"/>
                  <a:pt x="4733511" y="846594"/>
                </a:cubicBezTo>
                <a:cubicBezTo>
                  <a:pt x="4725992" y="842828"/>
                  <a:pt x="4718473" y="842828"/>
                  <a:pt x="4710953" y="850359"/>
                </a:cubicBezTo>
                <a:cubicBezTo>
                  <a:pt x="4710953" y="850359"/>
                  <a:pt x="4710953" y="850359"/>
                  <a:pt x="4692155" y="842828"/>
                </a:cubicBezTo>
                <a:cubicBezTo>
                  <a:pt x="4680875" y="846594"/>
                  <a:pt x="4665836" y="846594"/>
                  <a:pt x="4658317" y="854125"/>
                </a:cubicBezTo>
                <a:cubicBezTo>
                  <a:pt x="4658317" y="854125"/>
                  <a:pt x="4658317" y="854125"/>
                  <a:pt x="4677115" y="854125"/>
                </a:cubicBezTo>
                <a:cubicBezTo>
                  <a:pt x="4677115" y="854125"/>
                  <a:pt x="4677115" y="854125"/>
                  <a:pt x="4673355" y="857890"/>
                </a:cubicBezTo>
                <a:cubicBezTo>
                  <a:pt x="4707193" y="854125"/>
                  <a:pt x="4722232" y="861655"/>
                  <a:pt x="4741031" y="857890"/>
                </a:cubicBezTo>
                <a:cubicBezTo>
                  <a:pt x="4744791" y="861655"/>
                  <a:pt x="4744791" y="861655"/>
                  <a:pt x="4748551" y="861655"/>
                </a:cubicBezTo>
                <a:cubicBezTo>
                  <a:pt x="4752310" y="861655"/>
                  <a:pt x="4752310" y="857890"/>
                  <a:pt x="4752310" y="857890"/>
                </a:cubicBezTo>
                <a:cubicBezTo>
                  <a:pt x="4756070" y="854125"/>
                  <a:pt x="4759829" y="854125"/>
                  <a:pt x="4763589" y="854125"/>
                </a:cubicBezTo>
                <a:cubicBezTo>
                  <a:pt x="4763589" y="850359"/>
                  <a:pt x="4759829" y="854125"/>
                  <a:pt x="4752310" y="854125"/>
                </a:cubicBezTo>
                <a:cubicBezTo>
                  <a:pt x="4752310" y="846594"/>
                  <a:pt x="4748551" y="842828"/>
                  <a:pt x="4756070" y="835298"/>
                </a:cubicBezTo>
                <a:cubicBezTo>
                  <a:pt x="4750430" y="829650"/>
                  <a:pt x="4745731" y="824001"/>
                  <a:pt x="4744321" y="817412"/>
                </a:cubicBezTo>
                <a:lnTo>
                  <a:pt x="4747974" y="806649"/>
                </a:lnTo>
                <a:lnTo>
                  <a:pt x="4736122" y="802499"/>
                </a:lnTo>
                <a:cubicBezTo>
                  <a:pt x="4730953" y="800852"/>
                  <a:pt x="4725783" y="799793"/>
                  <a:pt x="4720496" y="800558"/>
                </a:cubicBezTo>
                <a:close/>
                <a:moveTo>
                  <a:pt x="1676438" y="90716"/>
                </a:moveTo>
                <a:lnTo>
                  <a:pt x="1850993" y="94135"/>
                </a:lnTo>
                <a:cubicBezTo>
                  <a:pt x="1918198" y="94135"/>
                  <a:pt x="1985874" y="94135"/>
                  <a:pt x="2046029" y="97900"/>
                </a:cubicBezTo>
                <a:cubicBezTo>
                  <a:pt x="2046029" y="97900"/>
                  <a:pt x="2046029" y="97900"/>
                  <a:pt x="2057308" y="101666"/>
                </a:cubicBezTo>
                <a:cubicBezTo>
                  <a:pt x="1997153" y="97900"/>
                  <a:pt x="1910679" y="112962"/>
                  <a:pt x="1850523" y="97900"/>
                </a:cubicBezTo>
                <a:cubicBezTo>
                  <a:pt x="1797886" y="101666"/>
                  <a:pt x="1737731" y="94135"/>
                  <a:pt x="1692614" y="94135"/>
                </a:cubicBezTo>
                <a:close/>
                <a:moveTo>
                  <a:pt x="1675636" y="90546"/>
                </a:moveTo>
                <a:lnTo>
                  <a:pt x="1676438" y="90716"/>
                </a:lnTo>
                <a:lnTo>
                  <a:pt x="1674865" y="90685"/>
                </a:lnTo>
                <a:close/>
                <a:moveTo>
                  <a:pt x="2005634" y="36919"/>
                </a:moveTo>
                <a:lnTo>
                  <a:pt x="2008432" y="37654"/>
                </a:lnTo>
                <a:cubicBezTo>
                  <a:pt x="2000912" y="37654"/>
                  <a:pt x="2000912" y="37654"/>
                  <a:pt x="2000912" y="37654"/>
                </a:cubicBezTo>
                <a:close/>
                <a:moveTo>
                  <a:pt x="1594861" y="0"/>
                </a:moveTo>
                <a:cubicBezTo>
                  <a:pt x="1621179" y="0"/>
                  <a:pt x="1651257" y="0"/>
                  <a:pt x="1655016" y="11296"/>
                </a:cubicBezTo>
                <a:cubicBezTo>
                  <a:pt x="1658776" y="15062"/>
                  <a:pt x="1655016" y="15062"/>
                  <a:pt x="1651257" y="18827"/>
                </a:cubicBezTo>
                <a:cubicBezTo>
                  <a:pt x="1685094" y="22593"/>
                  <a:pt x="1730211" y="22593"/>
                  <a:pt x="1767809" y="22593"/>
                </a:cubicBezTo>
                <a:cubicBezTo>
                  <a:pt x="1925718" y="26358"/>
                  <a:pt x="2079867" y="30123"/>
                  <a:pt x="2230256" y="26358"/>
                </a:cubicBezTo>
                <a:cubicBezTo>
                  <a:pt x="2241536" y="30123"/>
                  <a:pt x="2256575" y="33889"/>
                  <a:pt x="2275373" y="30123"/>
                </a:cubicBezTo>
                <a:cubicBezTo>
                  <a:pt x="2218977" y="41420"/>
                  <a:pt x="2117464" y="33889"/>
                  <a:pt x="2046029" y="33889"/>
                </a:cubicBezTo>
                <a:cubicBezTo>
                  <a:pt x="2036630" y="32006"/>
                  <a:pt x="2029111" y="32947"/>
                  <a:pt x="2022061" y="34359"/>
                </a:cubicBezTo>
                <a:lnTo>
                  <a:pt x="2005634" y="36919"/>
                </a:lnTo>
                <a:lnTo>
                  <a:pt x="1983817" y="31183"/>
                </a:lnTo>
                <a:cubicBezTo>
                  <a:pt x="1955091" y="28711"/>
                  <a:pt x="1916318" y="35772"/>
                  <a:pt x="1888120" y="30123"/>
                </a:cubicBezTo>
                <a:cubicBezTo>
                  <a:pt x="1805406" y="30123"/>
                  <a:pt x="1749010" y="22593"/>
                  <a:pt x="1662536" y="26358"/>
                </a:cubicBezTo>
                <a:cubicBezTo>
                  <a:pt x="1655016" y="30123"/>
                  <a:pt x="1655016" y="33889"/>
                  <a:pt x="1655016" y="37654"/>
                </a:cubicBezTo>
                <a:cubicBezTo>
                  <a:pt x="1636218" y="37654"/>
                  <a:pt x="1617419" y="37654"/>
                  <a:pt x="1609900" y="30123"/>
                </a:cubicBezTo>
                <a:cubicBezTo>
                  <a:pt x="1591101" y="41420"/>
                  <a:pt x="1572302" y="41420"/>
                  <a:pt x="1553503" y="52716"/>
                </a:cubicBezTo>
                <a:cubicBezTo>
                  <a:pt x="1553503" y="52716"/>
                  <a:pt x="1553503" y="52716"/>
                  <a:pt x="1587341" y="56481"/>
                </a:cubicBezTo>
                <a:cubicBezTo>
                  <a:pt x="1579822" y="64012"/>
                  <a:pt x="1557263" y="64012"/>
                  <a:pt x="1542224" y="56481"/>
                </a:cubicBezTo>
                <a:cubicBezTo>
                  <a:pt x="1515906" y="56481"/>
                  <a:pt x="1549744" y="67777"/>
                  <a:pt x="1527185" y="71543"/>
                </a:cubicBezTo>
                <a:cubicBezTo>
                  <a:pt x="1527185" y="71543"/>
                  <a:pt x="1527185" y="71543"/>
                  <a:pt x="1478309" y="79073"/>
                </a:cubicBezTo>
                <a:cubicBezTo>
                  <a:pt x="1527185" y="90370"/>
                  <a:pt x="1609900" y="82839"/>
                  <a:pt x="1658776" y="90370"/>
                </a:cubicBezTo>
                <a:lnTo>
                  <a:pt x="1674865" y="90685"/>
                </a:lnTo>
                <a:lnTo>
                  <a:pt x="1658306" y="93664"/>
                </a:lnTo>
                <a:cubicBezTo>
                  <a:pt x="1646557" y="96959"/>
                  <a:pt x="1634338" y="101666"/>
                  <a:pt x="1621179" y="101666"/>
                </a:cubicBezTo>
                <a:cubicBezTo>
                  <a:pt x="1613659" y="109197"/>
                  <a:pt x="1598620" y="116727"/>
                  <a:pt x="1579822" y="128024"/>
                </a:cubicBezTo>
                <a:cubicBezTo>
                  <a:pt x="1579822" y="128024"/>
                  <a:pt x="1579822" y="128024"/>
                  <a:pt x="1576062" y="120493"/>
                </a:cubicBezTo>
                <a:cubicBezTo>
                  <a:pt x="1579822" y="112962"/>
                  <a:pt x="1598620" y="124258"/>
                  <a:pt x="1598620" y="112962"/>
                </a:cubicBezTo>
                <a:cubicBezTo>
                  <a:pt x="1598620" y="112962"/>
                  <a:pt x="1598620" y="112962"/>
                  <a:pt x="1587341" y="109197"/>
                </a:cubicBezTo>
                <a:cubicBezTo>
                  <a:pt x="1583581" y="112962"/>
                  <a:pt x="1572302" y="109197"/>
                  <a:pt x="1564783" y="109197"/>
                </a:cubicBezTo>
                <a:cubicBezTo>
                  <a:pt x="1564783" y="109197"/>
                  <a:pt x="1564783" y="109197"/>
                  <a:pt x="1553503" y="105431"/>
                </a:cubicBezTo>
                <a:cubicBezTo>
                  <a:pt x="1583581" y="101666"/>
                  <a:pt x="1609900" y="109197"/>
                  <a:pt x="1621179" y="94135"/>
                </a:cubicBezTo>
                <a:cubicBezTo>
                  <a:pt x="1564783" y="82839"/>
                  <a:pt x="1508387" y="94135"/>
                  <a:pt x="1448231" y="86604"/>
                </a:cubicBezTo>
                <a:cubicBezTo>
                  <a:pt x="1433192" y="82839"/>
                  <a:pt x="1425672" y="94135"/>
                  <a:pt x="1410633" y="97900"/>
                </a:cubicBezTo>
                <a:cubicBezTo>
                  <a:pt x="1410633" y="97900"/>
                  <a:pt x="1410633" y="97900"/>
                  <a:pt x="1444471" y="101666"/>
                </a:cubicBezTo>
                <a:cubicBezTo>
                  <a:pt x="1440711" y="109197"/>
                  <a:pt x="1384315" y="116727"/>
                  <a:pt x="1380555" y="131789"/>
                </a:cubicBezTo>
                <a:cubicBezTo>
                  <a:pt x="1373036" y="124258"/>
                  <a:pt x="1399354" y="120493"/>
                  <a:pt x="1380555" y="112962"/>
                </a:cubicBezTo>
                <a:cubicBezTo>
                  <a:pt x="1380555" y="120493"/>
                  <a:pt x="1350478" y="124258"/>
                  <a:pt x="1369276" y="131789"/>
                </a:cubicBezTo>
                <a:cubicBezTo>
                  <a:pt x="1365517" y="128024"/>
                  <a:pt x="1361757" y="131789"/>
                  <a:pt x="1357997" y="131789"/>
                </a:cubicBezTo>
                <a:cubicBezTo>
                  <a:pt x="1365517" y="146851"/>
                  <a:pt x="1361757" y="143085"/>
                  <a:pt x="1354237" y="146851"/>
                </a:cubicBezTo>
                <a:cubicBezTo>
                  <a:pt x="1357997" y="143085"/>
                  <a:pt x="1357997" y="143085"/>
                  <a:pt x="1350478" y="139320"/>
                </a:cubicBezTo>
                <a:cubicBezTo>
                  <a:pt x="1350478" y="139320"/>
                  <a:pt x="1350478" y="139320"/>
                  <a:pt x="1327919" y="161912"/>
                </a:cubicBezTo>
                <a:cubicBezTo>
                  <a:pt x="1365517" y="161912"/>
                  <a:pt x="1391835" y="184504"/>
                  <a:pt x="1436952" y="173208"/>
                </a:cubicBezTo>
                <a:cubicBezTo>
                  <a:pt x="1455750" y="173208"/>
                  <a:pt x="1451990" y="184504"/>
                  <a:pt x="1459510" y="192035"/>
                </a:cubicBezTo>
                <a:cubicBezTo>
                  <a:pt x="1440711" y="192035"/>
                  <a:pt x="1436952" y="199566"/>
                  <a:pt x="1421913" y="207097"/>
                </a:cubicBezTo>
                <a:cubicBezTo>
                  <a:pt x="1429432" y="210862"/>
                  <a:pt x="1440711" y="207097"/>
                  <a:pt x="1451990" y="207097"/>
                </a:cubicBezTo>
                <a:cubicBezTo>
                  <a:pt x="1451990" y="207097"/>
                  <a:pt x="1451990" y="207097"/>
                  <a:pt x="1451990" y="210862"/>
                </a:cubicBezTo>
                <a:cubicBezTo>
                  <a:pt x="1474549" y="214628"/>
                  <a:pt x="1485828" y="210862"/>
                  <a:pt x="1512146" y="210862"/>
                </a:cubicBezTo>
                <a:cubicBezTo>
                  <a:pt x="1512146" y="210862"/>
                  <a:pt x="1512146" y="210862"/>
                  <a:pt x="1512146" y="214628"/>
                </a:cubicBezTo>
                <a:cubicBezTo>
                  <a:pt x="1512146" y="214628"/>
                  <a:pt x="1512146" y="214628"/>
                  <a:pt x="1534705" y="214628"/>
                </a:cubicBezTo>
                <a:cubicBezTo>
                  <a:pt x="1534705" y="210862"/>
                  <a:pt x="1538464" y="210862"/>
                  <a:pt x="1538464" y="210862"/>
                </a:cubicBezTo>
                <a:cubicBezTo>
                  <a:pt x="1534705" y="214628"/>
                  <a:pt x="1530945" y="218393"/>
                  <a:pt x="1538464" y="218393"/>
                </a:cubicBezTo>
                <a:cubicBezTo>
                  <a:pt x="1530945" y="222158"/>
                  <a:pt x="1523426" y="222158"/>
                  <a:pt x="1515906" y="225924"/>
                </a:cubicBezTo>
                <a:cubicBezTo>
                  <a:pt x="1523426" y="229689"/>
                  <a:pt x="1538464" y="225924"/>
                  <a:pt x="1549744" y="229689"/>
                </a:cubicBezTo>
                <a:cubicBezTo>
                  <a:pt x="1549744" y="229689"/>
                  <a:pt x="1549744" y="233455"/>
                  <a:pt x="1542224" y="237220"/>
                </a:cubicBezTo>
                <a:cubicBezTo>
                  <a:pt x="1609900" y="252282"/>
                  <a:pt x="1651257" y="222158"/>
                  <a:pt x="1722692" y="225924"/>
                </a:cubicBezTo>
                <a:cubicBezTo>
                  <a:pt x="1730211" y="222158"/>
                  <a:pt x="1745250" y="214628"/>
                  <a:pt x="1764049" y="218393"/>
                </a:cubicBezTo>
                <a:cubicBezTo>
                  <a:pt x="1767809" y="225924"/>
                  <a:pt x="1790367" y="218393"/>
                  <a:pt x="1801646" y="218393"/>
                </a:cubicBezTo>
                <a:cubicBezTo>
                  <a:pt x="1801646" y="218393"/>
                  <a:pt x="1801646" y="218393"/>
                  <a:pt x="1809166" y="214628"/>
                </a:cubicBezTo>
                <a:cubicBezTo>
                  <a:pt x="1846763" y="225924"/>
                  <a:pt x="1899399" y="214628"/>
                  <a:pt x="1940757" y="214628"/>
                </a:cubicBezTo>
                <a:cubicBezTo>
                  <a:pt x="1985873" y="188270"/>
                  <a:pt x="2030990" y="225924"/>
                  <a:pt x="2083627" y="203331"/>
                </a:cubicBezTo>
                <a:cubicBezTo>
                  <a:pt x="2091146" y="207097"/>
                  <a:pt x="2109945" y="203331"/>
                  <a:pt x="2124984" y="203331"/>
                </a:cubicBezTo>
                <a:cubicBezTo>
                  <a:pt x="2124984" y="203331"/>
                  <a:pt x="2124984" y="203331"/>
                  <a:pt x="2128744" y="199566"/>
                </a:cubicBezTo>
                <a:cubicBezTo>
                  <a:pt x="2128744" y="199566"/>
                  <a:pt x="2128744" y="199566"/>
                  <a:pt x="2117464" y="195801"/>
                </a:cubicBezTo>
                <a:cubicBezTo>
                  <a:pt x="2124984" y="195801"/>
                  <a:pt x="2128744" y="195801"/>
                  <a:pt x="2128744" y="192035"/>
                </a:cubicBezTo>
                <a:cubicBezTo>
                  <a:pt x="2128744" y="192035"/>
                  <a:pt x="2128744" y="192035"/>
                  <a:pt x="2121224" y="188270"/>
                </a:cubicBezTo>
                <a:cubicBezTo>
                  <a:pt x="2143782" y="195801"/>
                  <a:pt x="2170101" y="176974"/>
                  <a:pt x="2192659" y="184504"/>
                </a:cubicBezTo>
                <a:cubicBezTo>
                  <a:pt x="2196419" y="188270"/>
                  <a:pt x="2185140" y="195801"/>
                  <a:pt x="2196419" y="199566"/>
                </a:cubicBezTo>
                <a:cubicBezTo>
                  <a:pt x="2203938" y="199566"/>
                  <a:pt x="2207698" y="199566"/>
                  <a:pt x="2215218" y="195801"/>
                </a:cubicBezTo>
                <a:cubicBezTo>
                  <a:pt x="2215218" y="195801"/>
                  <a:pt x="2215218" y="195801"/>
                  <a:pt x="2203938" y="188270"/>
                </a:cubicBezTo>
                <a:cubicBezTo>
                  <a:pt x="2218977" y="184504"/>
                  <a:pt x="2245295" y="192035"/>
                  <a:pt x="2271614" y="188270"/>
                </a:cubicBezTo>
                <a:cubicBezTo>
                  <a:pt x="2309211" y="188270"/>
                  <a:pt x="2354328" y="176974"/>
                  <a:pt x="2395685" y="184504"/>
                </a:cubicBezTo>
                <a:cubicBezTo>
                  <a:pt x="2391925" y="180739"/>
                  <a:pt x="2406964" y="169443"/>
                  <a:pt x="2422003" y="169443"/>
                </a:cubicBezTo>
                <a:cubicBezTo>
                  <a:pt x="2478399" y="176974"/>
                  <a:pt x="2534795" y="150616"/>
                  <a:pt x="2564873" y="180739"/>
                </a:cubicBezTo>
                <a:cubicBezTo>
                  <a:pt x="2628789" y="180739"/>
                  <a:pt x="2673906" y="184504"/>
                  <a:pt x="2737821" y="176974"/>
                </a:cubicBezTo>
                <a:cubicBezTo>
                  <a:pt x="2737821" y="176974"/>
                  <a:pt x="2737821" y="176974"/>
                  <a:pt x="2737821" y="169443"/>
                </a:cubicBezTo>
                <a:cubicBezTo>
                  <a:pt x="2756620" y="173208"/>
                  <a:pt x="2775419" y="173208"/>
                  <a:pt x="2794217" y="176974"/>
                </a:cubicBezTo>
                <a:cubicBezTo>
                  <a:pt x="2794217" y="176974"/>
                  <a:pt x="2794217" y="176974"/>
                  <a:pt x="2805496" y="169443"/>
                </a:cubicBezTo>
                <a:cubicBezTo>
                  <a:pt x="3076198" y="161912"/>
                  <a:pt x="3290503" y="158147"/>
                  <a:pt x="3568723" y="165678"/>
                </a:cubicBezTo>
                <a:cubicBezTo>
                  <a:pt x="3568723" y="165678"/>
                  <a:pt x="3568723" y="165678"/>
                  <a:pt x="3673996" y="158147"/>
                </a:cubicBezTo>
                <a:cubicBezTo>
                  <a:pt x="3673996" y="169443"/>
                  <a:pt x="3707834" y="158147"/>
                  <a:pt x="3719113" y="161912"/>
                </a:cubicBezTo>
                <a:cubicBezTo>
                  <a:pt x="3786788" y="154381"/>
                  <a:pt x="3828145" y="176974"/>
                  <a:pt x="3880782" y="150616"/>
                </a:cubicBezTo>
                <a:cubicBezTo>
                  <a:pt x="3880782" y="150616"/>
                  <a:pt x="3880782" y="150616"/>
                  <a:pt x="3869503" y="161912"/>
                </a:cubicBezTo>
                <a:cubicBezTo>
                  <a:pt x="3884541" y="169443"/>
                  <a:pt x="3914619" y="158147"/>
                  <a:pt x="3922139" y="169443"/>
                </a:cubicBezTo>
                <a:cubicBezTo>
                  <a:pt x="3959736" y="154381"/>
                  <a:pt x="4001093" y="169443"/>
                  <a:pt x="4046210" y="165678"/>
                </a:cubicBezTo>
                <a:cubicBezTo>
                  <a:pt x="4046210" y="165678"/>
                  <a:pt x="4046210" y="165678"/>
                  <a:pt x="4083807" y="165678"/>
                </a:cubicBezTo>
                <a:cubicBezTo>
                  <a:pt x="4083807" y="165678"/>
                  <a:pt x="4083807" y="165678"/>
                  <a:pt x="4083807" y="169443"/>
                </a:cubicBezTo>
                <a:cubicBezTo>
                  <a:pt x="4102606" y="176974"/>
                  <a:pt x="4162762" y="165678"/>
                  <a:pt x="4181561" y="173208"/>
                </a:cubicBezTo>
                <a:cubicBezTo>
                  <a:pt x="4211639" y="161912"/>
                  <a:pt x="4234197" y="184504"/>
                  <a:pt x="4264275" y="173208"/>
                </a:cubicBezTo>
                <a:cubicBezTo>
                  <a:pt x="4275554" y="184504"/>
                  <a:pt x="4298113" y="176974"/>
                  <a:pt x="4316911" y="184504"/>
                </a:cubicBezTo>
                <a:cubicBezTo>
                  <a:pt x="4350749" y="184504"/>
                  <a:pt x="4399626" y="195801"/>
                  <a:pt x="4440983" y="184504"/>
                </a:cubicBezTo>
                <a:cubicBezTo>
                  <a:pt x="4433463" y="184504"/>
                  <a:pt x="4433463" y="188270"/>
                  <a:pt x="4433463" y="192035"/>
                </a:cubicBezTo>
                <a:cubicBezTo>
                  <a:pt x="4467301" y="195801"/>
                  <a:pt x="4493619" y="192035"/>
                  <a:pt x="4512418" y="199566"/>
                </a:cubicBezTo>
                <a:cubicBezTo>
                  <a:pt x="4508658" y="214628"/>
                  <a:pt x="4534976" y="203331"/>
                  <a:pt x="4550015" y="203331"/>
                </a:cubicBezTo>
                <a:cubicBezTo>
                  <a:pt x="4550015" y="203331"/>
                  <a:pt x="4550015" y="203331"/>
                  <a:pt x="4557535" y="199566"/>
                </a:cubicBezTo>
                <a:cubicBezTo>
                  <a:pt x="4550015" y="210862"/>
                  <a:pt x="4595132" y="199566"/>
                  <a:pt x="4568814" y="207097"/>
                </a:cubicBezTo>
                <a:cubicBezTo>
                  <a:pt x="4583853" y="225924"/>
                  <a:pt x="4640249" y="210862"/>
                  <a:pt x="4644009" y="233455"/>
                </a:cubicBezTo>
                <a:cubicBezTo>
                  <a:pt x="4700405" y="218393"/>
                  <a:pt x="4722963" y="248516"/>
                  <a:pt x="4775599" y="237220"/>
                </a:cubicBezTo>
                <a:cubicBezTo>
                  <a:pt x="4794399" y="214628"/>
                  <a:pt x="4790639" y="214628"/>
                  <a:pt x="4828236" y="199566"/>
                </a:cubicBezTo>
                <a:cubicBezTo>
                  <a:pt x="4816957" y="192035"/>
                  <a:pt x="4771840" y="207097"/>
                  <a:pt x="4783119" y="188270"/>
                </a:cubicBezTo>
                <a:cubicBezTo>
                  <a:pt x="4801918" y="192035"/>
                  <a:pt x="4835755" y="173208"/>
                  <a:pt x="4828236" y="195801"/>
                </a:cubicBezTo>
                <a:cubicBezTo>
                  <a:pt x="4835755" y="188270"/>
                  <a:pt x="4854554" y="188270"/>
                  <a:pt x="4850795" y="180739"/>
                </a:cubicBezTo>
                <a:cubicBezTo>
                  <a:pt x="4824476" y="173208"/>
                  <a:pt x="4847035" y="143085"/>
                  <a:pt x="4794399" y="150616"/>
                </a:cubicBezTo>
                <a:cubicBezTo>
                  <a:pt x="4794399" y="150616"/>
                  <a:pt x="4794399" y="150616"/>
                  <a:pt x="4813197" y="143085"/>
                </a:cubicBezTo>
                <a:cubicBezTo>
                  <a:pt x="4805677" y="128024"/>
                  <a:pt x="4764321" y="139320"/>
                  <a:pt x="4738002" y="135554"/>
                </a:cubicBezTo>
                <a:cubicBezTo>
                  <a:pt x="4722963" y="146851"/>
                  <a:pt x="4696645" y="131789"/>
                  <a:pt x="4677847" y="139320"/>
                </a:cubicBezTo>
                <a:cubicBezTo>
                  <a:pt x="4689125" y="128024"/>
                  <a:pt x="4659047" y="124258"/>
                  <a:pt x="4644009" y="116727"/>
                </a:cubicBezTo>
                <a:cubicBezTo>
                  <a:pt x="4591373" y="128024"/>
                  <a:pt x="4565054" y="105431"/>
                  <a:pt x="4516177" y="109197"/>
                </a:cubicBezTo>
                <a:cubicBezTo>
                  <a:pt x="4508658" y="101666"/>
                  <a:pt x="4452262" y="112962"/>
                  <a:pt x="4444743" y="90370"/>
                </a:cubicBezTo>
                <a:cubicBezTo>
                  <a:pt x="4418425" y="90370"/>
                  <a:pt x="4403385" y="90370"/>
                  <a:pt x="4380827" y="82839"/>
                </a:cubicBezTo>
                <a:cubicBezTo>
                  <a:pt x="4380827" y="82839"/>
                  <a:pt x="4380827" y="82839"/>
                  <a:pt x="4365788" y="90370"/>
                </a:cubicBezTo>
                <a:cubicBezTo>
                  <a:pt x="4365788" y="90370"/>
                  <a:pt x="4362028" y="86604"/>
                  <a:pt x="4354509" y="86604"/>
                </a:cubicBezTo>
                <a:cubicBezTo>
                  <a:pt x="4346989" y="86604"/>
                  <a:pt x="4343229" y="79073"/>
                  <a:pt x="4331951" y="82839"/>
                </a:cubicBezTo>
                <a:cubicBezTo>
                  <a:pt x="4331951" y="82839"/>
                  <a:pt x="4331951" y="82839"/>
                  <a:pt x="4335710" y="67777"/>
                </a:cubicBezTo>
                <a:cubicBezTo>
                  <a:pt x="4380827" y="71543"/>
                  <a:pt x="4429703" y="75308"/>
                  <a:pt x="4474821" y="79073"/>
                </a:cubicBezTo>
                <a:cubicBezTo>
                  <a:pt x="4474821" y="101666"/>
                  <a:pt x="4531217" y="86604"/>
                  <a:pt x="4561295" y="90370"/>
                </a:cubicBezTo>
                <a:cubicBezTo>
                  <a:pt x="4602651" y="97900"/>
                  <a:pt x="4655288" y="82839"/>
                  <a:pt x="4681606" y="94135"/>
                </a:cubicBezTo>
                <a:cubicBezTo>
                  <a:pt x="4681606" y="94135"/>
                  <a:pt x="4681606" y="94135"/>
                  <a:pt x="4685366" y="97900"/>
                </a:cubicBezTo>
                <a:cubicBezTo>
                  <a:pt x="4719203" y="101666"/>
                  <a:pt x="4749281" y="120493"/>
                  <a:pt x="4801918" y="109197"/>
                </a:cubicBezTo>
                <a:cubicBezTo>
                  <a:pt x="4801918" y="109197"/>
                  <a:pt x="4801918" y="109197"/>
                  <a:pt x="4809437" y="112962"/>
                </a:cubicBezTo>
                <a:cubicBezTo>
                  <a:pt x="4809437" y="112962"/>
                  <a:pt x="4809437" y="112962"/>
                  <a:pt x="4824476" y="105431"/>
                </a:cubicBezTo>
                <a:cubicBezTo>
                  <a:pt x="4824476" y="105431"/>
                  <a:pt x="4824476" y="105431"/>
                  <a:pt x="4828236" y="109197"/>
                </a:cubicBezTo>
                <a:cubicBezTo>
                  <a:pt x="4824476" y="112962"/>
                  <a:pt x="4801918" y="116727"/>
                  <a:pt x="4805677" y="124258"/>
                </a:cubicBezTo>
                <a:cubicBezTo>
                  <a:pt x="4839515" y="128024"/>
                  <a:pt x="4865833" y="128024"/>
                  <a:pt x="4903431" y="124258"/>
                </a:cubicBezTo>
                <a:cubicBezTo>
                  <a:pt x="4888392" y="131789"/>
                  <a:pt x="4899671" y="150616"/>
                  <a:pt x="4925989" y="143085"/>
                </a:cubicBezTo>
                <a:cubicBezTo>
                  <a:pt x="4925989" y="143085"/>
                  <a:pt x="4925989" y="143085"/>
                  <a:pt x="4941028" y="143085"/>
                </a:cubicBezTo>
                <a:cubicBezTo>
                  <a:pt x="4971106" y="120493"/>
                  <a:pt x="4914710" y="128024"/>
                  <a:pt x="4922229" y="109197"/>
                </a:cubicBezTo>
                <a:cubicBezTo>
                  <a:pt x="4933509" y="105431"/>
                  <a:pt x="4948547" y="105431"/>
                  <a:pt x="4956067" y="97900"/>
                </a:cubicBezTo>
                <a:cubicBezTo>
                  <a:pt x="4956067" y="97900"/>
                  <a:pt x="4956067" y="97900"/>
                  <a:pt x="4959827" y="94135"/>
                </a:cubicBezTo>
                <a:cubicBezTo>
                  <a:pt x="4952307" y="86604"/>
                  <a:pt x="4937269" y="97900"/>
                  <a:pt x="4922229" y="97900"/>
                </a:cubicBezTo>
                <a:cubicBezTo>
                  <a:pt x="4922229" y="90370"/>
                  <a:pt x="4914710" y="86604"/>
                  <a:pt x="4903431" y="86604"/>
                </a:cubicBezTo>
                <a:cubicBezTo>
                  <a:pt x="4910950" y="82839"/>
                  <a:pt x="4922229" y="79073"/>
                  <a:pt x="4933509" y="75308"/>
                </a:cubicBezTo>
                <a:cubicBezTo>
                  <a:pt x="4937269" y="75308"/>
                  <a:pt x="4933509" y="71543"/>
                  <a:pt x="4929749" y="71543"/>
                </a:cubicBezTo>
                <a:cubicBezTo>
                  <a:pt x="4989905" y="67777"/>
                  <a:pt x="5004943" y="97900"/>
                  <a:pt x="5068859" y="79073"/>
                </a:cubicBezTo>
                <a:cubicBezTo>
                  <a:pt x="5068859" y="79073"/>
                  <a:pt x="5068859" y="79073"/>
                  <a:pt x="5061339" y="75308"/>
                </a:cubicBezTo>
                <a:cubicBezTo>
                  <a:pt x="5068859" y="75308"/>
                  <a:pt x="5117736" y="79073"/>
                  <a:pt x="5132775" y="75308"/>
                </a:cubicBezTo>
                <a:cubicBezTo>
                  <a:pt x="5132775" y="75308"/>
                  <a:pt x="5132775" y="75308"/>
                  <a:pt x="5136535" y="71543"/>
                </a:cubicBezTo>
                <a:cubicBezTo>
                  <a:pt x="5125255" y="67777"/>
                  <a:pt x="5102697" y="71543"/>
                  <a:pt x="5087658" y="71543"/>
                </a:cubicBezTo>
                <a:cubicBezTo>
                  <a:pt x="5125255" y="60247"/>
                  <a:pt x="5147813" y="60247"/>
                  <a:pt x="5189171" y="52716"/>
                </a:cubicBezTo>
                <a:cubicBezTo>
                  <a:pt x="5189171" y="52716"/>
                  <a:pt x="5189171" y="52716"/>
                  <a:pt x="5095177" y="101666"/>
                </a:cubicBezTo>
                <a:cubicBezTo>
                  <a:pt x="5129015" y="112962"/>
                  <a:pt x="5083898" y="120493"/>
                  <a:pt x="5065099" y="131789"/>
                </a:cubicBezTo>
                <a:cubicBezTo>
                  <a:pt x="5042541" y="150616"/>
                  <a:pt x="4997424" y="135554"/>
                  <a:pt x="4971106" y="161912"/>
                </a:cubicBezTo>
                <a:cubicBezTo>
                  <a:pt x="5001184" y="158147"/>
                  <a:pt x="5004943" y="158147"/>
                  <a:pt x="5035021" y="165678"/>
                </a:cubicBezTo>
                <a:cubicBezTo>
                  <a:pt x="5035021" y="165678"/>
                  <a:pt x="5035021" y="165678"/>
                  <a:pt x="5023743" y="184504"/>
                </a:cubicBezTo>
                <a:cubicBezTo>
                  <a:pt x="4971106" y="207097"/>
                  <a:pt x="4910950" y="237220"/>
                  <a:pt x="4869593" y="263578"/>
                </a:cubicBezTo>
                <a:cubicBezTo>
                  <a:pt x="4873353" y="267343"/>
                  <a:pt x="4880873" y="267343"/>
                  <a:pt x="4884632" y="267343"/>
                </a:cubicBezTo>
                <a:cubicBezTo>
                  <a:pt x="4843275" y="278639"/>
                  <a:pt x="4839515" y="304997"/>
                  <a:pt x="4798158" y="312528"/>
                </a:cubicBezTo>
                <a:cubicBezTo>
                  <a:pt x="4801918" y="316293"/>
                  <a:pt x="4801918" y="320059"/>
                  <a:pt x="4809437" y="316293"/>
                </a:cubicBezTo>
                <a:cubicBezTo>
                  <a:pt x="4813197" y="327589"/>
                  <a:pt x="4790639" y="320059"/>
                  <a:pt x="4783119" y="327589"/>
                </a:cubicBezTo>
                <a:cubicBezTo>
                  <a:pt x="4783119" y="320059"/>
                  <a:pt x="4798158" y="308762"/>
                  <a:pt x="4783119" y="304997"/>
                </a:cubicBezTo>
                <a:cubicBezTo>
                  <a:pt x="4760561" y="312528"/>
                  <a:pt x="4756801" y="327589"/>
                  <a:pt x="4760561" y="335120"/>
                </a:cubicBezTo>
                <a:cubicBezTo>
                  <a:pt x="4768080" y="346416"/>
                  <a:pt x="4783119" y="346416"/>
                  <a:pt x="4801918" y="342651"/>
                </a:cubicBezTo>
                <a:cubicBezTo>
                  <a:pt x="4798158" y="346416"/>
                  <a:pt x="4801918" y="346416"/>
                  <a:pt x="4801918" y="350182"/>
                </a:cubicBezTo>
                <a:cubicBezTo>
                  <a:pt x="4809437" y="350182"/>
                  <a:pt x="4816957" y="350182"/>
                  <a:pt x="4820717" y="346416"/>
                </a:cubicBezTo>
                <a:cubicBezTo>
                  <a:pt x="4820717" y="346416"/>
                  <a:pt x="4820717" y="346416"/>
                  <a:pt x="4816957" y="342651"/>
                </a:cubicBezTo>
                <a:cubicBezTo>
                  <a:pt x="4816957" y="342651"/>
                  <a:pt x="4816957" y="342651"/>
                  <a:pt x="4850795" y="342651"/>
                </a:cubicBezTo>
                <a:cubicBezTo>
                  <a:pt x="4862073" y="338886"/>
                  <a:pt x="4854554" y="335120"/>
                  <a:pt x="4850795" y="331355"/>
                </a:cubicBezTo>
                <a:cubicBezTo>
                  <a:pt x="4862073" y="327589"/>
                  <a:pt x="4892151" y="335120"/>
                  <a:pt x="4910950" y="323824"/>
                </a:cubicBezTo>
                <a:cubicBezTo>
                  <a:pt x="4877113" y="312528"/>
                  <a:pt x="4937269" y="304997"/>
                  <a:pt x="4918469" y="293701"/>
                </a:cubicBezTo>
                <a:cubicBezTo>
                  <a:pt x="4910950" y="293701"/>
                  <a:pt x="4937269" y="289935"/>
                  <a:pt x="4937269" y="278639"/>
                </a:cubicBezTo>
                <a:cubicBezTo>
                  <a:pt x="4937269" y="278639"/>
                  <a:pt x="4937269" y="278639"/>
                  <a:pt x="4941028" y="278639"/>
                </a:cubicBezTo>
                <a:cubicBezTo>
                  <a:pt x="4959827" y="263578"/>
                  <a:pt x="4989905" y="274874"/>
                  <a:pt x="4997424" y="256047"/>
                </a:cubicBezTo>
                <a:cubicBezTo>
                  <a:pt x="5050061" y="244751"/>
                  <a:pt x="4993665" y="271108"/>
                  <a:pt x="5042541" y="263578"/>
                </a:cubicBezTo>
                <a:cubicBezTo>
                  <a:pt x="5038781" y="271108"/>
                  <a:pt x="5027502" y="271108"/>
                  <a:pt x="5027502" y="278639"/>
                </a:cubicBezTo>
                <a:cubicBezTo>
                  <a:pt x="5027502" y="278639"/>
                  <a:pt x="5027502" y="278639"/>
                  <a:pt x="5061339" y="278639"/>
                </a:cubicBezTo>
                <a:cubicBezTo>
                  <a:pt x="5068859" y="301232"/>
                  <a:pt x="4986145" y="308762"/>
                  <a:pt x="5019983" y="323824"/>
                </a:cubicBezTo>
                <a:cubicBezTo>
                  <a:pt x="5019983" y="323824"/>
                  <a:pt x="5019983" y="323824"/>
                  <a:pt x="5012463" y="342651"/>
                </a:cubicBezTo>
                <a:cubicBezTo>
                  <a:pt x="4997424" y="346416"/>
                  <a:pt x="5004943" y="338886"/>
                  <a:pt x="5001184" y="335120"/>
                </a:cubicBezTo>
                <a:cubicBezTo>
                  <a:pt x="5001184" y="331355"/>
                  <a:pt x="5004943" y="327589"/>
                  <a:pt x="5001184" y="327589"/>
                </a:cubicBezTo>
                <a:cubicBezTo>
                  <a:pt x="4993665" y="327589"/>
                  <a:pt x="4982385" y="331355"/>
                  <a:pt x="4986145" y="335120"/>
                </a:cubicBezTo>
                <a:cubicBezTo>
                  <a:pt x="4986145" y="335120"/>
                  <a:pt x="4986145" y="335120"/>
                  <a:pt x="4978625" y="335120"/>
                </a:cubicBezTo>
                <a:cubicBezTo>
                  <a:pt x="4978625" y="335120"/>
                  <a:pt x="4978625" y="335120"/>
                  <a:pt x="4993665" y="301232"/>
                </a:cubicBezTo>
                <a:cubicBezTo>
                  <a:pt x="5001184" y="304997"/>
                  <a:pt x="5008703" y="301232"/>
                  <a:pt x="5008703" y="297466"/>
                </a:cubicBezTo>
                <a:cubicBezTo>
                  <a:pt x="5008703" y="297466"/>
                  <a:pt x="5008703" y="297466"/>
                  <a:pt x="5012463" y="286170"/>
                </a:cubicBezTo>
                <a:cubicBezTo>
                  <a:pt x="5019983" y="286170"/>
                  <a:pt x="5019983" y="286170"/>
                  <a:pt x="5027502" y="282405"/>
                </a:cubicBezTo>
                <a:cubicBezTo>
                  <a:pt x="5023743" y="271108"/>
                  <a:pt x="4989905" y="274874"/>
                  <a:pt x="4982385" y="286170"/>
                </a:cubicBezTo>
                <a:cubicBezTo>
                  <a:pt x="4963587" y="308762"/>
                  <a:pt x="4925989" y="335120"/>
                  <a:pt x="4888392" y="353947"/>
                </a:cubicBezTo>
                <a:cubicBezTo>
                  <a:pt x="4888392" y="353947"/>
                  <a:pt x="4888392" y="353947"/>
                  <a:pt x="4884632" y="365243"/>
                </a:cubicBezTo>
                <a:cubicBezTo>
                  <a:pt x="4877113" y="365243"/>
                  <a:pt x="4873353" y="365243"/>
                  <a:pt x="4869593" y="369009"/>
                </a:cubicBezTo>
                <a:cubicBezTo>
                  <a:pt x="4865833" y="376539"/>
                  <a:pt x="4880873" y="372774"/>
                  <a:pt x="4880873" y="380305"/>
                </a:cubicBezTo>
                <a:cubicBezTo>
                  <a:pt x="4877113" y="384070"/>
                  <a:pt x="4865833" y="384070"/>
                  <a:pt x="4865833" y="387836"/>
                </a:cubicBezTo>
                <a:cubicBezTo>
                  <a:pt x="4880873" y="395366"/>
                  <a:pt x="4888392" y="380305"/>
                  <a:pt x="4903431" y="391601"/>
                </a:cubicBezTo>
                <a:cubicBezTo>
                  <a:pt x="4910950" y="391601"/>
                  <a:pt x="4918469" y="387836"/>
                  <a:pt x="4929749" y="384070"/>
                </a:cubicBezTo>
                <a:cubicBezTo>
                  <a:pt x="4925989" y="387836"/>
                  <a:pt x="4925989" y="391601"/>
                  <a:pt x="4918469" y="395366"/>
                </a:cubicBezTo>
                <a:cubicBezTo>
                  <a:pt x="4918469" y="395366"/>
                  <a:pt x="4918469" y="395366"/>
                  <a:pt x="4925989" y="399132"/>
                </a:cubicBezTo>
                <a:cubicBezTo>
                  <a:pt x="4925989" y="399132"/>
                  <a:pt x="4925989" y="399132"/>
                  <a:pt x="4971106" y="380305"/>
                </a:cubicBezTo>
                <a:cubicBezTo>
                  <a:pt x="4982385" y="395366"/>
                  <a:pt x="4941028" y="421724"/>
                  <a:pt x="4967347" y="429255"/>
                </a:cubicBezTo>
                <a:cubicBezTo>
                  <a:pt x="4989905" y="414193"/>
                  <a:pt x="4982385" y="406663"/>
                  <a:pt x="5001184" y="391601"/>
                </a:cubicBezTo>
                <a:cubicBezTo>
                  <a:pt x="5001184" y="391601"/>
                  <a:pt x="5001184" y="391601"/>
                  <a:pt x="5012463" y="391601"/>
                </a:cubicBezTo>
                <a:cubicBezTo>
                  <a:pt x="4989905" y="414193"/>
                  <a:pt x="4974865" y="448082"/>
                  <a:pt x="4974865" y="466909"/>
                </a:cubicBezTo>
                <a:cubicBezTo>
                  <a:pt x="4974865" y="466909"/>
                  <a:pt x="4974865" y="466909"/>
                  <a:pt x="4971106" y="466909"/>
                </a:cubicBezTo>
                <a:cubicBezTo>
                  <a:pt x="4971106" y="466909"/>
                  <a:pt x="4971106" y="466909"/>
                  <a:pt x="4963587" y="470674"/>
                </a:cubicBezTo>
                <a:cubicBezTo>
                  <a:pt x="4959827" y="466909"/>
                  <a:pt x="4956067" y="470674"/>
                  <a:pt x="4952307" y="470674"/>
                </a:cubicBezTo>
                <a:cubicBezTo>
                  <a:pt x="4944788" y="470674"/>
                  <a:pt x="4937269" y="474440"/>
                  <a:pt x="4929749" y="474440"/>
                </a:cubicBezTo>
                <a:cubicBezTo>
                  <a:pt x="4952307" y="470674"/>
                  <a:pt x="4952307" y="470674"/>
                  <a:pt x="4952307" y="470674"/>
                </a:cubicBezTo>
                <a:cubicBezTo>
                  <a:pt x="4952307" y="470674"/>
                  <a:pt x="4952307" y="470674"/>
                  <a:pt x="4963587" y="470674"/>
                </a:cubicBezTo>
                <a:cubicBezTo>
                  <a:pt x="4963587" y="470674"/>
                  <a:pt x="4963587" y="470674"/>
                  <a:pt x="4967347" y="470674"/>
                </a:cubicBezTo>
                <a:cubicBezTo>
                  <a:pt x="4967347" y="470674"/>
                  <a:pt x="4967347" y="470674"/>
                  <a:pt x="4944788" y="481970"/>
                </a:cubicBezTo>
                <a:cubicBezTo>
                  <a:pt x="4944788" y="485736"/>
                  <a:pt x="4952307" y="485736"/>
                  <a:pt x="4959827" y="485736"/>
                </a:cubicBezTo>
                <a:cubicBezTo>
                  <a:pt x="4959827" y="485736"/>
                  <a:pt x="4959827" y="485736"/>
                  <a:pt x="4974865" y="474440"/>
                </a:cubicBezTo>
                <a:cubicBezTo>
                  <a:pt x="4974865" y="474440"/>
                  <a:pt x="4974865" y="474440"/>
                  <a:pt x="4978625" y="478205"/>
                </a:cubicBezTo>
                <a:cubicBezTo>
                  <a:pt x="4997424" y="470674"/>
                  <a:pt x="4974865" y="463144"/>
                  <a:pt x="4993665" y="455613"/>
                </a:cubicBezTo>
                <a:cubicBezTo>
                  <a:pt x="4993665" y="455613"/>
                  <a:pt x="4993665" y="455613"/>
                  <a:pt x="5004943" y="455613"/>
                </a:cubicBezTo>
                <a:cubicBezTo>
                  <a:pt x="5001184" y="474440"/>
                  <a:pt x="4997424" y="493267"/>
                  <a:pt x="5019983" y="497032"/>
                </a:cubicBezTo>
                <a:cubicBezTo>
                  <a:pt x="5042541" y="489501"/>
                  <a:pt x="5038781" y="478205"/>
                  <a:pt x="5046301" y="466909"/>
                </a:cubicBezTo>
                <a:cubicBezTo>
                  <a:pt x="5038781" y="463144"/>
                  <a:pt x="5038781" y="459378"/>
                  <a:pt x="5042541" y="451847"/>
                </a:cubicBezTo>
                <a:cubicBezTo>
                  <a:pt x="5053821" y="451847"/>
                  <a:pt x="5061339" y="455613"/>
                  <a:pt x="5065099" y="448082"/>
                </a:cubicBezTo>
                <a:cubicBezTo>
                  <a:pt x="5065099" y="448082"/>
                  <a:pt x="5065099" y="448082"/>
                  <a:pt x="5065099" y="474440"/>
                </a:cubicBezTo>
                <a:cubicBezTo>
                  <a:pt x="5065099" y="474440"/>
                  <a:pt x="5065099" y="474440"/>
                  <a:pt x="5080139" y="470674"/>
                </a:cubicBezTo>
                <a:cubicBezTo>
                  <a:pt x="5087658" y="478205"/>
                  <a:pt x="5091417" y="489501"/>
                  <a:pt x="5095177" y="497032"/>
                </a:cubicBezTo>
                <a:cubicBezTo>
                  <a:pt x="5087658" y="493267"/>
                  <a:pt x="5080139" y="493267"/>
                  <a:pt x="5072619" y="500797"/>
                </a:cubicBezTo>
                <a:cubicBezTo>
                  <a:pt x="5072619" y="500797"/>
                  <a:pt x="5072619" y="500797"/>
                  <a:pt x="5053821" y="493267"/>
                </a:cubicBezTo>
                <a:cubicBezTo>
                  <a:pt x="5042541" y="497032"/>
                  <a:pt x="5027502" y="497032"/>
                  <a:pt x="5019983" y="504563"/>
                </a:cubicBezTo>
                <a:cubicBezTo>
                  <a:pt x="5019983" y="504563"/>
                  <a:pt x="5019983" y="504563"/>
                  <a:pt x="5038781" y="504563"/>
                </a:cubicBezTo>
                <a:cubicBezTo>
                  <a:pt x="5038781" y="504563"/>
                  <a:pt x="5038781" y="504563"/>
                  <a:pt x="5035021" y="508328"/>
                </a:cubicBezTo>
                <a:cubicBezTo>
                  <a:pt x="5068859" y="504563"/>
                  <a:pt x="5083898" y="512094"/>
                  <a:pt x="5102697" y="508328"/>
                </a:cubicBezTo>
                <a:cubicBezTo>
                  <a:pt x="5106457" y="512094"/>
                  <a:pt x="5106457" y="512094"/>
                  <a:pt x="5110217" y="512094"/>
                </a:cubicBezTo>
                <a:cubicBezTo>
                  <a:pt x="5113976" y="512094"/>
                  <a:pt x="5113976" y="508328"/>
                  <a:pt x="5113976" y="508328"/>
                </a:cubicBezTo>
                <a:cubicBezTo>
                  <a:pt x="5117736" y="504563"/>
                  <a:pt x="5121495" y="504563"/>
                  <a:pt x="5125255" y="504563"/>
                </a:cubicBezTo>
                <a:cubicBezTo>
                  <a:pt x="5125255" y="500797"/>
                  <a:pt x="5121495" y="504563"/>
                  <a:pt x="5113976" y="504563"/>
                </a:cubicBezTo>
                <a:cubicBezTo>
                  <a:pt x="5113976" y="497032"/>
                  <a:pt x="5110217" y="493267"/>
                  <a:pt x="5117736" y="485736"/>
                </a:cubicBezTo>
                <a:cubicBezTo>
                  <a:pt x="5106457" y="474440"/>
                  <a:pt x="5098937" y="463144"/>
                  <a:pt x="5113976" y="444317"/>
                </a:cubicBezTo>
                <a:cubicBezTo>
                  <a:pt x="5140295" y="455613"/>
                  <a:pt x="5106457" y="497032"/>
                  <a:pt x="5159093" y="489501"/>
                </a:cubicBezTo>
                <a:cubicBezTo>
                  <a:pt x="5159093" y="489501"/>
                  <a:pt x="5159093" y="489501"/>
                  <a:pt x="5162853" y="485736"/>
                </a:cubicBezTo>
                <a:cubicBezTo>
                  <a:pt x="5162853" y="485736"/>
                  <a:pt x="5166613" y="489501"/>
                  <a:pt x="5170372" y="489501"/>
                </a:cubicBezTo>
                <a:cubicBezTo>
                  <a:pt x="5177891" y="497032"/>
                  <a:pt x="5181651" y="508328"/>
                  <a:pt x="5170372" y="519624"/>
                </a:cubicBezTo>
                <a:cubicBezTo>
                  <a:pt x="5170372" y="519624"/>
                  <a:pt x="5170372" y="519624"/>
                  <a:pt x="5162853" y="508328"/>
                </a:cubicBezTo>
                <a:cubicBezTo>
                  <a:pt x="5155333" y="519624"/>
                  <a:pt x="5132775" y="534686"/>
                  <a:pt x="5144054" y="549748"/>
                </a:cubicBezTo>
                <a:cubicBezTo>
                  <a:pt x="5136535" y="545982"/>
                  <a:pt x="5121495" y="557278"/>
                  <a:pt x="5110217" y="564809"/>
                </a:cubicBezTo>
                <a:cubicBezTo>
                  <a:pt x="5113976" y="579870"/>
                  <a:pt x="5113976" y="594932"/>
                  <a:pt x="5129015" y="606228"/>
                </a:cubicBezTo>
                <a:cubicBezTo>
                  <a:pt x="5129015" y="606228"/>
                  <a:pt x="5129015" y="606228"/>
                  <a:pt x="5159093" y="591167"/>
                </a:cubicBezTo>
                <a:cubicBezTo>
                  <a:pt x="5174132" y="602463"/>
                  <a:pt x="5129015" y="606228"/>
                  <a:pt x="5129015" y="617524"/>
                </a:cubicBezTo>
                <a:cubicBezTo>
                  <a:pt x="5129015" y="640117"/>
                  <a:pt x="5147813" y="662709"/>
                  <a:pt x="5136535" y="681536"/>
                </a:cubicBezTo>
                <a:cubicBezTo>
                  <a:pt x="5151573" y="685301"/>
                  <a:pt x="5147813" y="689067"/>
                  <a:pt x="5159093" y="692832"/>
                </a:cubicBezTo>
                <a:cubicBezTo>
                  <a:pt x="5159093" y="692832"/>
                  <a:pt x="5159093" y="692832"/>
                  <a:pt x="5207969" y="670240"/>
                </a:cubicBezTo>
                <a:cubicBezTo>
                  <a:pt x="5207969" y="670240"/>
                  <a:pt x="5207969" y="670240"/>
                  <a:pt x="5215489" y="674005"/>
                </a:cubicBezTo>
                <a:cubicBezTo>
                  <a:pt x="5215489" y="674005"/>
                  <a:pt x="5215489" y="674005"/>
                  <a:pt x="5223009" y="670240"/>
                </a:cubicBezTo>
                <a:cubicBezTo>
                  <a:pt x="5223009" y="681536"/>
                  <a:pt x="5230528" y="692832"/>
                  <a:pt x="5226769" y="704128"/>
                </a:cubicBezTo>
                <a:cubicBezTo>
                  <a:pt x="5200450" y="722955"/>
                  <a:pt x="5162853" y="730486"/>
                  <a:pt x="5129015" y="745548"/>
                </a:cubicBezTo>
                <a:cubicBezTo>
                  <a:pt x="5129015" y="745548"/>
                  <a:pt x="5129015" y="745548"/>
                  <a:pt x="5113976" y="745548"/>
                </a:cubicBezTo>
                <a:cubicBezTo>
                  <a:pt x="5113976" y="745548"/>
                  <a:pt x="5113976" y="745548"/>
                  <a:pt x="5117736" y="741782"/>
                </a:cubicBezTo>
                <a:cubicBezTo>
                  <a:pt x="5117736" y="734252"/>
                  <a:pt x="5102697" y="741782"/>
                  <a:pt x="5095177" y="741782"/>
                </a:cubicBezTo>
                <a:cubicBezTo>
                  <a:pt x="5095177" y="741782"/>
                  <a:pt x="5095177" y="741782"/>
                  <a:pt x="5038781" y="749313"/>
                </a:cubicBezTo>
                <a:cubicBezTo>
                  <a:pt x="5061339" y="756844"/>
                  <a:pt x="5102697" y="753079"/>
                  <a:pt x="5117736" y="756844"/>
                </a:cubicBezTo>
                <a:cubicBezTo>
                  <a:pt x="5087658" y="771905"/>
                  <a:pt x="5046301" y="756844"/>
                  <a:pt x="5016223" y="775671"/>
                </a:cubicBezTo>
                <a:cubicBezTo>
                  <a:pt x="5008703" y="760609"/>
                  <a:pt x="4959827" y="771905"/>
                  <a:pt x="4933509" y="768140"/>
                </a:cubicBezTo>
                <a:cubicBezTo>
                  <a:pt x="4918469" y="775671"/>
                  <a:pt x="4910950" y="786967"/>
                  <a:pt x="4892151" y="790732"/>
                </a:cubicBezTo>
                <a:cubicBezTo>
                  <a:pt x="4892151" y="790732"/>
                  <a:pt x="4892151" y="790732"/>
                  <a:pt x="4888392" y="786967"/>
                </a:cubicBezTo>
                <a:cubicBezTo>
                  <a:pt x="4873353" y="790732"/>
                  <a:pt x="4862073" y="805794"/>
                  <a:pt x="4869593" y="809559"/>
                </a:cubicBezTo>
                <a:cubicBezTo>
                  <a:pt x="4869593" y="809559"/>
                  <a:pt x="4869593" y="809559"/>
                  <a:pt x="4873353" y="813325"/>
                </a:cubicBezTo>
                <a:cubicBezTo>
                  <a:pt x="4858314" y="813325"/>
                  <a:pt x="4839515" y="813325"/>
                  <a:pt x="4831995" y="805794"/>
                </a:cubicBezTo>
                <a:cubicBezTo>
                  <a:pt x="4809437" y="809559"/>
                  <a:pt x="4786879" y="813325"/>
                  <a:pt x="4771840" y="820856"/>
                </a:cubicBezTo>
                <a:lnTo>
                  <a:pt x="4764275" y="817267"/>
                </a:lnTo>
                <a:lnTo>
                  <a:pt x="4765000" y="823531"/>
                </a:lnTo>
                <a:cubicBezTo>
                  <a:pt x="4766410" y="834357"/>
                  <a:pt x="4771109" y="842828"/>
                  <a:pt x="4797427" y="839063"/>
                </a:cubicBezTo>
                <a:cubicBezTo>
                  <a:pt x="4797427" y="839063"/>
                  <a:pt x="4797427" y="839063"/>
                  <a:pt x="4801187" y="835298"/>
                </a:cubicBezTo>
                <a:cubicBezTo>
                  <a:pt x="4801187" y="835298"/>
                  <a:pt x="4804947" y="839063"/>
                  <a:pt x="4808706" y="839063"/>
                </a:cubicBezTo>
                <a:cubicBezTo>
                  <a:pt x="4816225" y="846594"/>
                  <a:pt x="4819985" y="857890"/>
                  <a:pt x="4808706" y="869186"/>
                </a:cubicBezTo>
                <a:cubicBezTo>
                  <a:pt x="4808706" y="869186"/>
                  <a:pt x="4808706" y="869186"/>
                  <a:pt x="4801187" y="857890"/>
                </a:cubicBezTo>
                <a:cubicBezTo>
                  <a:pt x="4793667" y="869186"/>
                  <a:pt x="4771109" y="884248"/>
                  <a:pt x="4782388" y="899309"/>
                </a:cubicBezTo>
                <a:cubicBezTo>
                  <a:pt x="4774869" y="895544"/>
                  <a:pt x="4759829" y="906840"/>
                  <a:pt x="4748551" y="914371"/>
                </a:cubicBezTo>
                <a:cubicBezTo>
                  <a:pt x="4752310" y="929432"/>
                  <a:pt x="4752310" y="944494"/>
                  <a:pt x="4767349" y="955790"/>
                </a:cubicBezTo>
                <a:cubicBezTo>
                  <a:pt x="4767349" y="955790"/>
                  <a:pt x="4767349" y="955790"/>
                  <a:pt x="4797427" y="940729"/>
                </a:cubicBezTo>
                <a:cubicBezTo>
                  <a:pt x="4812466" y="952025"/>
                  <a:pt x="4767349" y="955790"/>
                  <a:pt x="4767349" y="967086"/>
                </a:cubicBezTo>
                <a:cubicBezTo>
                  <a:pt x="4767349" y="989679"/>
                  <a:pt x="4786147" y="1012271"/>
                  <a:pt x="4774869" y="1031098"/>
                </a:cubicBezTo>
                <a:cubicBezTo>
                  <a:pt x="4789907" y="1034863"/>
                  <a:pt x="4786147" y="1038629"/>
                  <a:pt x="4797427" y="1042394"/>
                </a:cubicBezTo>
                <a:cubicBezTo>
                  <a:pt x="4797427" y="1042394"/>
                  <a:pt x="4797427" y="1042394"/>
                  <a:pt x="4846303" y="1019802"/>
                </a:cubicBezTo>
                <a:cubicBezTo>
                  <a:pt x="4846303" y="1019802"/>
                  <a:pt x="4846303" y="1019802"/>
                  <a:pt x="4853823" y="1023567"/>
                </a:cubicBezTo>
                <a:cubicBezTo>
                  <a:pt x="4853823" y="1023567"/>
                  <a:pt x="4853823" y="1023567"/>
                  <a:pt x="4861343" y="1019802"/>
                </a:cubicBezTo>
                <a:cubicBezTo>
                  <a:pt x="4861343" y="1031098"/>
                  <a:pt x="4868862" y="1042394"/>
                  <a:pt x="4865103" y="1053690"/>
                </a:cubicBezTo>
                <a:cubicBezTo>
                  <a:pt x="4838784" y="1072517"/>
                  <a:pt x="4801187" y="1080048"/>
                  <a:pt x="4767349" y="1095110"/>
                </a:cubicBezTo>
                <a:cubicBezTo>
                  <a:pt x="4767349" y="1095110"/>
                  <a:pt x="4767349" y="1095110"/>
                  <a:pt x="4752310" y="1095110"/>
                </a:cubicBezTo>
                <a:cubicBezTo>
                  <a:pt x="4752310" y="1095110"/>
                  <a:pt x="4752310" y="1095110"/>
                  <a:pt x="4756070" y="1091344"/>
                </a:cubicBezTo>
                <a:cubicBezTo>
                  <a:pt x="4756070" y="1083814"/>
                  <a:pt x="4741031" y="1091344"/>
                  <a:pt x="4733511" y="1091344"/>
                </a:cubicBezTo>
                <a:cubicBezTo>
                  <a:pt x="4733511" y="1091344"/>
                  <a:pt x="4733511" y="1091344"/>
                  <a:pt x="4677115" y="1098875"/>
                </a:cubicBezTo>
                <a:cubicBezTo>
                  <a:pt x="4699673" y="1106406"/>
                  <a:pt x="4741031" y="1102641"/>
                  <a:pt x="4756070" y="1106406"/>
                </a:cubicBezTo>
                <a:cubicBezTo>
                  <a:pt x="4725992" y="1121467"/>
                  <a:pt x="4684635" y="1106406"/>
                  <a:pt x="4654557" y="1125233"/>
                </a:cubicBezTo>
                <a:cubicBezTo>
                  <a:pt x="4647037" y="1110171"/>
                  <a:pt x="4598161" y="1121467"/>
                  <a:pt x="4571843" y="1117702"/>
                </a:cubicBezTo>
                <a:cubicBezTo>
                  <a:pt x="4556803" y="1125233"/>
                  <a:pt x="4549284" y="1136529"/>
                  <a:pt x="4530485" y="1140294"/>
                </a:cubicBezTo>
                <a:cubicBezTo>
                  <a:pt x="4530485" y="1140294"/>
                  <a:pt x="4530485" y="1140294"/>
                  <a:pt x="4526726" y="1136529"/>
                </a:cubicBezTo>
                <a:cubicBezTo>
                  <a:pt x="4511687" y="1140294"/>
                  <a:pt x="4500407" y="1155356"/>
                  <a:pt x="4507927" y="1159121"/>
                </a:cubicBezTo>
                <a:cubicBezTo>
                  <a:pt x="4507927" y="1159121"/>
                  <a:pt x="4507927" y="1159121"/>
                  <a:pt x="4511687" y="1162887"/>
                </a:cubicBezTo>
                <a:cubicBezTo>
                  <a:pt x="4496648" y="1162887"/>
                  <a:pt x="4477849" y="1162887"/>
                  <a:pt x="4470329" y="1155356"/>
                </a:cubicBezTo>
                <a:cubicBezTo>
                  <a:pt x="4447771" y="1159121"/>
                  <a:pt x="4425213" y="1162887"/>
                  <a:pt x="4410174" y="1170418"/>
                </a:cubicBezTo>
                <a:cubicBezTo>
                  <a:pt x="4413933" y="1166652"/>
                  <a:pt x="4383855" y="1166652"/>
                  <a:pt x="4406414" y="1159121"/>
                </a:cubicBezTo>
                <a:cubicBezTo>
                  <a:pt x="4383855" y="1162887"/>
                  <a:pt x="4365057" y="1136529"/>
                  <a:pt x="4342499" y="1159121"/>
                </a:cubicBezTo>
                <a:cubicBezTo>
                  <a:pt x="4342499" y="1159121"/>
                  <a:pt x="4342499" y="1159121"/>
                  <a:pt x="4350018" y="1166652"/>
                </a:cubicBezTo>
                <a:cubicBezTo>
                  <a:pt x="4319940" y="1170418"/>
                  <a:pt x="4289862" y="1140294"/>
                  <a:pt x="4282343" y="1170418"/>
                </a:cubicBezTo>
                <a:cubicBezTo>
                  <a:pt x="4286103" y="1174183"/>
                  <a:pt x="4293622" y="1174183"/>
                  <a:pt x="4297381" y="1177948"/>
                </a:cubicBezTo>
                <a:cubicBezTo>
                  <a:pt x="4271063" y="1193010"/>
                  <a:pt x="4263544" y="1166652"/>
                  <a:pt x="4229707" y="1177948"/>
                </a:cubicBezTo>
                <a:cubicBezTo>
                  <a:pt x="4203388" y="1185479"/>
                  <a:pt x="4177070" y="1200541"/>
                  <a:pt x="4146992" y="1200541"/>
                </a:cubicBezTo>
                <a:cubicBezTo>
                  <a:pt x="4109395" y="1208071"/>
                  <a:pt x="4079317" y="1208071"/>
                  <a:pt x="4041719" y="1215602"/>
                </a:cubicBezTo>
                <a:cubicBezTo>
                  <a:pt x="3913888" y="1238195"/>
                  <a:pt x="3782297" y="1245725"/>
                  <a:pt x="3665745" y="1249491"/>
                </a:cubicBezTo>
                <a:cubicBezTo>
                  <a:pt x="3669505" y="1249491"/>
                  <a:pt x="3669505" y="1249491"/>
                  <a:pt x="3673265" y="1245725"/>
                </a:cubicBezTo>
                <a:cubicBezTo>
                  <a:pt x="3583031" y="1219368"/>
                  <a:pt x="3447681" y="1260787"/>
                  <a:pt x="3349927" y="1257022"/>
                </a:cubicBezTo>
                <a:cubicBezTo>
                  <a:pt x="3402564" y="1253256"/>
                  <a:pt x="3447681" y="1245725"/>
                  <a:pt x="3500317" y="1234429"/>
                </a:cubicBezTo>
                <a:cubicBezTo>
                  <a:pt x="3417603" y="1226898"/>
                  <a:pt x="3327369" y="1238195"/>
                  <a:pt x="3244655" y="1241960"/>
                </a:cubicBezTo>
                <a:cubicBezTo>
                  <a:pt x="3267213" y="1230664"/>
                  <a:pt x="3297291" y="1234429"/>
                  <a:pt x="3316090" y="1226898"/>
                </a:cubicBezTo>
                <a:cubicBezTo>
                  <a:pt x="3316090" y="1226898"/>
                  <a:pt x="3316090" y="1226898"/>
                  <a:pt x="3327369" y="1234429"/>
                </a:cubicBezTo>
                <a:cubicBezTo>
                  <a:pt x="3353687" y="1230664"/>
                  <a:pt x="3380005" y="1211837"/>
                  <a:pt x="3410083" y="1215602"/>
                </a:cubicBezTo>
                <a:cubicBezTo>
                  <a:pt x="3410083" y="1215602"/>
                  <a:pt x="3410083" y="1215602"/>
                  <a:pt x="3410083" y="1208071"/>
                </a:cubicBezTo>
                <a:cubicBezTo>
                  <a:pt x="3598070" y="1193010"/>
                  <a:pt x="3804856" y="1185479"/>
                  <a:pt x="3996603" y="1147825"/>
                </a:cubicBezTo>
                <a:cubicBezTo>
                  <a:pt x="4015401" y="1144060"/>
                  <a:pt x="4045479" y="1151591"/>
                  <a:pt x="4056759" y="1136529"/>
                </a:cubicBezTo>
                <a:cubicBezTo>
                  <a:pt x="4056759" y="1136529"/>
                  <a:pt x="4056759" y="1136529"/>
                  <a:pt x="4037960" y="1132764"/>
                </a:cubicBezTo>
                <a:cubicBezTo>
                  <a:pt x="4045479" y="1125233"/>
                  <a:pt x="4060518" y="1128998"/>
                  <a:pt x="4064278" y="1132764"/>
                </a:cubicBezTo>
                <a:cubicBezTo>
                  <a:pt x="4064278" y="1132764"/>
                  <a:pt x="4064278" y="1132764"/>
                  <a:pt x="4068037" y="1132764"/>
                </a:cubicBezTo>
                <a:cubicBezTo>
                  <a:pt x="4075557" y="1121467"/>
                  <a:pt x="4094356" y="1136529"/>
                  <a:pt x="4105635" y="1121467"/>
                </a:cubicBezTo>
                <a:cubicBezTo>
                  <a:pt x="4101875" y="1110171"/>
                  <a:pt x="4079317" y="1121467"/>
                  <a:pt x="4064278" y="1121467"/>
                </a:cubicBezTo>
                <a:cubicBezTo>
                  <a:pt x="4049239" y="1117702"/>
                  <a:pt x="4022921" y="1106406"/>
                  <a:pt x="3985323" y="1121467"/>
                </a:cubicBezTo>
                <a:cubicBezTo>
                  <a:pt x="3868771" y="1106406"/>
                  <a:pt x="3748460" y="1147825"/>
                  <a:pt x="3631908" y="1132764"/>
                </a:cubicBezTo>
                <a:cubicBezTo>
                  <a:pt x="3594311" y="1117702"/>
                  <a:pt x="3526635" y="1140294"/>
                  <a:pt x="3470239" y="1140294"/>
                </a:cubicBezTo>
                <a:cubicBezTo>
                  <a:pt x="3308570" y="1159121"/>
                  <a:pt x="3146901" y="1147825"/>
                  <a:pt x="2981473" y="1170418"/>
                </a:cubicBezTo>
                <a:cubicBezTo>
                  <a:pt x="2913798" y="1159121"/>
                  <a:pt x="2846123" y="1181714"/>
                  <a:pt x="2789726" y="1166652"/>
                </a:cubicBezTo>
                <a:cubicBezTo>
                  <a:pt x="2691973" y="1159121"/>
                  <a:pt x="2601740" y="1174183"/>
                  <a:pt x="2519025" y="1159121"/>
                </a:cubicBezTo>
                <a:cubicBezTo>
                  <a:pt x="2519025" y="1159121"/>
                  <a:pt x="2519025" y="1159121"/>
                  <a:pt x="2511506" y="1162887"/>
                </a:cubicBezTo>
                <a:cubicBezTo>
                  <a:pt x="2503986" y="1155356"/>
                  <a:pt x="2492707" y="1166652"/>
                  <a:pt x="2488947" y="1166652"/>
                </a:cubicBezTo>
                <a:cubicBezTo>
                  <a:pt x="2451350" y="1177948"/>
                  <a:pt x="2406233" y="1177948"/>
                  <a:pt x="2368636" y="1177948"/>
                </a:cubicBezTo>
                <a:cubicBezTo>
                  <a:pt x="2323519" y="1196775"/>
                  <a:pt x="2274642" y="1193010"/>
                  <a:pt x="2225766" y="1196775"/>
                </a:cubicBezTo>
                <a:cubicBezTo>
                  <a:pt x="2000181" y="1196775"/>
                  <a:pt x="1706922" y="1193010"/>
                  <a:pt x="1466298" y="1189245"/>
                </a:cubicBezTo>
                <a:cubicBezTo>
                  <a:pt x="1402383" y="1174183"/>
                  <a:pt x="1327188" y="1189245"/>
                  <a:pt x="1259513" y="1177948"/>
                </a:cubicBezTo>
                <a:cubicBezTo>
                  <a:pt x="1165519" y="1174183"/>
                  <a:pt x="1086565" y="1162887"/>
                  <a:pt x="992571" y="1162887"/>
                </a:cubicBezTo>
                <a:cubicBezTo>
                  <a:pt x="966253" y="1162887"/>
                  <a:pt x="917377" y="1162887"/>
                  <a:pt x="891058" y="1155356"/>
                </a:cubicBezTo>
                <a:lnTo>
                  <a:pt x="883995" y="1158893"/>
                </a:lnTo>
                <a:lnTo>
                  <a:pt x="876489" y="1158650"/>
                </a:lnTo>
                <a:cubicBezTo>
                  <a:pt x="861920" y="1158180"/>
                  <a:pt x="832782" y="1157239"/>
                  <a:pt x="774506" y="1155356"/>
                </a:cubicBezTo>
                <a:cubicBezTo>
                  <a:pt x="755708" y="1166652"/>
                  <a:pt x="733149" y="1155356"/>
                  <a:pt x="710591" y="1166652"/>
                </a:cubicBezTo>
                <a:cubicBezTo>
                  <a:pt x="661714" y="1162887"/>
                  <a:pt x="590279" y="1166652"/>
                  <a:pt x="530123" y="1166652"/>
                </a:cubicBezTo>
                <a:cubicBezTo>
                  <a:pt x="522604" y="1166652"/>
                  <a:pt x="522604" y="1174183"/>
                  <a:pt x="511325" y="1170418"/>
                </a:cubicBezTo>
                <a:cubicBezTo>
                  <a:pt x="511325" y="1170418"/>
                  <a:pt x="511325" y="1170418"/>
                  <a:pt x="507565" y="1170418"/>
                </a:cubicBezTo>
                <a:cubicBezTo>
                  <a:pt x="500046" y="1174183"/>
                  <a:pt x="496286" y="1177948"/>
                  <a:pt x="488766" y="1174183"/>
                </a:cubicBezTo>
                <a:cubicBezTo>
                  <a:pt x="469968" y="1170418"/>
                  <a:pt x="443649" y="1166652"/>
                  <a:pt x="424851" y="1170418"/>
                </a:cubicBezTo>
                <a:cubicBezTo>
                  <a:pt x="424851" y="1170418"/>
                  <a:pt x="424851" y="1170418"/>
                  <a:pt x="421091" y="1162887"/>
                </a:cubicBezTo>
                <a:cubicBezTo>
                  <a:pt x="413572" y="1166652"/>
                  <a:pt x="409812" y="1170418"/>
                  <a:pt x="398533" y="1170418"/>
                </a:cubicBezTo>
                <a:cubicBezTo>
                  <a:pt x="406052" y="1151591"/>
                  <a:pt x="368455" y="1166652"/>
                  <a:pt x="357175" y="1159121"/>
                </a:cubicBezTo>
                <a:cubicBezTo>
                  <a:pt x="349655" y="1162887"/>
                  <a:pt x="342136" y="1159121"/>
                  <a:pt x="334617" y="1162887"/>
                </a:cubicBezTo>
                <a:cubicBezTo>
                  <a:pt x="338376" y="1159121"/>
                  <a:pt x="334617" y="1159121"/>
                  <a:pt x="338376" y="1155356"/>
                </a:cubicBezTo>
                <a:cubicBezTo>
                  <a:pt x="323337" y="1155356"/>
                  <a:pt x="315818" y="1151591"/>
                  <a:pt x="300779" y="1155356"/>
                </a:cubicBezTo>
                <a:cubicBezTo>
                  <a:pt x="289500" y="1140294"/>
                  <a:pt x="263181" y="1140294"/>
                  <a:pt x="233104" y="1140294"/>
                </a:cubicBezTo>
                <a:cubicBezTo>
                  <a:pt x="266941" y="1136529"/>
                  <a:pt x="323337" y="1136529"/>
                  <a:pt x="353415" y="1125233"/>
                </a:cubicBezTo>
                <a:cubicBezTo>
                  <a:pt x="345896" y="1121467"/>
                  <a:pt x="330857" y="1125233"/>
                  <a:pt x="315818" y="1125233"/>
                </a:cubicBezTo>
                <a:cubicBezTo>
                  <a:pt x="312058" y="1117702"/>
                  <a:pt x="323337" y="1113937"/>
                  <a:pt x="327097" y="1110171"/>
                </a:cubicBezTo>
                <a:cubicBezTo>
                  <a:pt x="327097" y="1110171"/>
                  <a:pt x="327097" y="1110171"/>
                  <a:pt x="274461" y="1102641"/>
                </a:cubicBezTo>
                <a:cubicBezTo>
                  <a:pt x="297019" y="1102641"/>
                  <a:pt x="360935" y="1106406"/>
                  <a:pt x="387253" y="1095110"/>
                </a:cubicBezTo>
                <a:cubicBezTo>
                  <a:pt x="364695" y="1091344"/>
                  <a:pt x="349655" y="1095110"/>
                  <a:pt x="334617" y="1095110"/>
                </a:cubicBezTo>
                <a:cubicBezTo>
                  <a:pt x="338376" y="1087579"/>
                  <a:pt x="319578" y="1083814"/>
                  <a:pt x="312058" y="1083814"/>
                </a:cubicBezTo>
                <a:cubicBezTo>
                  <a:pt x="308298" y="1080048"/>
                  <a:pt x="353415" y="1083814"/>
                  <a:pt x="338376" y="1072517"/>
                </a:cubicBezTo>
                <a:cubicBezTo>
                  <a:pt x="360935" y="1068752"/>
                  <a:pt x="342136" y="1049925"/>
                  <a:pt x="372214" y="1046160"/>
                </a:cubicBezTo>
                <a:cubicBezTo>
                  <a:pt x="338376" y="1042394"/>
                  <a:pt x="323337" y="1080048"/>
                  <a:pt x="293259" y="1064987"/>
                </a:cubicBezTo>
                <a:cubicBezTo>
                  <a:pt x="281980" y="1057456"/>
                  <a:pt x="315818" y="1031098"/>
                  <a:pt x="281980" y="1034863"/>
                </a:cubicBezTo>
                <a:cubicBezTo>
                  <a:pt x="236863" y="1016037"/>
                  <a:pt x="334617" y="1012271"/>
                  <a:pt x="308298" y="985913"/>
                </a:cubicBezTo>
                <a:cubicBezTo>
                  <a:pt x="315818" y="982148"/>
                  <a:pt x="315818" y="978383"/>
                  <a:pt x="323337" y="978383"/>
                </a:cubicBezTo>
                <a:cubicBezTo>
                  <a:pt x="300779" y="978383"/>
                  <a:pt x="289500" y="963321"/>
                  <a:pt x="263181" y="970852"/>
                </a:cubicBezTo>
                <a:cubicBezTo>
                  <a:pt x="206785" y="948259"/>
                  <a:pt x="289500" y="940729"/>
                  <a:pt x="300779" y="918136"/>
                </a:cubicBezTo>
                <a:cubicBezTo>
                  <a:pt x="312058" y="918136"/>
                  <a:pt x="327097" y="918136"/>
                  <a:pt x="330857" y="914371"/>
                </a:cubicBezTo>
                <a:cubicBezTo>
                  <a:pt x="251902" y="880482"/>
                  <a:pt x="139110" y="872952"/>
                  <a:pt x="67675" y="831532"/>
                </a:cubicBezTo>
                <a:cubicBezTo>
                  <a:pt x="52636" y="827767"/>
                  <a:pt x="33837" y="824001"/>
                  <a:pt x="11279" y="824001"/>
                </a:cubicBezTo>
                <a:cubicBezTo>
                  <a:pt x="11279" y="824001"/>
                  <a:pt x="11279" y="824001"/>
                  <a:pt x="0" y="820236"/>
                </a:cubicBezTo>
                <a:cubicBezTo>
                  <a:pt x="0" y="820236"/>
                  <a:pt x="0" y="820236"/>
                  <a:pt x="30078" y="820236"/>
                </a:cubicBezTo>
                <a:cubicBezTo>
                  <a:pt x="26318" y="820236"/>
                  <a:pt x="33837" y="824001"/>
                  <a:pt x="33837" y="824001"/>
                </a:cubicBezTo>
                <a:cubicBezTo>
                  <a:pt x="41357" y="824001"/>
                  <a:pt x="41357" y="820236"/>
                  <a:pt x="45117" y="820236"/>
                </a:cubicBezTo>
                <a:cubicBezTo>
                  <a:pt x="45117" y="820236"/>
                  <a:pt x="45117" y="820236"/>
                  <a:pt x="45117" y="812705"/>
                </a:cubicBezTo>
                <a:cubicBezTo>
                  <a:pt x="101513" y="831532"/>
                  <a:pt x="161669" y="857890"/>
                  <a:pt x="236863" y="865421"/>
                </a:cubicBezTo>
                <a:cubicBezTo>
                  <a:pt x="236863" y="865421"/>
                  <a:pt x="236863" y="865421"/>
                  <a:pt x="240623" y="861655"/>
                </a:cubicBezTo>
                <a:cubicBezTo>
                  <a:pt x="236863" y="872952"/>
                  <a:pt x="251902" y="869186"/>
                  <a:pt x="259422" y="869186"/>
                </a:cubicBezTo>
                <a:cubicBezTo>
                  <a:pt x="259422" y="869186"/>
                  <a:pt x="259422" y="869186"/>
                  <a:pt x="270701" y="861655"/>
                </a:cubicBezTo>
                <a:cubicBezTo>
                  <a:pt x="270701" y="861655"/>
                  <a:pt x="270701" y="861655"/>
                  <a:pt x="274461" y="865421"/>
                </a:cubicBezTo>
                <a:cubicBezTo>
                  <a:pt x="274461" y="865421"/>
                  <a:pt x="274461" y="865421"/>
                  <a:pt x="278220" y="861655"/>
                </a:cubicBezTo>
                <a:cubicBezTo>
                  <a:pt x="274461" y="854125"/>
                  <a:pt x="251902" y="854125"/>
                  <a:pt x="233104" y="857890"/>
                </a:cubicBezTo>
                <a:cubicBezTo>
                  <a:pt x="233104" y="839063"/>
                  <a:pt x="270701" y="850359"/>
                  <a:pt x="278220" y="842828"/>
                </a:cubicBezTo>
                <a:cubicBezTo>
                  <a:pt x="278220" y="842828"/>
                  <a:pt x="278220" y="842828"/>
                  <a:pt x="293259" y="842828"/>
                </a:cubicBezTo>
                <a:cubicBezTo>
                  <a:pt x="297019" y="846594"/>
                  <a:pt x="281980" y="850359"/>
                  <a:pt x="278220" y="854125"/>
                </a:cubicBezTo>
                <a:cubicBezTo>
                  <a:pt x="289500" y="854125"/>
                  <a:pt x="300779" y="865421"/>
                  <a:pt x="312058" y="857890"/>
                </a:cubicBezTo>
                <a:cubicBezTo>
                  <a:pt x="297019" y="850359"/>
                  <a:pt x="315818" y="850359"/>
                  <a:pt x="312058" y="842828"/>
                </a:cubicBezTo>
                <a:cubicBezTo>
                  <a:pt x="312058" y="842828"/>
                  <a:pt x="312058" y="842828"/>
                  <a:pt x="308298" y="839063"/>
                </a:cubicBezTo>
                <a:cubicBezTo>
                  <a:pt x="308298" y="839063"/>
                  <a:pt x="308298" y="839063"/>
                  <a:pt x="304539" y="839063"/>
                </a:cubicBezTo>
                <a:cubicBezTo>
                  <a:pt x="308298" y="839063"/>
                  <a:pt x="308298" y="839063"/>
                  <a:pt x="308298" y="835298"/>
                </a:cubicBezTo>
                <a:cubicBezTo>
                  <a:pt x="308298" y="835298"/>
                  <a:pt x="308298" y="835298"/>
                  <a:pt x="297019" y="831532"/>
                </a:cubicBezTo>
                <a:cubicBezTo>
                  <a:pt x="289500" y="835298"/>
                  <a:pt x="278220" y="839063"/>
                  <a:pt x="270701" y="835298"/>
                </a:cubicBezTo>
                <a:cubicBezTo>
                  <a:pt x="274461" y="827767"/>
                  <a:pt x="300779" y="827767"/>
                  <a:pt x="312058" y="820236"/>
                </a:cubicBezTo>
                <a:cubicBezTo>
                  <a:pt x="312058" y="820236"/>
                  <a:pt x="312058" y="820236"/>
                  <a:pt x="308298" y="816471"/>
                </a:cubicBezTo>
                <a:cubicBezTo>
                  <a:pt x="319578" y="808940"/>
                  <a:pt x="383494" y="812705"/>
                  <a:pt x="353415" y="793878"/>
                </a:cubicBezTo>
                <a:cubicBezTo>
                  <a:pt x="349655" y="790113"/>
                  <a:pt x="342136" y="790113"/>
                  <a:pt x="334617" y="790113"/>
                </a:cubicBezTo>
                <a:cubicBezTo>
                  <a:pt x="304539" y="801409"/>
                  <a:pt x="270701" y="835298"/>
                  <a:pt x="233104" y="824001"/>
                </a:cubicBezTo>
                <a:cubicBezTo>
                  <a:pt x="210545" y="839063"/>
                  <a:pt x="191746" y="835298"/>
                  <a:pt x="161669" y="839063"/>
                </a:cubicBezTo>
                <a:cubicBezTo>
                  <a:pt x="161669" y="839063"/>
                  <a:pt x="161669" y="839063"/>
                  <a:pt x="184227" y="827767"/>
                </a:cubicBezTo>
                <a:cubicBezTo>
                  <a:pt x="184227" y="827767"/>
                  <a:pt x="184227" y="827767"/>
                  <a:pt x="176707" y="827767"/>
                </a:cubicBezTo>
                <a:cubicBezTo>
                  <a:pt x="199266" y="827767"/>
                  <a:pt x="214305" y="805175"/>
                  <a:pt x="251902" y="805175"/>
                </a:cubicBezTo>
                <a:cubicBezTo>
                  <a:pt x="259422" y="801409"/>
                  <a:pt x="259422" y="793878"/>
                  <a:pt x="274461" y="797644"/>
                </a:cubicBezTo>
                <a:cubicBezTo>
                  <a:pt x="274461" y="797644"/>
                  <a:pt x="274461" y="797644"/>
                  <a:pt x="281980" y="797644"/>
                </a:cubicBezTo>
                <a:cubicBezTo>
                  <a:pt x="281980" y="797644"/>
                  <a:pt x="281980" y="797644"/>
                  <a:pt x="297019" y="790113"/>
                </a:cubicBezTo>
                <a:cubicBezTo>
                  <a:pt x="297019" y="790113"/>
                  <a:pt x="297019" y="790113"/>
                  <a:pt x="293259" y="786348"/>
                </a:cubicBezTo>
                <a:cubicBezTo>
                  <a:pt x="281980" y="778817"/>
                  <a:pt x="372214" y="782582"/>
                  <a:pt x="327097" y="763755"/>
                </a:cubicBezTo>
                <a:cubicBezTo>
                  <a:pt x="300779" y="778817"/>
                  <a:pt x="255662" y="771286"/>
                  <a:pt x="236863" y="786348"/>
                </a:cubicBezTo>
                <a:cubicBezTo>
                  <a:pt x="236863" y="786348"/>
                  <a:pt x="236863" y="786348"/>
                  <a:pt x="199266" y="790113"/>
                </a:cubicBezTo>
                <a:cubicBezTo>
                  <a:pt x="244383" y="771286"/>
                  <a:pt x="330857" y="763755"/>
                  <a:pt x="330857" y="726101"/>
                </a:cubicBezTo>
                <a:cubicBezTo>
                  <a:pt x="345896" y="718570"/>
                  <a:pt x="353415" y="711040"/>
                  <a:pt x="357175" y="699743"/>
                </a:cubicBezTo>
                <a:cubicBezTo>
                  <a:pt x="360935" y="703509"/>
                  <a:pt x="360935" y="699743"/>
                  <a:pt x="364695" y="699743"/>
                </a:cubicBezTo>
                <a:cubicBezTo>
                  <a:pt x="364695" y="699743"/>
                  <a:pt x="364695" y="699743"/>
                  <a:pt x="364695" y="688447"/>
                </a:cubicBezTo>
                <a:cubicBezTo>
                  <a:pt x="387253" y="680917"/>
                  <a:pt x="398533" y="665855"/>
                  <a:pt x="402292" y="650793"/>
                </a:cubicBezTo>
                <a:cubicBezTo>
                  <a:pt x="439890" y="628201"/>
                  <a:pt x="417331" y="575486"/>
                  <a:pt x="511325" y="579251"/>
                </a:cubicBezTo>
                <a:cubicBezTo>
                  <a:pt x="526364" y="564190"/>
                  <a:pt x="537643" y="549128"/>
                  <a:pt x="551742" y="534537"/>
                </a:cubicBezTo>
                <a:lnTo>
                  <a:pt x="561872" y="527136"/>
                </a:lnTo>
                <a:lnTo>
                  <a:pt x="558113" y="526214"/>
                </a:lnTo>
                <a:cubicBezTo>
                  <a:pt x="511116" y="514918"/>
                  <a:pt x="465059" y="502680"/>
                  <a:pt x="429342" y="481970"/>
                </a:cubicBezTo>
                <a:cubicBezTo>
                  <a:pt x="414303" y="478205"/>
                  <a:pt x="395504" y="474440"/>
                  <a:pt x="372945" y="474440"/>
                </a:cubicBezTo>
                <a:cubicBezTo>
                  <a:pt x="372945" y="474440"/>
                  <a:pt x="372945" y="474440"/>
                  <a:pt x="361666" y="470674"/>
                </a:cubicBezTo>
                <a:cubicBezTo>
                  <a:pt x="361666" y="470674"/>
                  <a:pt x="361666" y="470674"/>
                  <a:pt x="391744" y="470674"/>
                </a:cubicBezTo>
                <a:cubicBezTo>
                  <a:pt x="387984" y="470674"/>
                  <a:pt x="395504" y="474440"/>
                  <a:pt x="395504" y="474440"/>
                </a:cubicBezTo>
                <a:cubicBezTo>
                  <a:pt x="403023" y="474440"/>
                  <a:pt x="403023" y="470674"/>
                  <a:pt x="406783" y="470674"/>
                </a:cubicBezTo>
                <a:cubicBezTo>
                  <a:pt x="406783" y="470674"/>
                  <a:pt x="406783" y="470674"/>
                  <a:pt x="406783" y="463144"/>
                </a:cubicBezTo>
                <a:cubicBezTo>
                  <a:pt x="434981" y="472557"/>
                  <a:pt x="464119" y="483853"/>
                  <a:pt x="495607" y="493737"/>
                </a:cubicBezTo>
                <a:lnTo>
                  <a:pt x="582131" y="512335"/>
                </a:lnTo>
                <a:lnTo>
                  <a:pt x="609078" y="492647"/>
                </a:lnTo>
                <a:cubicBezTo>
                  <a:pt x="610958" y="494530"/>
                  <a:pt x="614718" y="494530"/>
                  <a:pt x="618947" y="494530"/>
                </a:cubicBezTo>
                <a:lnTo>
                  <a:pt x="624178" y="495306"/>
                </a:lnTo>
                <a:lnTo>
                  <a:pt x="639060" y="493374"/>
                </a:lnTo>
                <a:lnTo>
                  <a:pt x="653196" y="487588"/>
                </a:lnTo>
                <a:lnTo>
                  <a:pt x="661962" y="483064"/>
                </a:lnTo>
                <a:lnTo>
                  <a:pt x="658686" y="481970"/>
                </a:lnTo>
                <a:cubicBezTo>
                  <a:pt x="651166" y="485736"/>
                  <a:pt x="639887" y="489501"/>
                  <a:pt x="632367" y="485736"/>
                </a:cubicBezTo>
                <a:cubicBezTo>
                  <a:pt x="636127" y="478205"/>
                  <a:pt x="662445" y="478205"/>
                  <a:pt x="673725" y="470674"/>
                </a:cubicBezTo>
                <a:cubicBezTo>
                  <a:pt x="673725" y="470674"/>
                  <a:pt x="673725" y="470674"/>
                  <a:pt x="669965" y="466909"/>
                </a:cubicBezTo>
                <a:cubicBezTo>
                  <a:pt x="681244" y="459378"/>
                  <a:pt x="745160" y="463144"/>
                  <a:pt x="715082" y="444317"/>
                </a:cubicBezTo>
                <a:cubicBezTo>
                  <a:pt x="711322" y="440551"/>
                  <a:pt x="703802" y="440551"/>
                  <a:pt x="696283" y="440551"/>
                </a:cubicBezTo>
                <a:cubicBezTo>
                  <a:pt x="666205" y="451847"/>
                  <a:pt x="632367" y="485736"/>
                  <a:pt x="594770" y="474440"/>
                </a:cubicBezTo>
                <a:cubicBezTo>
                  <a:pt x="572212" y="489501"/>
                  <a:pt x="553413" y="485736"/>
                  <a:pt x="523335" y="489501"/>
                </a:cubicBezTo>
                <a:cubicBezTo>
                  <a:pt x="523335" y="489501"/>
                  <a:pt x="523335" y="489501"/>
                  <a:pt x="545893" y="478205"/>
                </a:cubicBezTo>
                <a:cubicBezTo>
                  <a:pt x="545893" y="478205"/>
                  <a:pt x="545893" y="478205"/>
                  <a:pt x="538374" y="478205"/>
                </a:cubicBezTo>
                <a:cubicBezTo>
                  <a:pt x="560932" y="478205"/>
                  <a:pt x="575971" y="455613"/>
                  <a:pt x="613569" y="455613"/>
                </a:cubicBezTo>
                <a:cubicBezTo>
                  <a:pt x="621088" y="451847"/>
                  <a:pt x="621088" y="444317"/>
                  <a:pt x="636127" y="448082"/>
                </a:cubicBezTo>
                <a:cubicBezTo>
                  <a:pt x="636127" y="448082"/>
                  <a:pt x="636127" y="448082"/>
                  <a:pt x="643647" y="448082"/>
                </a:cubicBezTo>
                <a:cubicBezTo>
                  <a:pt x="643647" y="448082"/>
                  <a:pt x="643647" y="448082"/>
                  <a:pt x="658686" y="440551"/>
                </a:cubicBezTo>
                <a:cubicBezTo>
                  <a:pt x="658686" y="440551"/>
                  <a:pt x="658686" y="440551"/>
                  <a:pt x="654926" y="436786"/>
                </a:cubicBezTo>
                <a:cubicBezTo>
                  <a:pt x="643647" y="429255"/>
                  <a:pt x="733880" y="433020"/>
                  <a:pt x="688764" y="414193"/>
                </a:cubicBezTo>
                <a:cubicBezTo>
                  <a:pt x="662445" y="429255"/>
                  <a:pt x="617328" y="421724"/>
                  <a:pt x="598530" y="436786"/>
                </a:cubicBezTo>
                <a:cubicBezTo>
                  <a:pt x="598530" y="436786"/>
                  <a:pt x="598530" y="436786"/>
                  <a:pt x="560932" y="440551"/>
                </a:cubicBezTo>
                <a:cubicBezTo>
                  <a:pt x="606049" y="421724"/>
                  <a:pt x="692523" y="414193"/>
                  <a:pt x="692523" y="376539"/>
                </a:cubicBezTo>
                <a:cubicBezTo>
                  <a:pt x="707562" y="369009"/>
                  <a:pt x="715082" y="361478"/>
                  <a:pt x="718841" y="350182"/>
                </a:cubicBezTo>
                <a:cubicBezTo>
                  <a:pt x="722601" y="353947"/>
                  <a:pt x="722601" y="350182"/>
                  <a:pt x="726361" y="350182"/>
                </a:cubicBezTo>
                <a:cubicBezTo>
                  <a:pt x="726361" y="350182"/>
                  <a:pt x="726361" y="350182"/>
                  <a:pt x="726361" y="338886"/>
                </a:cubicBezTo>
                <a:cubicBezTo>
                  <a:pt x="748919" y="331355"/>
                  <a:pt x="760199" y="316293"/>
                  <a:pt x="763958" y="301232"/>
                </a:cubicBezTo>
                <a:cubicBezTo>
                  <a:pt x="801556" y="278639"/>
                  <a:pt x="778997" y="225924"/>
                  <a:pt x="872991" y="229689"/>
                </a:cubicBezTo>
                <a:cubicBezTo>
                  <a:pt x="903069" y="199566"/>
                  <a:pt x="918108" y="169443"/>
                  <a:pt x="970744" y="143085"/>
                </a:cubicBezTo>
                <a:cubicBezTo>
                  <a:pt x="974504" y="146851"/>
                  <a:pt x="985783" y="143085"/>
                  <a:pt x="993302" y="146851"/>
                </a:cubicBezTo>
                <a:cubicBezTo>
                  <a:pt x="1023380" y="139320"/>
                  <a:pt x="1045939" y="109197"/>
                  <a:pt x="1087296" y="124258"/>
                </a:cubicBezTo>
                <a:cubicBezTo>
                  <a:pt x="1098575" y="128024"/>
                  <a:pt x="1102335" y="124258"/>
                  <a:pt x="1109854" y="120493"/>
                </a:cubicBezTo>
                <a:cubicBezTo>
                  <a:pt x="1109854" y="120493"/>
                  <a:pt x="1109854" y="120493"/>
                  <a:pt x="1109854" y="112962"/>
                </a:cubicBezTo>
                <a:cubicBezTo>
                  <a:pt x="1113614" y="128024"/>
                  <a:pt x="1154971" y="124258"/>
                  <a:pt x="1173770" y="120493"/>
                </a:cubicBezTo>
                <a:cubicBezTo>
                  <a:pt x="1170010" y="124258"/>
                  <a:pt x="1177530" y="128024"/>
                  <a:pt x="1166250" y="131789"/>
                </a:cubicBezTo>
                <a:cubicBezTo>
                  <a:pt x="1211367" y="139320"/>
                  <a:pt x="1233926" y="161912"/>
                  <a:pt x="1290322" y="154381"/>
                </a:cubicBezTo>
                <a:cubicBezTo>
                  <a:pt x="1290322" y="154381"/>
                  <a:pt x="1290322" y="154381"/>
                  <a:pt x="1286562" y="158147"/>
                </a:cubicBezTo>
                <a:cubicBezTo>
                  <a:pt x="1297841" y="158147"/>
                  <a:pt x="1301601" y="165678"/>
                  <a:pt x="1316640" y="161912"/>
                </a:cubicBezTo>
                <a:cubicBezTo>
                  <a:pt x="1350478" y="143085"/>
                  <a:pt x="1339198" y="109197"/>
                  <a:pt x="1399354" y="101666"/>
                </a:cubicBezTo>
                <a:cubicBezTo>
                  <a:pt x="1399354" y="94135"/>
                  <a:pt x="1406874" y="79073"/>
                  <a:pt x="1380555" y="82839"/>
                </a:cubicBezTo>
                <a:cubicBezTo>
                  <a:pt x="1376796" y="82839"/>
                  <a:pt x="1369276" y="86604"/>
                  <a:pt x="1369276" y="90370"/>
                </a:cubicBezTo>
                <a:cubicBezTo>
                  <a:pt x="1369276" y="86604"/>
                  <a:pt x="1369276" y="86604"/>
                  <a:pt x="1369276" y="86604"/>
                </a:cubicBezTo>
                <a:cubicBezTo>
                  <a:pt x="1339198" y="79073"/>
                  <a:pt x="1309120" y="79073"/>
                  <a:pt x="1275283" y="86604"/>
                </a:cubicBezTo>
                <a:cubicBezTo>
                  <a:pt x="1275283" y="86604"/>
                  <a:pt x="1275283" y="86604"/>
                  <a:pt x="1252724" y="97900"/>
                </a:cubicBezTo>
                <a:cubicBezTo>
                  <a:pt x="1248965" y="86604"/>
                  <a:pt x="1301601" y="86604"/>
                  <a:pt x="1282802" y="71543"/>
                </a:cubicBezTo>
                <a:cubicBezTo>
                  <a:pt x="1282802" y="71543"/>
                  <a:pt x="1282802" y="71543"/>
                  <a:pt x="1309120" y="67777"/>
                </a:cubicBezTo>
                <a:cubicBezTo>
                  <a:pt x="1327919" y="79073"/>
                  <a:pt x="1373036" y="79073"/>
                  <a:pt x="1399354" y="82839"/>
                </a:cubicBezTo>
                <a:cubicBezTo>
                  <a:pt x="1425672" y="82839"/>
                  <a:pt x="1433192" y="60247"/>
                  <a:pt x="1455750" y="56481"/>
                </a:cubicBezTo>
                <a:cubicBezTo>
                  <a:pt x="1455750" y="52716"/>
                  <a:pt x="1448231" y="52716"/>
                  <a:pt x="1440711" y="52716"/>
                </a:cubicBezTo>
                <a:cubicBezTo>
                  <a:pt x="1444471" y="33889"/>
                  <a:pt x="1485828" y="33889"/>
                  <a:pt x="1508387" y="22593"/>
                </a:cubicBezTo>
                <a:cubicBezTo>
                  <a:pt x="1497107" y="18827"/>
                  <a:pt x="1485828" y="15062"/>
                  <a:pt x="1474549" y="18827"/>
                </a:cubicBezTo>
                <a:cubicBezTo>
                  <a:pt x="1512146" y="7531"/>
                  <a:pt x="1557263" y="18827"/>
                  <a:pt x="1594861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                   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zh-CN" altLang="en-US" sz="2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   </a:t>
            </a:r>
            <a:r>
              <a:rPr lang="zh-CN" altLang="en-US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探究二：从中国远征军看中国战场的世界坐标</a:t>
            </a:r>
          </a:p>
          <a:p>
            <a:endParaRPr lang="en-US" altLang="zh-CN" sz="1800" b="1" dirty="0">
              <a:solidFill>
                <a:srgbClr val="C00000"/>
              </a:solidFill>
              <a:latin typeface="汉仪雁翎体简" panose="02010609000101010101" pitchFamily="49" charset="-122"/>
              <a:ea typeface="汉仪雁翎体简" panose="02010609000101010101" pitchFamily="49" charset="-122"/>
            </a:endParaRPr>
          </a:p>
          <a:p>
            <a:endParaRPr lang="zh-CN" altLang="en-US" sz="2800" b="1" dirty="0">
              <a:solidFill>
                <a:srgbClr val="C00000"/>
              </a:solidFill>
              <a:latin typeface="汉仪雁翎体简" panose="02010609000101010101" pitchFamily="49" charset="-122"/>
              <a:ea typeface="汉仪雁翎体简" panose="0201060900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4934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1" grpId="0"/>
      <p:bldP spid="12" grpId="0"/>
      <p:bldP spid="13" grpId="0"/>
      <p:bldP spid="16" grpId="0"/>
      <p:bldP spid="1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66B092CF-503A-8826-2193-E6AA7EB98BE8}"/>
              </a:ext>
            </a:extLst>
          </p:cNvPr>
          <p:cNvSpPr txBox="1"/>
          <p:nvPr/>
        </p:nvSpPr>
        <p:spPr>
          <a:xfrm>
            <a:off x="261261" y="5553621"/>
            <a:ext cx="609185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6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——</a:t>
            </a:r>
            <a:r>
              <a:rPr lang="zh-CN" altLang="en-US" sz="16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整理自抗日战争纪念网</a:t>
            </a:r>
            <a:r>
              <a:rPr lang="en-US" altLang="zh-CN" sz="16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《</a:t>
            </a:r>
            <a:r>
              <a:rPr lang="zh-CN" altLang="en-US" sz="16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九一八事变后，中国共产党怎么做宣传工作？</a:t>
            </a:r>
            <a:r>
              <a:rPr lang="en-US" altLang="zh-CN" sz="16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》</a:t>
            </a:r>
            <a:endParaRPr lang="zh-CN" altLang="en-US" sz="1600" b="1" dirty="0">
              <a:solidFill>
                <a:srgbClr val="404040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1AD80AA0-9AC2-CC13-0E37-0F2D2A0EC9DD}"/>
              </a:ext>
            </a:extLst>
          </p:cNvPr>
          <p:cNvSpPr txBox="1"/>
          <p:nvPr/>
        </p:nvSpPr>
        <p:spPr>
          <a:xfrm>
            <a:off x="6623092" y="1088937"/>
            <a:ext cx="5360233" cy="4364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材料二：“昨晚倭寇无故攻击我沈阳兵工厂，并占领我营房。上午接上海电报，始知此中真相</a:t>
            </a:r>
            <a:r>
              <a:rPr lang="en-US" altLang="zh-CN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……</a:t>
            </a:r>
            <a:r>
              <a:rPr lang="zh-CN" altLang="en-US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此应即为对世界挑战之第一事也。余主张以日本侵占东省事实，先行提出国际联盟与九国公约签字国，以求公理之战胜。”</a:t>
            </a:r>
            <a:r>
              <a:rPr lang="en-US" altLang="zh-CN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——《</a:t>
            </a:r>
            <a:r>
              <a:rPr lang="zh-CN" altLang="en-US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蒋介石日记</a:t>
            </a:r>
            <a:r>
              <a:rPr lang="en-US" altLang="zh-CN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》</a:t>
            </a:r>
            <a:r>
              <a:rPr lang="zh-CN" altLang="en-US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（</a:t>
            </a:r>
            <a:r>
              <a:rPr lang="en-US" altLang="zh-CN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1931</a:t>
            </a:r>
            <a:r>
              <a:rPr lang="zh-CN" altLang="en-US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年</a:t>
            </a:r>
            <a:r>
              <a:rPr lang="en-US" altLang="zh-CN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9</a:t>
            </a:r>
            <a:r>
              <a:rPr lang="zh-CN" altLang="en-US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月</a:t>
            </a:r>
            <a:r>
              <a:rPr lang="en-US" altLang="zh-CN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19</a:t>
            </a:r>
            <a:r>
              <a:rPr lang="zh-CN" altLang="en-US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日）</a:t>
            </a:r>
            <a:endParaRPr lang="en-US" altLang="zh-CN" sz="1700" b="1" dirty="0">
              <a:solidFill>
                <a:srgbClr val="404040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endParaRPr lang="en-US" altLang="zh-CN" sz="1700" b="1" dirty="0">
              <a:solidFill>
                <a:srgbClr val="404040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材料三： </a:t>
            </a:r>
            <a:r>
              <a:rPr lang="en-US" altLang="zh-CN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1931</a:t>
            </a:r>
            <a:r>
              <a:rPr lang="zh-CN" altLang="en-US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年</a:t>
            </a:r>
            <a:r>
              <a:rPr lang="en-US" altLang="zh-CN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9</a:t>
            </a:r>
            <a:r>
              <a:rPr lang="zh-CN" altLang="en-US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月</a:t>
            </a:r>
            <a:r>
              <a:rPr lang="en-US" altLang="zh-CN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22</a:t>
            </a:r>
            <a:r>
              <a:rPr lang="zh-CN" altLang="en-US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日致张学良电文内容：</a:t>
            </a:r>
          </a:p>
          <a:p>
            <a:pPr>
              <a:lnSpc>
                <a:spcPct val="150000"/>
              </a:lnSpc>
            </a:pPr>
            <a:r>
              <a:rPr lang="zh-CN" altLang="en-US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“沈阳日军行动，可作为地方事件，望力避冲突，以免事态扩大。一切对日交涉，听候中央处理可也。”</a:t>
            </a:r>
          </a:p>
          <a:p>
            <a:pPr>
              <a:lnSpc>
                <a:spcPct val="150000"/>
              </a:lnSpc>
            </a:pPr>
            <a:r>
              <a:rPr lang="en-US" altLang="zh-CN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——</a:t>
            </a:r>
            <a:r>
              <a:rPr lang="zh-CN" altLang="en-US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台湾“国史馆”藏</a:t>
            </a:r>
            <a:r>
              <a:rPr lang="en-US" altLang="zh-CN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《</a:t>
            </a:r>
            <a:r>
              <a:rPr lang="zh-CN" altLang="en-US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蒋中正总统档案</a:t>
            </a:r>
            <a:r>
              <a:rPr lang="en-US" altLang="zh-CN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·</a:t>
            </a:r>
            <a:r>
              <a:rPr lang="zh-CN" altLang="en-US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特交文电</a:t>
            </a:r>
            <a:r>
              <a:rPr lang="en-US" altLang="zh-CN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·</a:t>
            </a:r>
            <a:r>
              <a:rPr lang="zh-CN" altLang="en-US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日军侵略（一）</a:t>
            </a:r>
            <a:r>
              <a:rPr lang="en-US" altLang="zh-CN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》</a:t>
            </a:r>
            <a:endParaRPr lang="zh-CN" altLang="en-US" sz="1700" dirty="0"/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481C5F06-03BB-5307-D377-5E04308F0C38}"/>
              </a:ext>
            </a:extLst>
          </p:cNvPr>
          <p:cNvCxnSpPr>
            <a:cxnSpLocks/>
          </p:cNvCxnSpPr>
          <p:nvPr/>
        </p:nvCxnSpPr>
        <p:spPr>
          <a:xfrm>
            <a:off x="6555130" y="1041357"/>
            <a:ext cx="0" cy="4749843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6" name="表格 15">
            <a:extLst>
              <a:ext uri="{FF2B5EF4-FFF2-40B4-BE49-F238E27FC236}">
                <a16:creationId xmlns:a16="http://schemas.microsoft.com/office/drawing/2014/main" id="{C9057994-F8C8-C8DA-D22A-5806B4956F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5949077"/>
              </p:ext>
            </p:extLst>
          </p:nvPr>
        </p:nvGraphicFramePr>
        <p:xfrm>
          <a:off x="371219" y="1041357"/>
          <a:ext cx="5965339" cy="4450080"/>
        </p:xfrm>
        <a:graphic>
          <a:graphicData uri="http://schemas.openxmlformats.org/drawingml/2006/table">
            <a:tbl>
              <a:tblPr firstRow="1" bandRow="1"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tableStyleId>{F5AB1C69-6EDB-4FF4-983F-18BD219EF322}</a:tableStyleId>
              </a:tblPr>
              <a:tblGrid>
                <a:gridCol w="904021">
                  <a:extLst>
                    <a:ext uri="{9D8B030D-6E8A-4147-A177-3AD203B41FA5}">
                      <a16:colId xmlns:a16="http://schemas.microsoft.com/office/drawing/2014/main" val="4159467135"/>
                    </a:ext>
                  </a:extLst>
                </a:gridCol>
                <a:gridCol w="5061318">
                  <a:extLst>
                    <a:ext uri="{9D8B030D-6E8A-4147-A177-3AD203B41FA5}">
                      <a16:colId xmlns:a16="http://schemas.microsoft.com/office/drawing/2014/main" val="30574208"/>
                    </a:ext>
                  </a:extLst>
                </a:gridCol>
              </a:tblGrid>
              <a:tr h="289183">
                <a:tc>
                  <a:txBody>
                    <a:bodyPr/>
                    <a:lstStyle/>
                    <a:p>
                      <a:r>
                        <a:rPr lang="en-US" altLang="zh-CN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1931</a:t>
                      </a:r>
                      <a:r>
                        <a:rPr lang="zh-CN" altLang="en-US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年</a:t>
                      </a:r>
                      <a:endParaRPr lang="zh-CN" altLang="en-US" sz="1600" b="1" kern="1200" dirty="0">
                        <a:solidFill>
                          <a:srgbClr val="404040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600" b="1" kern="1200" dirty="0">
                        <a:solidFill>
                          <a:srgbClr val="404040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9290098"/>
                  </a:ext>
                </a:extLst>
              </a:tr>
              <a:tr h="641749">
                <a:tc>
                  <a:txBody>
                    <a:bodyPr/>
                    <a:lstStyle/>
                    <a:p>
                      <a:r>
                        <a:rPr lang="en-US" altLang="zh-CN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9.19</a:t>
                      </a:r>
                      <a:endParaRPr lang="zh-CN" altLang="en-US" sz="1600" b="1" kern="1200" dirty="0">
                        <a:solidFill>
                          <a:srgbClr val="404040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中共满洲省委当夜就起草并于第二天发表了</a:t>
                      </a:r>
                      <a:r>
                        <a:rPr lang="en-US" altLang="zh-CN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《</a:t>
                      </a:r>
                      <a:r>
                        <a:rPr lang="zh-CN" altLang="en-US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中共满洲省委为日本帝国主义武装占领满洲宣言</a:t>
                      </a:r>
                      <a:r>
                        <a:rPr lang="en-US" altLang="zh-CN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》</a:t>
                      </a:r>
                      <a:r>
                        <a:rPr lang="zh-CN" altLang="en-US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主张“反对日本帝国主义占领满洲，打倒日本帝国主义”</a:t>
                      </a:r>
                      <a:endParaRPr lang="zh-CN" altLang="en-US" sz="1600" b="1" kern="1200" dirty="0">
                        <a:solidFill>
                          <a:srgbClr val="404040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4607780"/>
                  </a:ext>
                </a:extLst>
              </a:tr>
              <a:tr h="641749">
                <a:tc>
                  <a:txBody>
                    <a:bodyPr/>
                    <a:lstStyle/>
                    <a:p>
                      <a:r>
                        <a:rPr lang="en-US" altLang="zh-CN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9.20</a:t>
                      </a:r>
                      <a:endParaRPr lang="zh-CN" altLang="en-US" sz="1600" b="1" kern="1200" dirty="0">
                        <a:solidFill>
                          <a:srgbClr val="404040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中国共产党发布了</a:t>
                      </a:r>
                      <a:r>
                        <a:rPr lang="en-US" altLang="zh-CN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《</a:t>
                      </a:r>
                      <a:r>
                        <a:rPr lang="zh-CN" altLang="en-US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中国共产党为日本帝国主义强暴占领东三省事件宣言</a:t>
                      </a:r>
                      <a:r>
                        <a:rPr lang="en-US" altLang="zh-CN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》</a:t>
                      </a:r>
                      <a:r>
                        <a:rPr lang="zh-CN" altLang="en-US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，分析了日本发动事变的原因，表明抗日的坚定立场，号召工农兵士劳苦民众起来实行坚决斗争，</a:t>
                      </a:r>
                      <a:endParaRPr lang="zh-CN" altLang="en-US" sz="1600" b="1" kern="1200" dirty="0">
                        <a:solidFill>
                          <a:srgbClr val="404040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2987341"/>
                  </a:ext>
                </a:extLst>
              </a:tr>
              <a:tr h="641749">
                <a:tc>
                  <a:txBody>
                    <a:bodyPr/>
                    <a:lstStyle/>
                    <a:p>
                      <a:r>
                        <a:rPr lang="en-US" altLang="zh-CN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9.21</a:t>
                      </a:r>
                      <a:endParaRPr lang="zh-CN" altLang="en-US" sz="1600" b="1" kern="1200" dirty="0">
                        <a:solidFill>
                          <a:srgbClr val="404040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中共满洲省委作出</a:t>
                      </a:r>
                      <a:r>
                        <a:rPr lang="en-US" altLang="zh-CN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《</a:t>
                      </a:r>
                      <a:r>
                        <a:rPr lang="zh-CN" altLang="en-US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日本帝国主义武装占领满洲与目前党的紧急任务的决议</a:t>
                      </a:r>
                      <a:r>
                        <a:rPr lang="en-US" altLang="zh-CN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》</a:t>
                      </a:r>
                      <a:r>
                        <a:rPr lang="zh-CN" altLang="en-US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，号召广大群众展开反抗日本侵略的斗争。</a:t>
                      </a:r>
                      <a:endParaRPr lang="zh-CN" altLang="en-US" sz="1600" b="1" kern="1200" dirty="0">
                        <a:solidFill>
                          <a:srgbClr val="404040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1270240"/>
                  </a:ext>
                </a:extLst>
              </a:tr>
              <a:tr h="451601">
                <a:tc>
                  <a:txBody>
                    <a:bodyPr/>
                    <a:lstStyle/>
                    <a:p>
                      <a:r>
                        <a:rPr lang="en-US" altLang="zh-CN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9.22</a:t>
                      </a:r>
                      <a:endParaRPr lang="zh-CN" altLang="en-US" sz="1600" b="1" kern="1200" dirty="0">
                        <a:solidFill>
                          <a:srgbClr val="404040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中共中央作出</a:t>
                      </a:r>
                      <a:r>
                        <a:rPr lang="en-US" altLang="zh-CN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《</a:t>
                      </a:r>
                      <a:r>
                        <a:rPr lang="zh-CN" altLang="en-US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中央关于日本帝国主义强占满洲事变的决议</a:t>
                      </a:r>
                      <a:r>
                        <a:rPr lang="en-US" altLang="zh-CN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》</a:t>
                      </a:r>
                      <a:r>
                        <a:rPr lang="zh-CN" altLang="en-US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并通电全国，强调要给日本帝国主义以严重打击。</a:t>
                      </a:r>
                      <a:endParaRPr lang="zh-CN" altLang="en-US" sz="1600" b="1" kern="1200" dirty="0">
                        <a:solidFill>
                          <a:srgbClr val="404040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3514822"/>
                  </a:ext>
                </a:extLst>
              </a:tr>
              <a:tr h="451601">
                <a:tc>
                  <a:txBody>
                    <a:bodyPr/>
                    <a:lstStyle/>
                    <a:p>
                      <a:r>
                        <a:rPr lang="en-US" altLang="zh-CN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9.30</a:t>
                      </a:r>
                      <a:endParaRPr lang="zh-CN" altLang="en-US" sz="1600" b="1" kern="1200" dirty="0">
                        <a:solidFill>
                          <a:srgbClr val="404040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中共中央发表</a:t>
                      </a:r>
                      <a:r>
                        <a:rPr lang="en-US" altLang="zh-CN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《</a:t>
                      </a:r>
                      <a:r>
                        <a:rPr lang="zh-CN" altLang="en-US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中国共产党为日本帝国主义强占东三省第二次宣言</a:t>
                      </a:r>
                      <a:r>
                        <a:rPr lang="en-US" altLang="zh-CN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》</a:t>
                      </a:r>
                      <a:r>
                        <a:rPr lang="zh-CN" altLang="en-US" sz="1600" b="1" kern="1200" dirty="0">
                          <a:solidFill>
                            <a:srgbClr val="404040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，强调“反对日本帝国主义的坚决”。</a:t>
                      </a:r>
                      <a:endParaRPr lang="zh-CN" altLang="en-US" sz="1600" b="1" kern="1200" dirty="0">
                        <a:solidFill>
                          <a:srgbClr val="404040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8395446"/>
                  </a:ext>
                </a:extLst>
              </a:tr>
            </a:tbl>
          </a:graphicData>
        </a:graphic>
      </p:graphicFrame>
      <p:sp>
        <p:nvSpPr>
          <p:cNvPr id="17" name="文本框 16">
            <a:extLst>
              <a:ext uri="{FF2B5EF4-FFF2-40B4-BE49-F238E27FC236}">
                <a16:creationId xmlns:a16="http://schemas.microsoft.com/office/drawing/2014/main" id="{87052819-A766-ED7C-3D04-078B8ABC1706}"/>
              </a:ext>
            </a:extLst>
          </p:cNvPr>
          <p:cNvSpPr txBox="1"/>
          <p:nvPr/>
        </p:nvSpPr>
        <p:spPr>
          <a:xfrm>
            <a:off x="319815" y="371751"/>
            <a:ext cx="49439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宋体" panose="02010600030101010101" pitchFamily="2" charset="-122"/>
                <a:ea typeface="宋体" panose="02010600030101010101" pitchFamily="2" charset="-122"/>
              </a:rPr>
              <a:t>1.</a:t>
            </a:r>
            <a:r>
              <a:rPr lang="zh-CN" altLang="en-US" sz="2000" b="1" dirty="0">
                <a:latin typeface="宋体" panose="02010600030101010101" pitchFamily="2" charset="-122"/>
                <a:ea typeface="宋体" panose="02010600030101010101" pitchFamily="2" charset="-122"/>
              </a:rPr>
              <a:t>九一八事变爆发后，国共的反应对比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2601D69-6CA4-D56D-3DAA-6EBBEA763310}"/>
              </a:ext>
            </a:extLst>
          </p:cNvPr>
          <p:cNvSpPr txBox="1"/>
          <p:nvPr/>
        </p:nvSpPr>
        <p:spPr>
          <a:xfrm>
            <a:off x="3127476" y="6006907"/>
            <a:ext cx="68553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solidFill>
                  <a:srgbClr val="40404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（</a:t>
            </a:r>
            <a:r>
              <a:rPr lang="en-US" altLang="zh-CN" sz="2800" b="1" dirty="0">
                <a:solidFill>
                  <a:srgbClr val="40404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1</a:t>
            </a:r>
            <a:r>
              <a:rPr lang="zh-CN" altLang="en-US" sz="2800" b="1" dirty="0">
                <a:solidFill>
                  <a:srgbClr val="40404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）根据以上材料，你能得出哪些信息？</a:t>
            </a: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AC47ECB4-6E7C-9EDC-6A5F-85868B25A1FA}"/>
              </a:ext>
            </a:extLst>
          </p:cNvPr>
          <p:cNvSpPr>
            <a:spLocks/>
          </p:cNvSpPr>
          <p:nvPr/>
        </p:nvSpPr>
        <p:spPr bwMode="auto">
          <a:xfrm>
            <a:off x="5115201" y="-25776"/>
            <a:ext cx="7492968" cy="845217"/>
          </a:xfrm>
          <a:custGeom>
            <a:avLst/>
            <a:gdLst>
              <a:gd name="connsiteX0" fmla="*/ 883995 w 5227821"/>
              <a:gd name="connsiteY0" fmla="*/ 1158893 h 1257266"/>
              <a:gd name="connsiteX1" fmla="*/ 891058 w 5227821"/>
              <a:gd name="connsiteY1" fmla="*/ 1159121 h 1257266"/>
              <a:gd name="connsiteX2" fmla="*/ 883539 w 5227821"/>
              <a:gd name="connsiteY2" fmla="*/ 1159121 h 1257266"/>
              <a:gd name="connsiteX3" fmla="*/ 4615788 w 5227821"/>
              <a:gd name="connsiteY3" fmla="*/ 826594 h 1257266"/>
              <a:gd name="connsiteX4" fmla="*/ 4616959 w 5227821"/>
              <a:gd name="connsiteY4" fmla="*/ 827767 h 1257266"/>
              <a:gd name="connsiteX5" fmla="*/ 4617450 w 5227821"/>
              <a:gd name="connsiteY5" fmla="*/ 827029 h 1257266"/>
              <a:gd name="connsiteX6" fmla="*/ 4610559 w 5227821"/>
              <a:gd name="connsiteY6" fmla="*/ 825984 h 1257266"/>
              <a:gd name="connsiteX7" fmla="*/ 4591373 w 5227821"/>
              <a:gd name="connsiteY7" fmla="*/ 828386 h 1257266"/>
              <a:gd name="connsiteX8" fmla="*/ 4584680 w 5227821"/>
              <a:gd name="connsiteY8" fmla="*/ 830752 h 1257266"/>
              <a:gd name="connsiteX9" fmla="*/ 4583122 w 5227821"/>
              <a:gd name="connsiteY9" fmla="*/ 831532 h 1257266"/>
              <a:gd name="connsiteX10" fmla="*/ 4598161 w 5227821"/>
              <a:gd name="connsiteY10" fmla="*/ 835298 h 1257266"/>
              <a:gd name="connsiteX11" fmla="*/ 4600041 w 5227821"/>
              <a:gd name="connsiteY11" fmla="*/ 833886 h 1257266"/>
              <a:gd name="connsiteX12" fmla="*/ 4763331 w 5227821"/>
              <a:gd name="connsiteY12" fmla="*/ 809097 h 1257266"/>
              <a:gd name="connsiteX13" fmla="*/ 4764025 w 5227821"/>
              <a:gd name="connsiteY13" fmla="*/ 815097 h 1257266"/>
              <a:gd name="connsiteX14" fmla="*/ 4768080 w 5227821"/>
              <a:gd name="connsiteY14" fmla="*/ 809559 h 1257266"/>
              <a:gd name="connsiteX15" fmla="*/ 4653526 w 5227821"/>
              <a:gd name="connsiteY15" fmla="*/ 808089 h 1257266"/>
              <a:gd name="connsiteX16" fmla="*/ 4644009 w 5227821"/>
              <a:gd name="connsiteY16" fmla="*/ 820856 h 1257266"/>
              <a:gd name="connsiteX17" fmla="*/ 4659047 w 5227821"/>
              <a:gd name="connsiteY17" fmla="*/ 828386 h 1257266"/>
              <a:gd name="connsiteX18" fmla="*/ 4642634 w 5227821"/>
              <a:gd name="connsiteY18" fmla="*/ 833009 h 1257266"/>
              <a:gd name="connsiteX19" fmla="*/ 4658317 w 5227821"/>
              <a:gd name="connsiteY19" fmla="*/ 846594 h 1257266"/>
              <a:gd name="connsiteX20" fmla="*/ 4684635 w 5227821"/>
              <a:gd name="connsiteY20" fmla="*/ 816471 h 1257266"/>
              <a:gd name="connsiteX21" fmla="*/ 4683861 w 5227821"/>
              <a:gd name="connsiteY21" fmla="*/ 813370 h 1257266"/>
              <a:gd name="connsiteX22" fmla="*/ 4669387 w 5227821"/>
              <a:gd name="connsiteY22" fmla="*/ 809089 h 1257266"/>
              <a:gd name="connsiteX23" fmla="*/ 4653526 w 5227821"/>
              <a:gd name="connsiteY23" fmla="*/ 808089 h 1257266"/>
              <a:gd name="connsiteX24" fmla="*/ 4720496 w 5227821"/>
              <a:gd name="connsiteY24" fmla="*/ 800558 h 1257266"/>
              <a:gd name="connsiteX25" fmla="*/ 4704165 w 5227821"/>
              <a:gd name="connsiteY25" fmla="*/ 809559 h 1257266"/>
              <a:gd name="connsiteX26" fmla="*/ 4711684 w 5227821"/>
              <a:gd name="connsiteY26" fmla="*/ 817090 h 1257266"/>
              <a:gd name="connsiteX27" fmla="*/ 4703433 w 5227821"/>
              <a:gd name="connsiteY27" fmla="*/ 816325 h 1257266"/>
              <a:gd name="connsiteX28" fmla="*/ 4703433 w 5227821"/>
              <a:gd name="connsiteY28" fmla="*/ 824001 h 1257266"/>
              <a:gd name="connsiteX29" fmla="*/ 4718473 w 5227821"/>
              <a:gd name="connsiteY29" fmla="*/ 820236 h 1257266"/>
              <a:gd name="connsiteX30" fmla="*/ 4733511 w 5227821"/>
              <a:gd name="connsiteY30" fmla="*/ 846594 h 1257266"/>
              <a:gd name="connsiteX31" fmla="*/ 4710953 w 5227821"/>
              <a:gd name="connsiteY31" fmla="*/ 850359 h 1257266"/>
              <a:gd name="connsiteX32" fmla="*/ 4692155 w 5227821"/>
              <a:gd name="connsiteY32" fmla="*/ 842828 h 1257266"/>
              <a:gd name="connsiteX33" fmla="*/ 4658317 w 5227821"/>
              <a:gd name="connsiteY33" fmla="*/ 854125 h 1257266"/>
              <a:gd name="connsiteX34" fmla="*/ 4677115 w 5227821"/>
              <a:gd name="connsiteY34" fmla="*/ 854125 h 1257266"/>
              <a:gd name="connsiteX35" fmla="*/ 4673355 w 5227821"/>
              <a:gd name="connsiteY35" fmla="*/ 857890 h 1257266"/>
              <a:gd name="connsiteX36" fmla="*/ 4741031 w 5227821"/>
              <a:gd name="connsiteY36" fmla="*/ 857890 h 1257266"/>
              <a:gd name="connsiteX37" fmla="*/ 4748551 w 5227821"/>
              <a:gd name="connsiteY37" fmla="*/ 861655 h 1257266"/>
              <a:gd name="connsiteX38" fmla="*/ 4752310 w 5227821"/>
              <a:gd name="connsiteY38" fmla="*/ 857890 h 1257266"/>
              <a:gd name="connsiteX39" fmla="*/ 4763589 w 5227821"/>
              <a:gd name="connsiteY39" fmla="*/ 854125 h 1257266"/>
              <a:gd name="connsiteX40" fmla="*/ 4752310 w 5227821"/>
              <a:gd name="connsiteY40" fmla="*/ 854125 h 1257266"/>
              <a:gd name="connsiteX41" fmla="*/ 4756070 w 5227821"/>
              <a:gd name="connsiteY41" fmla="*/ 835298 h 1257266"/>
              <a:gd name="connsiteX42" fmla="*/ 4744321 w 5227821"/>
              <a:gd name="connsiteY42" fmla="*/ 817412 h 1257266"/>
              <a:gd name="connsiteX43" fmla="*/ 4747974 w 5227821"/>
              <a:gd name="connsiteY43" fmla="*/ 806649 h 1257266"/>
              <a:gd name="connsiteX44" fmla="*/ 4736122 w 5227821"/>
              <a:gd name="connsiteY44" fmla="*/ 802499 h 1257266"/>
              <a:gd name="connsiteX45" fmla="*/ 4720496 w 5227821"/>
              <a:gd name="connsiteY45" fmla="*/ 800558 h 1257266"/>
              <a:gd name="connsiteX46" fmla="*/ 1676438 w 5227821"/>
              <a:gd name="connsiteY46" fmla="*/ 90716 h 1257266"/>
              <a:gd name="connsiteX47" fmla="*/ 1850993 w 5227821"/>
              <a:gd name="connsiteY47" fmla="*/ 94135 h 1257266"/>
              <a:gd name="connsiteX48" fmla="*/ 2046029 w 5227821"/>
              <a:gd name="connsiteY48" fmla="*/ 97900 h 1257266"/>
              <a:gd name="connsiteX49" fmla="*/ 2057308 w 5227821"/>
              <a:gd name="connsiteY49" fmla="*/ 101666 h 1257266"/>
              <a:gd name="connsiteX50" fmla="*/ 1850523 w 5227821"/>
              <a:gd name="connsiteY50" fmla="*/ 97900 h 1257266"/>
              <a:gd name="connsiteX51" fmla="*/ 1692614 w 5227821"/>
              <a:gd name="connsiteY51" fmla="*/ 94135 h 1257266"/>
              <a:gd name="connsiteX52" fmla="*/ 1675636 w 5227821"/>
              <a:gd name="connsiteY52" fmla="*/ 90546 h 1257266"/>
              <a:gd name="connsiteX53" fmla="*/ 1676438 w 5227821"/>
              <a:gd name="connsiteY53" fmla="*/ 90716 h 1257266"/>
              <a:gd name="connsiteX54" fmla="*/ 1674865 w 5227821"/>
              <a:gd name="connsiteY54" fmla="*/ 90685 h 1257266"/>
              <a:gd name="connsiteX55" fmla="*/ 2005634 w 5227821"/>
              <a:gd name="connsiteY55" fmla="*/ 36919 h 1257266"/>
              <a:gd name="connsiteX56" fmla="*/ 2008432 w 5227821"/>
              <a:gd name="connsiteY56" fmla="*/ 37654 h 1257266"/>
              <a:gd name="connsiteX57" fmla="*/ 2000912 w 5227821"/>
              <a:gd name="connsiteY57" fmla="*/ 37654 h 1257266"/>
              <a:gd name="connsiteX58" fmla="*/ 1594861 w 5227821"/>
              <a:gd name="connsiteY58" fmla="*/ 0 h 1257266"/>
              <a:gd name="connsiteX59" fmla="*/ 1655016 w 5227821"/>
              <a:gd name="connsiteY59" fmla="*/ 11296 h 1257266"/>
              <a:gd name="connsiteX60" fmla="*/ 1651257 w 5227821"/>
              <a:gd name="connsiteY60" fmla="*/ 18827 h 1257266"/>
              <a:gd name="connsiteX61" fmla="*/ 1767809 w 5227821"/>
              <a:gd name="connsiteY61" fmla="*/ 22593 h 1257266"/>
              <a:gd name="connsiteX62" fmla="*/ 2230256 w 5227821"/>
              <a:gd name="connsiteY62" fmla="*/ 26358 h 1257266"/>
              <a:gd name="connsiteX63" fmla="*/ 2275373 w 5227821"/>
              <a:gd name="connsiteY63" fmla="*/ 30123 h 1257266"/>
              <a:gd name="connsiteX64" fmla="*/ 2046029 w 5227821"/>
              <a:gd name="connsiteY64" fmla="*/ 33889 h 1257266"/>
              <a:gd name="connsiteX65" fmla="*/ 2022061 w 5227821"/>
              <a:gd name="connsiteY65" fmla="*/ 34359 h 1257266"/>
              <a:gd name="connsiteX66" fmla="*/ 2005634 w 5227821"/>
              <a:gd name="connsiteY66" fmla="*/ 36919 h 1257266"/>
              <a:gd name="connsiteX67" fmla="*/ 1983817 w 5227821"/>
              <a:gd name="connsiteY67" fmla="*/ 31183 h 1257266"/>
              <a:gd name="connsiteX68" fmla="*/ 1888120 w 5227821"/>
              <a:gd name="connsiteY68" fmla="*/ 30123 h 1257266"/>
              <a:gd name="connsiteX69" fmla="*/ 1662536 w 5227821"/>
              <a:gd name="connsiteY69" fmla="*/ 26358 h 1257266"/>
              <a:gd name="connsiteX70" fmla="*/ 1655016 w 5227821"/>
              <a:gd name="connsiteY70" fmla="*/ 37654 h 1257266"/>
              <a:gd name="connsiteX71" fmla="*/ 1609900 w 5227821"/>
              <a:gd name="connsiteY71" fmla="*/ 30123 h 1257266"/>
              <a:gd name="connsiteX72" fmla="*/ 1553503 w 5227821"/>
              <a:gd name="connsiteY72" fmla="*/ 52716 h 1257266"/>
              <a:gd name="connsiteX73" fmla="*/ 1587341 w 5227821"/>
              <a:gd name="connsiteY73" fmla="*/ 56481 h 1257266"/>
              <a:gd name="connsiteX74" fmla="*/ 1542224 w 5227821"/>
              <a:gd name="connsiteY74" fmla="*/ 56481 h 1257266"/>
              <a:gd name="connsiteX75" fmla="*/ 1527185 w 5227821"/>
              <a:gd name="connsiteY75" fmla="*/ 71543 h 1257266"/>
              <a:gd name="connsiteX76" fmla="*/ 1478309 w 5227821"/>
              <a:gd name="connsiteY76" fmla="*/ 79073 h 1257266"/>
              <a:gd name="connsiteX77" fmla="*/ 1658776 w 5227821"/>
              <a:gd name="connsiteY77" fmla="*/ 90370 h 1257266"/>
              <a:gd name="connsiteX78" fmla="*/ 1674865 w 5227821"/>
              <a:gd name="connsiteY78" fmla="*/ 90685 h 1257266"/>
              <a:gd name="connsiteX79" fmla="*/ 1658306 w 5227821"/>
              <a:gd name="connsiteY79" fmla="*/ 93664 h 1257266"/>
              <a:gd name="connsiteX80" fmla="*/ 1621179 w 5227821"/>
              <a:gd name="connsiteY80" fmla="*/ 101666 h 1257266"/>
              <a:gd name="connsiteX81" fmla="*/ 1579822 w 5227821"/>
              <a:gd name="connsiteY81" fmla="*/ 128024 h 1257266"/>
              <a:gd name="connsiteX82" fmla="*/ 1576062 w 5227821"/>
              <a:gd name="connsiteY82" fmla="*/ 120493 h 1257266"/>
              <a:gd name="connsiteX83" fmla="*/ 1598620 w 5227821"/>
              <a:gd name="connsiteY83" fmla="*/ 112962 h 1257266"/>
              <a:gd name="connsiteX84" fmla="*/ 1587341 w 5227821"/>
              <a:gd name="connsiteY84" fmla="*/ 109197 h 1257266"/>
              <a:gd name="connsiteX85" fmla="*/ 1564783 w 5227821"/>
              <a:gd name="connsiteY85" fmla="*/ 109197 h 1257266"/>
              <a:gd name="connsiteX86" fmla="*/ 1553503 w 5227821"/>
              <a:gd name="connsiteY86" fmla="*/ 105431 h 1257266"/>
              <a:gd name="connsiteX87" fmla="*/ 1621179 w 5227821"/>
              <a:gd name="connsiteY87" fmla="*/ 94135 h 1257266"/>
              <a:gd name="connsiteX88" fmla="*/ 1448231 w 5227821"/>
              <a:gd name="connsiteY88" fmla="*/ 86604 h 1257266"/>
              <a:gd name="connsiteX89" fmla="*/ 1410633 w 5227821"/>
              <a:gd name="connsiteY89" fmla="*/ 97900 h 1257266"/>
              <a:gd name="connsiteX90" fmla="*/ 1444471 w 5227821"/>
              <a:gd name="connsiteY90" fmla="*/ 101666 h 1257266"/>
              <a:gd name="connsiteX91" fmla="*/ 1380555 w 5227821"/>
              <a:gd name="connsiteY91" fmla="*/ 131789 h 1257266"/>
              <a:gd name="connsiteX92" fmla="*/ 1380555 w 5227821"/>
              <a:gd name="connsiteY92" fmla="*/ 112962 h 1257266"/>
              <a:gd name="connsiteX93" fmla="*/ 1369276 w 5227821"/>
              <a:gd name="connsiteY93" fmla="*/ 131789 h 1257266"/>
              <a:gd name="connsiteX94" fmla="*/ 1357997 w 5227821"/>
              <a:gd name="connsiteY94" fmla="*/ 131789 h 1257266"/>
              <a:gd name="connsiteX95" fmla="*/ 1354237 w 5227821"/>
              <a:gd name="connsiteY95" fmla="*/ 146851 h 1257266"/>
              <a:gd name="connsiteX96" fmla="*/ 1350478 w 5227821"/>
              <a:gd name="connsiteY96" fmla="*/ 139320 h 1257266"/>
              <a:gd name="connsiteX97" fmla="*/ 1327919 w 5227821"/>
              <a:gd name="connsiteY97" fmla="*/ 161912 h 1257266"/>
              <a:gd name="connsiteX98" fmla="*/ 1436952 w 5227821"/>
              <a:gd name="connsiteY98" fmla="*/ 173208 h 1257266"/>
              <a:gd name="connsiteX99" fmla="*/ 1459510 w 5227821"/>
              <a:gd name="connsiteY99" fmla="*/ 192035 h 1257266"/>
              <a:gd name="connsiteX100" fmla="*/ 1421913 w 5227821"/>
              <a:gd name="connsiteY100" fmla="*/ 207097 h 1257266"/>
              <a:gd name="connsiteX101" fmla="*/ 1451990 w 5227821"/>
              <a:gd name="connsiteY101" fmla="*/ 207097 h 1257266"/>
              <a:gd name="connsiteX102" fmla="*/ 1451990 w 5227821"/>
              <a:gd name="connsiteY102" fmla="*/ 210862 h 1257266"/>
              <a:gd name="connsiteX103" fmla="*/ 1512146 w 5227821"/>
              <a:gd name="connsiteY103" fmla="*/ 210862 h 1257266"/>
              <a:gd name="connsiteX104" fmla="*/ 1512146 w 5227821"/>
              <a:gd name="connsiteY104" fmla="*/ 214628 h 1257266"/>
              <a:gd name="connsiteX105" fmla="*/ 1534705 w 5227821"/>
              <a:gd name="connsiteY105" fmla="*/ 214628 h 1257266"/>
              <a:gd name="connsiteX106" fmla="*/ 1538464 w 5227821"/>
              <a:gd name="connsiteY106" fmla="*/ 210862 h 1257266"/>
              <a:gd name="connsiteX107" fmla="*/ 1538464 w 5227821"/>
              <a:gd name="connsiteY107" fmla="*/ 218393 h 1257266"/>
              <a:gd name="connsiteX108" fmla="*/ 1515906 w 5227821"/>
              <a:gd name="connsiteY108" fmla="*/ 225924 h 1257266"/>
              <a:gd name="connsiteX109" fmla="*/ 1549744 w 5227821"/>
              <a:gd name="connsiteY109" fmla="*/ 229689 h 1257266"/>
              <a:gd name="connsiteX110" fmla="*/ 1542224 w 5227821"/>
              <a:gd name="connsiteY110" fmla="*/ 237220 h 1257266"/>
              <a:gd name="connsiteX111" fmla="*/ 1722692 w 5227821"/>
              <a:gd name="connsiteY111" fmla="*/ 225924 h 1257266"/>
              <a:gd name="connsiteX112" fmla="*/ 1764049 w 5227821"/>
              <a:gd name="connsiteY112" fmla="*/ 218393 h 1257266"/>
              <a:gd name="connsiteX113" fmla="*/ 1801646 w 5227821"/>
              <a:gd name="connsiteY113" fmla="*/ 218393 h 1257266"/>
              <a:gd name="connsiteX114" fmla="*/ 1809166 w 5227821"/>
              <a:gd name="connsiteY114" fmla="*/ 214628 h 1257266"/>
              <a:gd name="connsiteX115" fmla="*/ 1940757 w 5227821"/>
              <a:gd name="connsiteY115" fmla="*/ 214628 h 1257266"/>
              <a:gd name="connsiteX116" fmla="*/ 2083627 w 5227821"/>
              <a:gd name="connsiteY116" fmla="*/ 203331 h 1257266"/>
              <a:gd name="connsiteX117" fmla="*/ 2124984 w 5227821"/>
              <a:gd name="connsiteY117" fmla="*/ 203331 h 1257266"/>
              <a:gd name="connsiteX118" fmla="*/ 2128744 w 5227821"/>
              <a:gd name="connsiteY118" fmla="*/ 199566 h 1257266"/>
              <a:gd name="connsiteX119" fmla="*/ 2117464 w 5227821"/>
              <a:gd name="connsiteY119" fmla="*/ 195801 h 1257266"/>
              <a:gd name="connsiteX120" fmla="*/ 2128744 w 5227821"/>
              <a:gd name="connsiteY120" fmla="*/ 192035 h 1257266"/>
              <a:gd name="connsiteX121" fmla="*/ 2121224 w 5227821"/>
              <a:gd name="connsiteY121" fmla="*/ 188270 h 1257266"/>
              <a:gd name="connsiteX122" fmla="*/ 2192659 w 5227821"/>
              <a:gd name="connsiteY122" fmla="*/ 184504 h 1257266"/>
              <a:gd name="connsiteX123" fmla="*/ 2196419 w 5227821"/>
              <a:gd name="connsiteY123" fmla="*/ 199566 h 1257266"/>
              <a:gd name="connsiteX124" fmla="*/ 2215218 w 5227821"/>
              <a:gd name="connsiteY124" fmla="*/ 195801 h 1257266"/>
              <a:gd name="connsiteX125" fmla="*/ 2203938 w 5227821"/>
              <a:gd name="connsiteY125" fmla="*/ 188270 h 1257266"/>
              <a:gd name="connsiteX126" fmla="*/ 2271614 w 5227821"/>
              <a:gd name="connsiteY126" fmla="*/ 188270 h 1257266"/>
              <a:gd name="connsiteX127" fmla="*/ 2395685 w 5227821"/>
              <a:gd name="connsiteY127" fmla="*/ 184504 h 1257266"/>
              <a:gd name="connsiteX128" fmla="*/ 2422003 w 5227821"/>
              <a:gd name="connsiteY128" fmla="*/ 169443 h 1257266"/>
              <a:gd name="connsiteX129" fmla="*/ 2564873 w 5227821"/>
              <a:gd name="connsiteY129" fmla="*/ 180739 h 1257266"/>
              <a:gd name="connsiteX130" fmla="*/ 2737821 w 5227821"/>
              <a:gd name="connsiteY130" fmla="*/ 176974 h 1257266"/>
              <a:gd name="connsiteX131" fmla="*/ 2737821 w 5227821"/>
              <a:gd name="connsiteY131" fmla="*/ 169443 h 1257266"/>
              <a:gd name="connsiteX132" fmla="*/ 2794217 w 5227821"/>
              <a:gd name="connsiteY132" fmla="*/ 176974 h 1257266"/>
              <a:gd name="connsiteX133" fmla="*/ 2805496 w 5227821"/>
              <a:gd name="connsiteY133" fmla="*/ 169443 h 1257266"/>
              <a:gd name="connsiteX134" fmla="*/ 3568723 w 5227821"/>
              <a:gd name="connsiteY134" fmla="*/ 165678 h 1257266"/>
              <a:gd name="connsiteX135" fmla="*/ 3673996 w 5227821"/>
              <a:gd name="connsiteY135" fmla="*/ 158147 h 1257266"/>
              <a:gd name="connsiteX136" fmla="*/ 3719113 w 5227821"/>
              <a:gd name="connsiteY136" fmla="*/ 161912 h 1257266"/>
              <a:gd name="connsiteX137" fmla="*/ 3880782 w 5227821"/>
              <a:gd name="connsiteY137" fmla="*/ 150616 h 1257266"/>
              <a:gd name="connsiteX138" fmla="*/ 3869503 w 5227821"/>
              <a:gd name="connsiteY138" fmla="*/ 161912 h 1257266"/>
              <a:gd name="connsiteX139" fmla="*/ 3922139 w 5227821"/>
              <a:gd name="connsiteY139" fmla="*/ 169443 h 1257266"/>
              <a:gd name="connsiteX140" fmla="*/ 4046210 w 5227821"/>
              <a:gd name="connsiteY140" fmla="*/ 165678 h 1257266"/>
              <a:gd name="connsiteX141" fmla="*/ 4083807 w 5227821"/>
              <a:gd name="connsiteY141" fmla="*/ 165678 h 1257266"/>
              <a:gd name="connsiteX142" fmla="*/ 4083807 w 5227821"/>
              <a:gd name="connsiteY142" fmla="*/ 169443 h 1257266"/>
              <a:gd name="connsiteX143" fmla="*/ 4181561 w 5227821"/>
              <a:gd name="connsiteY143" fmla="*/ 173208 h 1257266"/>
              <a:gd name="connsiteX144" fmla="*/ 4264275 w 5227821"/>
              <a:gd name="connsiteY144" fmla="*/ 173208 h 1257266"/>
              <a:gd name="connsiteX145" fmla="*/ 4316911 w 5227821"/>
              <a:gd name="connsiteY145" fmla="*/ 184504 h 1257266"/>
              <a:gd name="connsiteX146" fmla="*/ 4440983 w 5227821"/>
              <a:gd name="connsiteY146" fmla="*/ 184504 h 1257266"/>
              <a:gd name="connsiteX147" fmla="*/ 4433463 w 5227821"/>
              <a:gd name="connsiteY147" fmla="*/ 192035 h 1257266"/>
              <a:gd name="connsiteX148" fmla="*/ 4512418 w 5227821"/>
              <a:gd name="connsiteY148" fmla="*/ 199566 h 1257266"/>
              <a:gd name="connsiteX149" fmla="*/ 4550015 w 5227821"/>
              <a:gd name="connsiteY149" fmla="*/ 203331 h 1257266"/>
              <a:gd name="connsiteX150" fmla="*/ 4557535 w 5227821"/>
              <a:gd name="connsiteY150" fmla="*/ 199566 h 1257266"/>
              <a:gd name="connsiteX151" fmla="*/ 4568814 w 5227821"/>
              <a:gd name="connsiteY151" fmla="*/ 207097 h 1257266"/>
              <a:gd name="connsiteX152" fmla="*/ 4644009 w 5227821"/>
              <a:gd name="connsiteY152" fmla="*/ 233455 h 1257266"/>
              <a:gd name="connsiteX153" fmla="*/ 4775599 w 5227821"/>
              <a:gd name="connsiteY153" fmla="*/ 237220 h 1257266"/>
              <a:gd name="connsiteX154" fmla="*/ 4828236 w 5227821"/>
              <a:gd name="connsiteY154" fmla="*/ 199566 h 1257266"/>
              <a:gd name="connsiteX155" fmla="*/ 4783119 w 5227821"/>
              <a:gd name="connsiteY155" fmla="*/ 188270 h 1257266"/>
              <a:gd name="connsiteX156" fmla="*/ 4828236 w 5227821"/>
              <a:gd name="connsiteY156" fmla="*/ 195801 h 1257266"/>
              <a:gd name="connsiteX157" fmla="*/ 4850795 w 5227821"/>
              <a:gd name="connsiteY157" fmla="*/ 180739 h 1257266"/>
              <a:gd name="connsiteX158" fmla="*/ 4794399 w 5227821"/>
              <a:gd name="connsiteY158" fmla="*/ 150616 h 1257266"/>
              <a:gd name="connsiteX159" fmla="*/ 4813197 w 5227821"/>
              <a:gd name="connsiteY159" fmla="*/ 143085 h 1257266"/>
              <a:gd name="connsiteX160" fmla="*/ 4738002 w 5227821"/>
              <a:gd name="connsiteY160" fmla="*/ 135554 h 1257266"/>
              <a:gd name="connsiteX161" fmla="*/ 4677847 w 5227821"/>
              <a:gd name="connsiteY161" fmla="*/ 139320 h 1257266"/>
              <a:gd name="connsiteX162" fmla="*/ 4644009 w 5227821"/>
              <a:gd name="connsiteY162" fmla="*/ 116727 h 1257266"/>
              <a:gd name="connsiteX163" fmla="*/ 4516177 w 5227821"/>
              <a:gd name="connsiteY163" fmla="*/ 109197 h 1257266"/>
              <a:gd name="connsiteX164" fmla="*/ 4444743 w 5227821"/>
              <a:gd name="connsiteY164" fmla="*/ 90370 h 1257266"/>
              <a:gd name="connsiteX165" fmla="*/ 4380827 w 5227821"/>
              <a:gd name="connsiteY165" fmla="*/ 82839 h 1257266"/>
              <a:gd name="connsiteX166" fmla="*/ 4365788 w 5227821"/>
              <a:gd name="connsiteY166" fmla="*/ 90370 h 1257266"/>
              <a:gd name="connsiteX167" fmla="*/ 4354509 w 5227821"/>
              <a:gd name="connsiteY167" fmla="*/ 86604 h 1257266"/>
              <a:gd name="connsiteX168" fmla="*/ 4331951 w 5227821"/>
              <a:gd name="connsiteY168" fmla="*/ 82839 h 1257266"/>
              <a:gd name="connsiteX169" fmla="*/ 4335710 w 5227821"/>
              <a:gd name="connsiteY169" fmla="*/ 67777 h 1257266"/>
              <a:gd name="connsiteX170" fmla="*/ 4474821 w 5227821"/>
              <a:gd name="connsiteY170" fmla="*/ 79073 h 1257266"/>
              <a:gd name="connsiteX171" fmla="*/ 4561295 w 5227821"/>
              <a:gd name="connsiteY171" fmla="*/ 90370 h 1257266"/>
              <a:gd name="connsiteX172" fmla="*/ 4681606 w 5227821"/>
              <a:gd name="connsiteY172" fmla="*/ 94135 h 1257266"/>
              <a:gd name="connsiteX173" fmla="*/ 4685366 w 5227821"/>
              <a:gd name="connsiteY173" fmla="*/ 97900 h 1257266"/>
              <a:gd name="connsiteX174" fmla="*/ 4801918 w 5227821"/>
              <a:gd name="connsiteY174" fmla="*/ 109197 h 1257266"/>
              <a:gd name="connsiteX175" fmla="*/ 4809437 w 5227821"/>
              <a:gd name="connsiteY175" fmla="*/ 112962 h 1257266"/>
              <a:gd name="connsiteX176" fmla="*/ 4824476 w 5227821"/>
              <a:gd name="connsiteY176" fmla="*/ 105431 h 1257266"/>
              <a:gd name="connsiteX177" fmla="*/ 4828236 w 5227821"/>
              <a:gd name="connsiteY177" fmla="*/ 109197 h 1257266"/>
              <a:gd name="connsiteX178" fmla="*/ 4805677 w 5227821"/>
              <a:gd name="connsiteY178" fmla="*/ 124258 h 1257266"/>
              <a:gd name="connsiteX179" fmla="*/ 4903431 w 5227821"/>
              <a:gd name="connsiteY179" fmla="*/ 124258 h 1257266"/>
              <a:gd name="connsiteX180" fmla="*/ 4925989 w 5227821"/>
              <a:gd name="connsiteY180" fmla="*/ 143085 h 1257266"/>
              <a:gd name="connsiteX181" fmla="*/ 4941028 w 5227821"/>
              <a:gd name="connsiteY181" fmla="*/ 143085 h 1257266"/>
              <a:gd name="connsiteX182" fmla="*/ 4922229 w 5227821"/>
              <a:gd name="connsiteY182" fmla="*/ 109197 h 1257266"/>
              <a:gd name="connsiteX183" fmla="*/ 4956067 w 5227821"/>
              <a:gd name="connsiteY183" fmla="*/ 97900 h 1257266"/>
              <a:gd name="connsiteX184" fmla="*/ 4959827 w 5227821"/>
              <a:gd name="connsiteY184" fmla="*/ 94135 h 1257266"/>
              <a:gd name="connsiteX185" fmla="*/ 4922229 w 5227821"/>
              <a:gd name="connsiteY185" fmla="*/ 97900 h 1257266"/>
              <a:gd name="connsiteX186" fmla="*/ 4903431 w 5227821"/>
              <a:gd name="connsiteY186" fmla="*/ 86604 h 1257266"/>
              <a:gd name="connsiteX187" fmla="*/ 4933509 w 5227821"/>
              <a:gd name="connsiteY187" fmla="*/ 75308 h 1257266"/>
              <a:gd name="connsiteX188" fmla="*/ 4929749 w 5227821"/>
              <a:gd name="connsiteY188" fmla="*/ 71543 h 1257266"/>
              <a:gd name="connsiteX189" fmla="*/ 5068859 w 5227821"/>
              <a:gd name="connsiteY189" fmla="*/ 79073 h 1257266"/>
              <a:gd name="connsiteX190" fmla="*/ 5061339 w 5227821"/>
              <a:gd name="connsiteY190" fmla="*/ 75308 h 1257266"/>
              <a:gd name="connsiteX191" fmla="*/ 5132775 w 5227821"/>
              <a:gd name="connsiteY191" fmla="*/ 75308 h 1257266"/>
              <a:gd name="connsiteX192" fmla="*/ 5136535 w 5227821"/>
              <a:gd name="connsiteY192" fmla="*/ 71543 h 1257266"/>
              <a:gd name="connsiteX193" fmla="*/ 5087658 w 5227821"/>
              <a:gd name="connsiteY193" fmla="*/ 71543 h 1257266"/>
              <a:gd name="connsiteX194" fmla="*/ 5189171 w 5227821"/>
              <a:gd name="connsiteY194" fmla="*/ 52716 h 1257266"/>
              <a:gd name="connsiteX195" fmla="*/ 5095177 w 5227821"/>
              <a:gd name="connsiteY195" fmla="*/ 101666 h 1257266"/>
              <a:gd name="connsiteX196" fmla="*/ 5065099 w 5227821"/>
              <a:gd name="connsiteY196" fmla="*/ 131789 h 1257266"/>
              <a:gd name="connsiteX197" fmla="*/ 4971106 w 5227821"/>
              <a:gd name="connsiteY197" fmla="*/ 161912 h 1257266"/>
              <a:gd name="connsiteX198" fmla="*/ 5035021 w 5227821"/>
              <a:gd name="connsiteY198" fmla="*/ 165678 h 1257266"/>
              <a:gd name="connsiteX199" fmla="*/ 5023743 w 5227821"/>
              <a:gd name="connsiteY199" fmla="*/ 184504 h 1257266"/>
              <a:gd name="connsiteX200" fmla="*/ 4869593 w 5227821"/>
              <a:gd name="connsiteY200" fmla="*/ 263578 h 1257266"/>
              <a:gd name="connsiteX201" fmla="*/ 4884632 w 5227821"/>
              <a:gd name="connsiteY201" fmla="*/ 267343 h 1257266"/>
              <a:gd name="connsiteX202" fmla="*/ 4798158 w 5227821"/>
              <a:gd name="connsiteY202" fmla="*/ 312528 h 1257266"/>
              <a:gd name="connsiteX203" fmla="*/ 4809437 w 5227821"/>
              <a:gd name="connsiteY203" fmla="*/ 316293 h 1257266"/>
              <a:gd name="connsiteX204" fmla="*/ 4783119 w 5227821"/>
              <a:gd name="connsiteY204" fmla="*/ 327589 h 1257266"/>
              <a:gd name="connsiteX205" fmla="*/ 4783119 w 5227821"/>
              <a:gd name="connsiteY205" fmla="*/ 304997 h 1257266"/>
              <a:gd name="connsiteX206" fmla="*/ 4760561 w 5227821"/>
              <a:gd name="connsiteY206" fmla="*/ 335120 h 1257266"/>
              <a:gd name="connsiteX207" fmla="*/ 4801918 w 5227821"/>
              <a:gd name="connsiteY207" fmla="*/ 342651 h 1257266"/>
              <a:gd name="connsiteX208" fmla="*/ 4801918 w 5227821"/>
              <a:gd name="connsiteY208" fmla="*/ 350182 h 1257266"/>
              <a:gd name="connsiteX209" fmla="*/ 4820717 w 5227821"/>
              <a:gd name="connsiteY209" fmla="*/ 346416 h 1257266"/>
              <a:gd name="connsiteX210" fmla="*/ 4816957 w 5227821"/>
              <a:gd name="connsiteY210" fmla="*/ 342651 h 1257266"/>
              <a:gd name="connsiteX211" fmla="*/ 4850795 w 5227821"/>
              <a:gd name="connsiteY211" fmla="*/ 342651 h 1257266"/>
              <a:gd name="connsiteX212" fmla="*/ 4850795 w 5227821"/>
              <a:gd name="connsiteY212" fmla="*/ 331355 h 1257266"/>
              <a:gd name="connsiteX213" fmla="*/ 4910950 w 5227821"/>
              <a:gd name="connsiteY213" fmla="*/ 323824 h 1257266"/>
              <a:gd name="connsiteX214" fmla="*/ 4918469 w 5227821"/>
              <a:gd name="connsiteY214" fmla="*/ 293701 h 1257266"/>
              <a:gd name="connsiteX215" fmla="*/ 4937269 w 5227821"/>
              <a:gd name="connsiteY215" fmla="*/ 278639 h 1257266"/>
              <a:gd name="connsiteX216" fmla="*/ 4941028 w 5227821"/>
              <a:gd name="connsiteY216" fmla="*/ 278639 h 1257266"/>
              <a:gd name="connsiteX217" fmla="*/ 4997424 w 5227821"/>
              <a:gd name="connsiteY217" fmla="*/ 256047 h 1257266"/>
              <a:gd name="connsiteX218" fmla="*/ 5042541 w 5227821"/>
              <a:gd name="connsiteY218" fmla="*/ 263578 h 1257266"/>
              <a:gd name="connsiteX219" fmla="*/ 5027502 w 5227821"/>
              <a:gd name="connsiteY219" fmla="*/ 278639 h 1257266"/>
              <a:gd name="connsiteX220" fmla="*/ 5061339 w 5227821"/>
              <a:gd name="connsiteY220" fmla="*/ 278639 h 1257266"/>
              <a:gd name="connsiteX221" fmla="*/ 5019983 w 5227821"/>
              <a:gd name="connsiteY221" fmla="*/ 323824 h 1257266"/>
              <a:gd name="connsiteX222" fmla="*/ 5012463 w 5227821"/>
              <a:gd name="connsiteY222" fmla="*/ 342651 h 1257266"/>
              <a:gd name="connsiteX223" fmla="*/ 5001184 w 5227821"/>
              <a:gd name="connsiteY223" fmla="*/ 335120 h 1257266"/>
              <a:gd name="connsiteX224" fmla="*/ 5001184 w 5227821"/>
              <a:gd name="connsiteY224" fmla="*/ 327589 h 1257266"/>
              <a:gd name="connsiteX225" fmla="*/ 4986145 w 5227821"/>
              <a:gd name="connsiteY225" fmla="*/ 335120 h 1257266"/>
              <a:gd name="connsiteX226" fmla="*/ 4978625 w 5227821"/>
              <a:gd name="connsiteY226" fmla="*/ 335120 h 1257266"/>
              <a:gd name="connsiteX227" fmla="*/ 4993665 w 5227821"/>
              <a:gd name="connsiteY227" fmla="*/ 301232 h 1257266"/>
              <a:gd name="connsiteX228" fmla="*/ 5008703 w 5227821"/>
              <a:gd name="connsiteY228" fmla="*/ 297466 h 1257266"/>
              <a:gd name="connsiteX229" fmla="*/ 5012463 w 5227821"/>
              <a:gd name="connsiteY229" fmla="*/ 286170 h 1257266"/>
              <a:gd name="connsiteX230" fmla="*/ 5027502 w 5227821"/>
              <a:gd name="connsiteY230" fmla="*/ 282405 h 1257266"/>
              <a:gd name="connsiteX231" fmla="*/ 4982385 w 5227821"/>
              <a:gd name="connsiteY231" fmla="*/ 286170 h 1257266"/>
              <a:gd name="connsiteX232" fmla="*/ 4888392 w 5227821"/>
              <a:gd name="connsiteY232" fmla="*/ 353947 h 1257266"/>
              <a:gd name="connsiteX233" fmla="*/ 4884632 w 5227821"/>
              <a:gd name="connsiteY233" fmla="*/ 365243 h 1257266"/>
              <a:gd name="connsiteX234" fmla="*/ 4869593 w 5227821"/>
              <a:gd name="connsiteY234" fmla="*/ 369009 h 1257266"/>
              <a:gd name="connsiteX235" fmla="*/ 4880873 w 5227821"/>
              <a:gd name="connsiteY235" fmla="*/ 380305 h 1257266"/>
              <a:gd name="connsiteX236" fmla="*/ 4865833 w 5227821"/>
              <a:gd name="connsiteY236" fmla="*/ 387836 h 1257266"/>
              <a:gd name="connsiteX237" fmla="*/ 4903431 w 5227821"/>
              <a:gd name="connsiteY237" fmla="*/ 391601 h 1257266"/>
              <a:gd name="connsiteX238" fmla="*/ 4929749 w 5227821"/>
              <a:gd name="connsiteY238" fmla="*/ 384070 h 1257266"/>
              <a:gd name="connsiteX239" fmla="*/ 4918469 w 5227821"/>
              <a:gd name="connsiteY239" fmla="*/ 395366 h 1257266"/>
              <a:gd name="connsiteX240" fmla="*/ 4925989 w 5227821"/>
              <a:gd name="connsiteY240" fmla="*/ 399132 h 1257266"/>
              <a:gd name="connsiteX241" fmla="*/ 4971106 w 5227821"/>
              <a:gd name="connsiteY241" fmla="*/ 380305 h 1257266"/>
              <a:gd name="connsiteX242" fmla="*/ 4967347 w 5227821"/>
              <a:gd name="connsiteY242" fmla="*/ 429255 h 1257266"/>
              <a:gd name="connsiteX243" fmla="*/ 5001184 w 5227821"/>
              <a:gd name="connsiteY243" fmla="*/ 391601 h 1257266"/>
              <a:gd name="connsiteX244" fmla="*/ 5012463 w 5227821"/>
              <a:gd name="connsiteY244" fmla="*/ 391601 h 1257266"/>
              <a:gd name="connsiteX245" fmla="*/ 4974865 w 5227821"/>
              <a:gd name="connsiteY245" fmla="*/ 466909 h 1257266"/>
              <a:gd name="connsiteX246" fmla="*/ 4971106 w 5227821"/>
              <a:gd name="connsiteY246" fmla="*/ 466909 h 1257266"/>
              <a:gd name="connsiteX247" fmla="*/ 4963587 w 5227821"/>
              <a:gd name="connsiteY247" fmla="*/ 470674 h 1257266"/>
              <a:gd name="connsiteX248" fmla="*/ 4952307 w 5227821"/>
              <a:gd name="connsiteY248" fmla="*/ 470674 h 1257266"/>
              <a:gd name="connsiteX249" fmla="*/ 4929749 w 5227821"/>
              <a:gd name="connsiteY249" fmla="*/ 474440 h 1257266"/>
              <a:gd name="connsiteX250" fmla="*/ 4952307 w 5227821"/>
              <a:gd name="connsiteY250" fmla="*/ 470674 h 1257266"/>
              <a:gd name="connsiteX251" fmla="*/ 4963587 w 5227821"/>
              <a:gd name="connsiteY251" fmla="*/ 470674 h 1257266"/>
              <a:gd name="connsiteX252" fmla="*/ 4967347 w 5227821"/>
              <a:gd name="connsiteY252" fmla="*/ 470674 h 1257266"/>
              <a:gd name="connsiteX253" fmla="*/ 4944788 w 5227821"/>
              <a:gd name="connsiteY253" fmla="*/ 481970 h 1257266"/>
              <a:gd name="connsiteX254" fmla="*/ 4959827 w 5227821"/>
              <a:gd name="connsiteY254" fmla="*/ 485736 h 1257266"/>
              <a:gd name="connsiteX255" fmla="*/ 4974865 w 5227821"/>
              <a:gd name="connsiteY255" fmla="*/ 474440 h 1257266"/>
              <a:gd name="connsiteX256" fmla="*/ 4978625 w 5227821"/>
              <a:gd name="connsiteY256" fmla="*/ 478205 h 1257266"/>
              <a:gd name="connsiteX257" fmla="*/ 4993665 w 5227821"/>
              <a:gd name="connsiteY257" fmla="*/ 455613 h 1257266"/>
              <a:gd name="connsiteX258" fmla="*/ 5004943 w 5227821"/>
              <a:gd name="connsiteY258" fmla="*/ 455613 h 1257266"/>
              <a:gd name="connsiteX259" fmla="*/ 5019983 w 5227821"/>
              <a:gd name="connsiteY259" fmla="*/ 497032 h 1257266"/>
              <a:gd name="connsiteX260" fmla="*/ 5046301 w 5227821"/>
              <a:gd name="connsiteY260" fmla="*/ 466909 h 1257266"/>
              <a:gd name="connsiteX261" fmla="*/ 5042541 w 5227821"/>
              <a:gd name="connsiteY261" fmla="*/ 451847 h 1257266"/>
              <a:gd name="connsiteX262" fmla="*/ 5065099 w 5227821"/>
              <a:gd name="connsiteY262" fmla="*/ 448082 h 1257266"/>
              <a:gd name="connsiteX263" fmla="*/ 5065099 w 5227821"/>
              <a:gd name="connsiteY263" fmla="*/ 474440 h 1257266"/>
              <a:gd name="connsiteX264" fmla="*/ 5080139 w 5227821"/>
              <a:gd name="connsiteY264" fmla="*/ 470674 h 1257266"/>
              <a:gd name="connsiteX265" fmla="*/ 5095177 w 5227821"/>
              <a:gd name="connsiteY265" fmla="*/ 497032 h 1257266"/>
              <a:gd name="connsiteX266" fmla="*/ 5072619 w 5227821"/>
              <a:gd name="connsiteY266" fmla="*/ 500797 h 1257266"/>
              <a:gd name="connsiteX267" fmla="*/ 5053821 w 5227821"/>
              <a:gd name="connsiteY267" fmla="*/ 493267 h 1257266"/>
              <a:gd name="connsiteX268" fmla="*/ 5019983 w 5227821"/>
              <a:gd name="connsiteY268" fmla="*/ 504563 h 1257266"/>
              <a:gd name="connsiteX269" fmla="*/ 5038781 w 5227821"/>
              <a:gd name="connsiteY269" fmla="*/ 504563 h 1257266"/>
              <a:gd name="connsiteX270" fmla="*/ 5035021 w 5227821"/>
              <a:gd name="connsiteY270" fmla="*/ 508328 h 1257266"/>
              <a:gd name="connsiteX271" fmla="*/ 5102697 w 5227821"/>
              <a:gd name="connsiteY271" fmla="*/ 508328 h 1257266"/>
              <a:gd name="connsiteX272" fmla="*/ 5110217 w 5227821"/>
              <a:gd name="connsiteY272" fmla="*/ 512094 h 1257266"/>
              <a:gd name="connsiteX273" fmla="*/ 5113976 w 5227821"/>
              <a:gd name="connsiteY273" fmla="*/ 508328 h 1257266"/>
              <a:gd name="connsiteX274" fmla="*/ 5125255 w 5227821"/>
              <a:gd name="connsiteY274" fmla="*/ 504563 h 1257266"/>
              <a:gd name="connsiteX275" fmla="*/ 5113976 w 5227821"/>
              <a:gd name="connsiteY275" fmla="*/ 504563 h 1257266"/>
              <a:gd name="connsiteX276" fmla="*/ 5117736 w 5227821"/>
              <a:gd name="connsiteY276" fmla="*/ 485736 h 1257266"/>
              <a:gd name="connsiteX277" fmla="*/ 5113976 w 5227821"/>
              <a:gd name="connsiteY277" fmla="*/ 444317 h 1257266"/>
              <a:gd name="connsiteX278" fmla="*/ 5159093 w 5227821"/>
              <a:gd name="connsiteY278" fmla="*/ 489501 h 1257266"/>
              <a:gd name="connsiteX279" fmla="*/ 5162853 w 5227821"/>
              <a:gd name="connsiteY279" fmla="*/ 485736 h 1257266"/>
              <a:gd name="connsiteX280" fmla="*/ 5170372 w 5227821"/>
              <a:gd name="connsiteY280" fmla="*/ 489501 h 1257266"/>
              <a:gd name="connsiteX281" fmla="*/ 5170372 w 5227821"/>
              <a:gd name="connsiteY281" fmla="*/ 519624 h 1257266"/>
              <a:gd name="connsiteX282" fmla="*/ 5162853 w 5227821"/>
              <a:gd name="connsiteY282" fmla="*/ 508328 h 1257266"/>
              <a:gd name="connsiteX283" fmla="*/ 5144054 w 5227821"/>
              <a:gd name="connsiteY283" fmla="*/ 549748 h 1257266"/>
              <a:gd name="connsiteX284" fmla="*/ 5110217 w 5227821"/>
              <a:gd name="connsiteY284" fmla="*/ 564809 h 1257266"/>
              <a:gd name="connsiteX285" fmla="*/ 5129015 w 5227821"/>
              <a:gd name="connsiteY285" fmla="*/ 606228 h 1257266"/>
              <a:gd name="connsiteX286" fmla="*/ 5159093 w 5227821"/>
              <a:gd name="connsiteY286" fmla="*/ 591167 h 1257266"/>
              <a:gd name="connsiteX287" fmla="*/ 5129015 w 5227821"/>
              <a:gd name="connsiteY287" fmla="*/ 617524 h 1257266"/>
              <a:gd name="connsiteX288" fmla="*/ 5136535 w 5227821"/>
              <a:gd name="connsiteY288" fmla="*/ 681536 h 1257266"/>
              <a:gd name="connsiteX289" fmla="*/ 5159093 w 5227821"/>
              <a:gd name="connsiteY289" fmla="*/ 692832 h 1257266"/>
              <a:gd name="connsiteX290" fmla="*/ 5207969 w 5227821"/>
              <a:gd name="connsiteY290" fmla="*/ 670240 h 1257266"/>
              <a:gd name="connsiteX291" fmla="*/ 5215489 w 5227821"/>
              <a:gd name="connsiteY291" fmla="*/ 674005 h 1257266"/>
              <a:gd name="connsiteX292" fmla="*/ 5223009 w 5227821"/>
              <a:gd name="connsiteY292" fmla="*/ 670240 h 1257266"/>
              <a:gd name="connsiteX293" fmla="*/ 5226769 w 5227821"/>
              <a:gd name="connsiteY293" fmla="*/ 704128 h 1257266"/>
              <a:gd name="connsiteX294" fmla="*/ 5129015 w 5227821"/>
              <a:gd name="connsiteY294" fmla="*/ 745548 h 1257266"/>
              <a:gd name="connsiteX295" fmla="*/ 5113976 w 5227821"/>
              <a:gd name="connsiteY295" fmla="*/ 745548 h 1257266"/>
              <a:gd name="connsiteX296" fmla="*/ 5117736 w 5227821"/>
              <a:gd name="connsiteY296" fmla="*/ 741782 h 1257266"/>
              <a:gd name="connsiteX297" fmla="*/ 5095177 w 5227821"/>
              <a:gd name="connsiteY297" fmla="*/ 741782 h 1257266"/>
              <a:gd name="connsiteX298" fmla="*/ 5038781 w 5227821"/>
              <a:gd name="connsiteY298" fmla="*/ 749313 h 1257266"/>
              <a:gd name="connsiteX299" fmla="*/ 5117736 w 5227821"/>
              <a:gd name="connsiteY299" fmla="*/ 756844 h 1257266"/>
              <a:gd name="connsiteX300" fmla="*/ 5016223 w 5227821"/>
              <a:gd name="connsiteY300" fmla="*/ 775671 h 1257266"/>
              <a:gd name="connsiteX301" fmla="*/ 4933509 w 5227821"/>
              <a:gd name="connsiteY301" fmla="*/ 768140 h 1257266"/>
              <a:gd name="connsiteX302" fmla="*/ 4892151 w 5227821"/>
              <a:gd name="connsiteY302" fmla="*/ 790732 h 1257266"/>
              <a:gd name="connsiteX303" fmla="*/ 4888392 w 5227821"/>
              <a:gd name="connsiteY303" fmla="*/ 786967 h 1257266"/>
              <a:gd name="connsiteX304" fmla="*/ 4869593 w 5227821"/>
              <a:gd name="connsiteY304" fmla="*/ 809559 h 1257266"/>
              <a:gd name="connsiteX305" fmla="*/ 4873353 w 5227821"/>
              <a:gd name="connsiteY305" fmla="*/ 813325 h 1257266"/>
              <a:gd name="connsiteX306" fmla="*/ 4831995 w 5227821"/>
              <a:gd name="connsiteY306" fmla="*/ 805794 h 1257266"/>
              <a:gd name="connsiteX307" fmla="*/ 4771840 w 5227821"/>
              <a:gd name="connsiteY307" fmla="*/ 820856 h 1257266"/>
              <a:gd name="connsiteX308" fmla="*/ 4764275 w 5227821"/>
              <a:gd name="connsiteY308" fmla="*/ 817267 h 1257266"/>
              <a:gd name="connsiteX309" fmla="*/ 4765000 w 5227821"/>
              <a:gd name="connsiteY309" fmla="*/ 823531 h 1257266"/>
              <a:gd name="connsiteX310" fmla="*/ 4797427 w 5227821"/>
              <a:gd name="connsiteY310" fmla="*/ 839063 h 1257266"/>
              <a:gd name="connsiteX311" fmla="*/ 4801187 w 5227821"/>
              <a:gd name="connsiteY311" fmla="*/ 835298 h 1257266"/>
              <a:gd name="connsiteX312" fmla="*/ 4808706 w 5227821"/>
              <a:gd name="connsiteY312" fmla="*/ 839063 h 1257266"/>
              <a:gd name="connsiteX313" fmla="*/ 4808706 w 5227821"/>
              <a:gd name="connsiteY313" fmla="*/ 869186 h 1257266"/>
              <a:gd name="connsiteX314" fmla="*/ 4801187 w 5227821"/>
              <a:gd name="connsiteY314" fmla="*/ 857890 h 1257266"/>
              <a:gd name="connsiteX315" fmla="*/ 4782388 w 5227821"/>
              <a:gd name="connsiteY315" fmla="*/ 899309 h 1257266"/>
              <a:gd name="connsiteX316" fmla="*/ 4748551 w 5227821"/>
              <a:gd name="connsiteY316" fmla="*/ 914371 h 1257266"/>
              <a:gd name="connsiteX317" fmla="*/ 4767349 w 5227821"/>
              <a:gd name="connsiteY317" fmla="*/ 955790 h 1257266"/>
              <a:gd name="connsiteX318" fmla="*/ 4797427 w 5227821"/>
              <a:gd name="connsiteY318" fmla="*/ 940729 h 1257266"/>
              <a:gd name="connsiteX319" fmla="*/ 4767349 w 5227821"/>
              <a:gd name="connsiteY319" fmla="*/ 967086 h 1257266"/>
              <a:gd name="connsiteX320" fmla="*/ 4774869 w 5227821"/>
              <a:gd name="connsiteY320" fmla="*/ 1031098 h 1257266"/>
              <a:gd name="connsiteX321" fmla="*/ 4797427 w 5227821"/>
              <a:gd name="connsiteY321" fmla="*/ 1042394 h 1257266"/>
              <a:gd name="connsiteX322" fmla="*/ 4846303 w 5227821"/>
              <a:gd name="connsiteY322" fmla="*/ 1019802 h 1257266"/>
              <a:gd name="connsiteX323" fmla="*/ 4853823 w 5227821"/>
              <a:gd name="connsiteY323" fmla="*/ 1023567 h 1257266"/>
              <a:gd name="connsiteX324" fmla="*/ 4861343 w 5227821"/>
              <a:gd name="connsiteY324" fmla="*/ 1019802 h 1257266"/>
              <a:gd name="connsiteX325" fmla="*/ 4865103 w 5227821"/>
              <a:gd name="connsiteY325" fmla="*/ 1053690 h 1257266"/>
              <a:gd name="connsiteX326" fmla="*/ 4767349 w 5227821"/>
              <a:gd name="connsiteY326" fmla="*/ 1095110 h 1257266"/>
              <a:gd name="connsiteX327" fmla="*/ 4752310 w 5227821"/>
              <a:gd name="connsiteY327" fmla="*/ 1095110 h 1257266"/>
              <a:gd name="connsiteX328" fmla="*/ 4756070 w 5227821"/>
              <a:gd name="connsiteY328" fmla="*/ 1091344 h 1257266"/>
              <a:gd name="connsiteX329" fmla="*/ 4733511 w 5227821"/>
              <a:gd name="connsiteY329" fmla="*/ 1091344 h 1257266"/>
              <a:gd name="connsiteX330" fmla="*/ 4677115 w 5227821"/>
              <a:gd name="connsiteY330" fmla="*/ 1098875 h 1257266"/>
              <a:gd name="connsiteX331" fmla="*/ 4756070 w 5227821"/>
              <a:gd name="connsiteY331" fmla="*/ 1106406 h 1257266"/>
              <a:gd name="connsiteX332" fmla="*/ 4654557 w 5227821"/>
              <a:gd name="connsiteY332" fmla="*/ 1125233 h 1257266"/>
              <a:gd name="connsiteX333" fmla="*/ 4571843 w 5227821"/>
              <a:gd name="connsiteY333" fmla="*/ 1117702 h 1257266"/>
              <a:gd name="connsiteX334" fmla="*/ 4530485 w 5227821"/>
              <a:gd name="connsiteY334" fmla="*/ 1140294 h 1257266"/>
              <a:gd name="connsiteX335" fmla="*/ 4526726 w 5227821"/>
              <a:gd name="connsiteY335" fmla="*/ 1136529 h 1257266"/>
              <a:gd name="connsiteX336" fmla="*/ 4507927 w 5227821"/>
              <a:gd name="connsiteY336" fmla="*/ 1159121 h 1257266"/>
              <a:gd name="connsiteX337" fmla="*/ 4511687 w 5227821"/>
              <a:gd name="connsiteY337" fmla="*/ 1162887 h 1257266"/>
              <a:gd name="connsiteX338" fmla="*/ 4470329 w 5227821"/>
              <a:gd name="connsiteY338" fmla="*/ 1155356 h 1257266"/>
              <a:gd name="connsiteX339" fmla="*/ 4410174 w 5227821"/>
              <a:gd name="connsiteY339" fmla="*/ 1170418 h 1257266"/>
              <a:gd name="connsiteX340" fmla="*/ 4406414 w 5227821"/>
              <a:gd name="connsiteY340" fmla="*/ 1159121 h 1257266"/>
              <a:gd name="connsiteX341" fmla="*/ 4342499 w 5227821"/>
              <a:gd name="connsiteY341" fmla="*/ 1159121 h 1257266"/>
              <a:gd name="connsiteX342" fmla="*/ 4350018 w 5227821"/>
              <a:gd name="connsiteY342" fmla="*/ 1166652 h 1257266"/>
              <a:gd name="connsiteX343" fmla="*/ 4282343 w 5227821"/>
              <a:gd name="connsiteY343" fmla="*/ 1170418 h 1257266"/>
              <a:gd name="connsiteX344" fmla="*/ 4297381 w 5227821"/>
              <a:gd name="connsiteY344" fmla="*/ 1177948 h 1257266"/>
              <a:gd name="connsiteX345" fmla="*/ 4229707 w 5227821"/>
              <a:gd name="connsiteY345" fmla="*/ 1177948 h 1257266"/>
              <a:gd name="connsiteX346" fmla="*/ 4146992 w 5227821"/>
              <a:gd name="connsiteY346" fmla="*/ 1200541 h 1257266"/>
              <a:gd name="connsiteX347" fmla="*/ 4041719 w 5227821"/>
              <a:gd name="connsiteY347" fmla="*/ 1215602 h 1257266"/>
              <a:gd name="connsiteX348" fmla="*/ 3665745 w 5227821"/>
              <a:gd name="connsiteY348" fmla="*/ 1249491 h 1257266"/>
              <a:gd name="connsiteX349" fmla="*/ 3673265 w 5227821"/>
              <a:gd name="connsiteY349" fmla="*/ 1245725 h 1257266"/>
              <a:gd name="connsiteX350" fmla="*/ 3349927 w 5227821"/>
              <a:gd name="connsiteY350" fmla="*/ 1257022 h 1257266"/>
              <a:gd name="connsiteX351" fmla="*/ 3500317 w 5227821"/>
              <a:gd name="connsiteY351" fmla="*/ 1234429 h 1257266"/>
              <a:gd name="connsiteX352" fmla="*/ 3244655 w 5227821"/>
              <a:gd name="connsiteY352" fmla="*/ 1241960 h 1257266"/>
              <a:gd name="connsiteX353" fmla="*/ 3316090 w 5227821"/>
              <a:gd name="connsiteY353" fmla="*/ 1226898 h 1257266"/>
              <a:gd name="connsiteX354" fmla="*/ 3327369 w 5227821"/>
              <a:gd name="connsiteY354" fmla="*/ 1234429 h 1257266"/>
              <a:gd name="connsiteX355" fmla="*/ 3410083 w 5227821"/>
              <a:gd name="connsiteY355" fmla="*/ 1215602 h 1257266"/>
              <a:gd name="connsiteX356" fmla="*/ 3410083 w 5227821"/>
              <a:gd name="connsiteY356" fmla="*/ 1208071 h 1257266"/>
              <a:gd name="connsiteX357" fmla="*/ 3996603 w 5227821"/>
              <a:gd name="connsiteY357" fmla="*/ 1147825 h 1257266"/>
              <a:gd name="connsiteX358" fmla="*/ 4056759 w 5227821"/>
              <a:gd name="connsiteY358" fmla="*/ 1136529 h 1257266"/>
              <a:gd name="connsiteX359" fmla="*/ 4037960 w 5227821"/>
              <a:gd name="connsiteY359" fmla="*/ 1132764 h 1257266"/>
              <a:gd name="connsiteX360" fmla="*/ 4064278 w 5227821"/>
              <a:gd name="connsiteY360" fmla="*/ 1132764 h 1257266"/>
              <a:gd name="connsiteX361" fmla="*/ 4068037 w 5227821"/>
              <a:gd name="connsiteY361" fmla="*/ 1132764 h 1257266"/>
              <a:gd name="connsiteX362" fmla="*/ 4105635 w 5227821"/>
              <a:gd name="connsiteY362" fmla="*/ 1121467 h 1257266"/>
              <a:gd name="connsiteX363" fmla="*/ 4064278 w 5227821"/>
              <a:gd name="connsiteY363" fmla="*/ 1121467 h 1257266"/>
              <a:gd name="connsiteX364" fmla="*/ 3985323 w 5227821"/>
              <a:gd name="connsiteY364" fmla="*/ 1121467 h 1257266"/>
              <a:gd name="connsiteX365" fmla="*/ 3631908 w 5227821"/>
              <a:gd name="connsiteY365" fmla="*/ 1132764 h 1257266"/>
              <a:gd name="connsiteX366" fmla="*/ 3470239 w 5227821"/>
              <a:gd name="connsiteY366" fmla="*/ 1140294 h 1257266"/>
              <a:gd name="connsiteX367" fmla="*/ 2981473 w 5227821"/>
              <a:gd name="connsiteY367" fmla="*/ 1170418 h 1257266"/>
              <a:gd name="connsiteX368" fmla="*/ 2789726 w 5227821"/>
              <a:gd name="connsiteY368" fmla="*/ 1166652 h 1257266"/>
              <a:gd name="connsiteX369" fmla="*/ 2519025 w 5227821"/>
              <a:gd name="connsiteY369" fmla="*/ 1159121 h 1257266"/>
              <a:gd name="connsiteX370" fmla="*/ 2511506 w 5227821"/>
              <a:gd name="connsiteY370" fmla="*/ 1162887 h 1257266"/>
              <a:gd name="connsiteX371" fmla="*/ 2488947 w 5227821"/>
              <a:gd name="connsiteY371" fmla="*/ 1166652 h 1257266"/>
              <a:gd name="connsiteX372" fmla="*/ 2368636 w 5227821"/>
              <a:gd name="connsiteY372" fmla="*/ 1177948 h 1257266"/>
              <a:gd name="connsiteX373" fmla="*/ 2225766 w 5227821"/>
              <a:gd name="connsiteY373" fmla="*/ 1196775 h 1257266"/>
              <a:gd name="connsiteX374" fmla="*/ 1466298 w 5227821"/>
              <a:gd name="connsiteY374" fmla="*/ 1189245 h 1257266"/>
              <a:gd name="connsiteX375" fmla="*/ 1259513 w 5227821"/>
              <a:gd name="connsiteY375" fmla="*/ 1177948 h 1257266"/>
              <a:gd name="connsiteX376" fmla="*/ 992571 w 5227821"/>
              <a:gd name="connsiteY376" fmla="*/ 1162887 h 1257266"/>
              <a:gd name="connsiteX377" fmla="*/ 891058 w 5227821"/>
              <a:gd name="connsiteY377" fmla="*/ 1155356 h 1257266"/>
              <a:gd name="connsiteX378" fmla="*/ 883995 w 5227821"/>
              <a:gd name="connsiteY378" fmla="*/ 1158893 h 1257266"/>
              <a:gd name="connsiteX379" fmla="*/ 876489 w 5227821"/>
              <a:gd name="connsiteY379" fmla="*/ 1158650 h 1257266"/>
              <a:gd name="connsiteX380" fmla="*/ 774506 w 5227821"/>
              <a:gd name="connsiteY380" fmla="*/ 1155356 h 1257266"/>
              <a:gd name="connsiteX381" fmla="*/ 710591 w 5227821"/>
              <a:gd name="connsiteY381" fmla="*/ 1166652 h 1257266"/>
              <a:gd name="connsiteX382" fmla="*/ 530123 w 5227821"/>
              <a:gd name="connsiteY382" fmla="*/ 1166652 h 1257266"/>
              <a:gd name="connsiteX383" fmla="*/ 511325 w 5227821"/>
              <a:gd name="connsiteY383" fmla="*/ 1170418 h 1257266"/>
              <a:gd name="connsiteX384" fmla="*/ 507565 w 5227821"/>
              <a:gd name="connsiteY384" fmla="*/ 1170418 h 1257266"/>
              <a:gd name="connsiteX385" fmla="*/ 488766 w 5227821"/>
              <a:gd name="connsiteY385" fmla="*/ 1174183 h 1257266"/>
              <a:gd name="connsiteX386" fmla="*/ 424851 w 5227821"/>
              <a:gd name="connsiteY386" fmla="*/ 1170418 h 1257266"/>
              <a:gd name="connsiteX387" fmla="*/ 421091 w 5227821"/>
              <a:gd name="connsiteY387" fmla="*/ 1162887 h 1257266"/>
              <a:gd name="connsiteX388" fmla="*/ 398533 w 5227821"/>
              <a:gd name="connsiteY388" fmla="*/ 1170418 h 1257266"/>
              <a:gd name="connsiteX389" fmla="*/ 357175 w 5227821"/>
              <a:gd name="connsiteY389" fmla="*/ 1159121 h 1257266"/>
              <a:gd name="connsiteX390" fmla="*/ 334617 w 5227821"/>
              <a:gd name="connsiteY390" fmla="*/ 1162887 h 1257266"/>
              <a:gd name="connsiteX391" fmla="*/ 338376 w 5227821"/>
              <a:gd name="connsiteY391" fmla="*/ 1155356 h 1257266"/>
              <a:gd name="connsiteX392" fmla="*/ 300779 w 5227821"/>
              <a:gd name="connsiteY392" fmla="*/ 1155356 h 1257266"/>
              <a:gd name="connsiteX393" fmla="*/ 233104 w 5227821"/>
              <a:gd name="connsiteY393" fmla="*/ 1140294 h 1257266"/>
              <a:gd name="connsiteX394" fmla="*/ 353415 w 5227821"/>
              <a:gd name="connsiteY394" fmla="*/ 1125233 h 1257266"/>
              <a:gd name="connsiteX395" fmla="*/ 315818 w 5227821"/>
              <a:gd name="connsiteY395" fmla="*/ 1125233 h 1257266"/>
              <a:gd name="connsiteX396" fmla="*/ 327097 w 5227821"/>
              <a:gd name="connsiteY396" fmla="*/ 1110171 h 1257266"/>
              <a:gd name="connsiteX397" fmla="*/ 274461 w 5227821"/>
              <a:gd name="connsiteY397" fmla="*/ 1102641 h 1257266"/>
              <a:gd name="connsiteX398" fmla="*/ 387253 w 5227821"/>
              <a:gd name="connsiteY398" fmla="*/ 1095110 h 1257266"/>
              <a:gd name="connsiteX399" fmla="*/ 334617 w 5227821"/>
              <a:gd name="connsiteY399" fmla="*/ 1095110 h 1257266"/>
              <a:gd name="connsiteX400" fmla="*/ 312058 w 5227821"/>
              <a:gd name="connsiteY400" fmla="*/ 1083814 h 1257266"/>
              <a:gd name="connsiteX401" fmla="*/ 338376 w 5227821"/>
              <a:gd name="connsiteY401" fmla="*/ 1072517 h 1257266"/>
              <a:gd name="connsiteX402" fmla="*/ 372214 w 5227821"/>
              <a:gd name="connsiteY402" fmla="*/ 1046160 h 1257266"/>
              <a:gd name="connsiteX403" fmla="*/ 293259 w 5227821"/>
              <a:gd name="connsiteY403" fmla="*/ 1064987 h 1257266"/>
              <a:gd name="connsiteX404" fmla="*/ 281980 w 5227821"/>
              <a:gd name="connsiteY404" fmla="*/ 1034863 h 1257266"/>
              <a:gd name="connsiteX405" fmla="*/ 308298 w 5227821"/>
              <a:gd name="connsiteY405" fmla="*/ 985913 h 1257266"/>
              <a:gd name="connsiteX406" fmla="*/ 323337 w 5227821"/>
              <a:gd name="connsiteY406" fmla="*/ 978383 h 1257266"/>
              <a:gd name="connsiteX407" fmla="*/ 263181 w 5227821"/>
              <a:gd name="connsiteY407" fmla="*/ 970852 h 1257266"/>
              <a:gd name="connsiteX408" fmla="*/ 300779 w 5227821"/>
              <a:gd name="connsiteY408" fmla="*/ 918136 h 1257266"/>
              <a:gd name="connsiteX409" fmla="*/ 330857 w 5227821"/>
              <a:gd name="connsiteY409" fmla="*/ 914371 h 1257266"/>
              <a:gd name="connsiteX410" fmla="*/ 67675 w 5227821"/>
              <a:gd name="connsiteY410" fmla="*/ 831532 h 1257266"/>
              <a:gd name="connsiteX411" fmla="*/ 11279 w 5227821"/>
              <a:gd name="connsiteY411" fmla="*/ 824001 h 1257266"/>
              <a:gd name="connsiteX412" fmla="*/ 0 w 5227821"/>
              <a:gd name="connsiteY412" fmla="*/ 820236 h 1257266"/>
              <a:gd name="connsiteX413" fmla="*/ 30078 w 5227821"/>
              <a:gd name="connsiteY413" fmla="*/ 820236 h 1257266"/>
              <a:gd name="connsiteX414" fmla="*/ 33837 w 5227821"/>
              <a:gd name="connsiteY414" fmla="*/ 824001 h 1257266"/>
              <a:gd name="connsiteX415" fmla="*/ 45117 w 5227821"/>
              <a:gd name="connsiteY415" fmla="*/ 820236 h 1257266"/>
              <a:gd name="connsiteX416" fmla="*/ 45117 w 5227821"/>
              <a:gd name="connsiteY416" fmla="*/ 812705 h 1257266"/>
              <a:gd name="connsiteX417" fmla="*/ 236863 w 5227821"/>
              <a:gd name="connsiteY417" fmla="*/ 865421 h 1257266"/>
              <a:gd name="connsiteX418" fmla="*/ 240623 w 5227821"/>
              <a:gd name="connsiteY418" fmla="*/ 861655 h 1257266"/>
              <a:gd name="connsiteX419" fmla="*/ 259422 w 5227821"/>
              <a:gd name="connsiteY419" fmla="*/ 869186 h 1257266"/>
              <a:gd name="connsiteX420" fmla="*/ 270701 w 5227821"/>
              <a:gd name="connsiteY420" fmla="*/ 861655 h 1257266"/>
              <a:gd name="connsiteX421" fmla="*/ 274461 w 5227821"/>
              <a:gd name="connsiteY421" fmla="*/ 865421 h 1257266"/>
              <a:gd name="connsiteX422" fmla="*/ 278220 w 5227821"/>
              <a:gd name="connsiteY422" fmla="*/ 861655 h 1257266"/>
              <a:gd name="connsiteX423" fmla="*/ 233104 w 5227821"/>
              <a:gd name="connsiteY423" fmla="*/ 857890 h 1257266"/>
              <a:gd name="connsiteX424" fmla="*/ 278220 w 5227821"/>
              <a:gd name="connsiteY424" fmla="*/ 842828 h 1257266"/>
              <a:gd name="connsiteX425" fmla="*/ 293259 w 5227821"/>
              <a:gd name="connsiteY425" fmla="*/ 842828 h 1257266"/>
              <a:gd name="connsiteX426" fmla="*/ 278220 w 5227821"/>
              <a:gd name="connsiteY426" fmla="*/ 854125 h 1257266"/>
              <a:gd name="connsiteX427" fmla="*/ 312058 w 5227821"/>
              <a:gd name="connsiteY427" fmla="*/ 857890 h 1257266"/>
              <a:gd name="connsiteX428" fmla="*/ 312058 w 5227821"/>
              <a:gd name="connsiteY428" fmla="*/ 842828 h 1257266"/>
              <a:gd name="connsiteX429" fmla="*/ 308298 w 5227821"/>
              <a:gd name="connsiteY429" fmla="*/ 839063 h 1257266"/>
              <a:gd name="connsiteX430" fmla="*/ 304539 w 5227821"/>
              <a:gd name="connsiteY430" fmla="*/ 839063 h 1257266"/>
              <a:gd name="connsiteX431" fmla="*/ 308298 w 5227821"/>
              <a:gd name="connsiteY431" fmla="*/ 835298 h 1257266"/>
              <a:gd name="connsiteX432" fmla="*/ 297019 w 5227821"/>
              <a:gd name="connsiteY432" fmla="*/ 831532 h 1257266"/>
              <a:gd name="connsiteX433" fmla="*/ 270701 w 5227821"/>
              <a:gd name="connsiteY433" fmla="*/ 835298 h 1257266"/>
              <a:gd name="connsiteX434" fmla="*/ 312058 w 5227821"/>
              <a:gd name="connsiteY434" fmla="*/ 820236 h 1257266"/>
              <a:gd name="connsiteX435" fmla="*/ 308298 w 5227821"/>
              <a:gd name="connsiteY435" fmla="*/ 816471 h 1257266"/>
              <a:gd name="connsiteX436" fmla="*/ 353415 w 5227821"/>
              <a:gd name="connsiteY436" fmla="*/ 793878 h 1257266"/>
              <a:gd name="connsiteX437" fmla="*/ 334617 w 5227821"/>
              <a:gd name="connsiteY437" fmla="*/ 790113 h 1257266"/>
              <a:gd name="connsiteX438" fmla="*/ 233104 w 5227821"/>
              <a:gd name="connsiteY438" fmla="*/ 824001 h 1257266"/>
              <a:gd name="connsiteX439" fmla="*/ 161669 w 5227821"/>
              <a:gd name="connsiteY439" fmla="*/ 839063 h 1257266"/>
              <a:gd name="connsiteX440" fmla="*/ 184227 w 5227821"/>
              <a:gd name="connsiteY440" fmla="*/ 827767 h 1257266"/>
              <a:gd name="connsiteX441" fmla="*/ 176707 w 5227821"/>
              <a:gd name="connsiteY441" fmla="*/ 827767 h 1257266"/>
              <a:gd name="connsiteX442" fmla="*/ 251902 w 5227821"/>
              <a:gd name="connsiteY442" fmla="*/ 805175 h 1257266"/>
              <a:gd name="connsiteX443" fmla="*/ 274461 w 5227821"/>
              <a:gd name="connsiteY443" fmla="*/ 797644 h 1257266"/>
              <a:gd name="connsiteX444" fmla="*/ 281980 w 5227821"/>
              <a:gd name="connsiteY444" fmla="*/ 797644 h 1257266"/>
              <a:gd name="connsiteX445" fmla="*/ 297019 w 5227821"/>
              <a:gd name="connsiteY445" fmla="*/ 790113 h 1257266"/>
              <a:gd name="connsiteX446" fmla="*/ 293259 w 5227821"/>
              <a:gd name="connsiteY446" fmla="*/ 786348 h 1257266"/>
              <a:gd name="connsiteX447" fmla="*/ 327097 w 5227821"/>
              <a:gd name="connsiteY447" fmla="*/ 763755 h 1257266"/>
              <a:gd name="connsiteX448" fmla="*/ 236863 w 5227821"/>
              <a:gd name="connsiteY448" fmla="*/ 786348 h 1257266"/>
              <a:gd name="connsiteX449" fmla="*/ 199266 w 5227821"/>
              <a:gd name="connsiteY449" fmla="*/ 790113 h 1257266"/>
              <a:gd name="connsiteX450" fmla="*/ 330857 w 5227821"/>
              <a:gd name="connsiteY450" fmla="*/ 726101 h 1257266"/>
              <a:gd name="connsiteX451" fmla="*/ 357175 w 5227821"/>
              <a:gd name="connsiteY451" fmla="*/ 699743 h 1257266"/>
              <a:gd name="connsiteX452" fmla="*/ 364695 w 5227821"/>
              <a:gd name="connsiteY452" fmla="*/ 699743 h 1257266"/>
              <a:gd name="connsiteX453" fmla="*/ 364695 w 5227821"/>
              <a:gd name="connsiteY453" fmla="*/ 688447 h 1257266"/>
              <a:gd name="connsiteX454" fmla="*/ 402292 w 5227821"/>
              <a:gd name="connsiteY454" fmla="*/ 650793 h 1257266"/>
              <a:gd name="connsiteX455" fmla="*/ 511325 w 5227821"/>
              <a:gd name="connsiteY455" fmla="*/ 579251 h 1257266"/>
              <a:gd name="connsiteX456" fmla="*/ 551742 w 5227821"/>
              <a:gd name="connsiteY456" fmla="*/ 534537 h 1257266"/>
              <a:gd name="connsiteX457" fmla="*/ 561872 w 5227821"/>
              <a:gd name="connsiteY457" fmla="*/ 527136 h 1257266"/>
              <a:gd name="connsiteX458" fmla="*/ 558113 w 5227821"/>
              <a:gd name="connsiteY458" fmla="*/ 526214 h 1257266"/>
              <a:gd name="connsiteX459" fmla="*/ 429342 w 5227821"/>
              <a:gd name="connsiteY459" fmla="*/ 481970 h 1257266"/>
              <a:gd name="connsiteX460" fmla="*/ 372945 w 5227821"/>
              <a:gd name="connsiteY460" fmla="*/ 474440 h 1257266"/>
              <a:gd name="connsiteX461" fmla="*/ 361666 w 5227821"/>
              <a:gd name="connsiteY461" fmla="*/ 470674 h 1257266"/>
              <a:gd name="connsiteX462" fmla="*/ 391744 w 5227821"/>
              <a:gd name="connsiteY462" fmla="*/ 470674 h 1257266"/>
              <a:gd name="connsiteX463" fmla="*/ 395504 w 5227821"/>
              <a:gd name="connsiteY463" fmla="*/ 474440 h 1257266"/>
              <a:gd name="connsiteX464" fmla="*/ 406783 w 5227821"/>
              <a:gd name="connsiteY464" fmla="*/ 470674 h 1257266"/>
              <a:gd name="connsiteX465" fmla="*/ 406783 w 5227821"/>
              <a:gd name="connsiteY465" fmla="*/ 463144 h 1257266"/>
              <a:gd name="connsiteX466" fmla="*/ 495607 w 5227821"/>
              <a:gd name="connsiteY466" fmla="*/ 493737 h 1257266"/>
              <a:gd name="connsiteX467" fmla="*/ 582131 w 5227821"/>
              <a:gd name="connsiteY467" fmla="*/ 512335 h 1257266"/>
              <a:gd name="connsiteX468" fmla="*/ 609078 w 5227821"/>
              <a:gd name="connsiteY468" fmla="*/ 492647 h 1257266"/>
              <a:gd name="connsiteX469" fmla="*/ 618947 w 5227821"/>
              <a:gd name="connsiteY469" fmla="*/ 494530 h 1257266"/>
              <a:gd name="connsiteX470" fmla="*/ 624178 w 5227821"/>
              <a:gd name="connsiteY470" fmla="*/ 495306 h 1257266"/>
              <a:gd name="connsiteX471" fmla="*/ 639060 w 5227821"/>
              <a:gd name="connsiteY471" fmla="*/ 493374 h 1257266"/>
              <a:gd name="connsiteX472" fmla="*/ 653196 w 5227821"/>
              <a:gd name="connsiteY472" fmla="*/ 487588 h 1257266"/>
              <a:gd name="connsiteX473" fmla="*/ 661962 w 5227821"/>
              <a:gd name="connsiteY473" fmla="*/ 483064 h 1257266"/>
              <a:gd name="connsiteX474" fmla="*/ 658686 w 5227821"/>
              <a:gd name="connsiteY474" fmla="*/ 481970 h 1257266"/>
              <a:gd name="connsiteX475" fmla="*/ 632367 w 5227821"/>
              <a:gd name="connsiteY475" fmla="*/ 485736 h 1257266"/>
              <a:gd name="connsiteX476" fmla="*/ 673725 w 5227821"/>
              <a:gd name="connsiteY476" fmla="*/ 470674 h 1257266"/>
              <a:gd name="connsiteX477" fmla="*/ 669965 w 5227821"/>
              <a:gd name="connsiteY477" fmla="*/ 466909 h 1257266"/>
              <a:gd name="connsiteX478" fmla="*/ 715082 w 5227821"/>
              <a:gd name="connsiteY478" fmla="*/ 444317 h 1257266"/>
              <a:gd name="connsiteX479" fmla="*/ 696283 w 5227821"/>
              <a:gd name="connsiteY479" fmla="*/ 440551 h 1257266"/>
              <a:gd name="connsiteX480" fmla="*/ 594770 w 5227821"/>
              <a:gd name="connsiteY480" fmla="*/ 474440 h 1257266"/>
              <a:gd name="connsiteX481" fmla="*/ 523335 w 5227821"/>
              <a:gd name="connsiteY481" fmla="*/ 489501 h 1257266"/>
              <a:gd name="connsiteX482" fmla="*/ 545893 w 5227821"/>
              <a:gd name="connsiteY482" fmla="*/ 478205 h 1257266"/>
              <a:gd name="connsiteX483" fmla="*/ 538374 w 5227821"/>
              <a:gd name="connsiteY483" fmla="*/ 478205 h 1257266"/>
              <a:gd name="connsiteX484" fmla="*/ 613569 w 5227821"/>
              <a:gd name="connsiteY484" fmla="*/ 455613 h 1257266"/>
              <a:gd name="connsiteX485" fmla="*/ 636127 w 5227821"/>
              <a:gd name="connsiteY485" fmla="*/ 448082 h 1257266"/>
              <a:gd name="connsiteX486" fmla="*/ 643647 w 5227821"/>
              <a:gd name="connsiteY486" fmla="*/ 448082 h 1257266"/>
              <a:gd name="connsiteX487" fmla="*/ 658686 w 5227821"/>
              <a:gd name="connsiteY487" fmla="*/ 440551 h 1257266"/>
              <a:gd name="connsiteX488" fmla="*/ 654926 w 5227821"/>
              <a:gd name="connsiteY488" fmla="*/ 436786 h 1257266"/>
              <a:gd name="connsiteX489" fmla="*/ 688764 w 5227821"/>
              <a:gd name="connsiteY489" fmla="*/ 414193 h 1257266"/>
              <a:gd name="connsiteX490" fmla="*/ 598530 w 5227821"/>
              <a:gd name="connsiteY490" fmla="*/ 436786 h 1257266"/>
              <a:gd name="connsiteX491" fmla="*/ 560932 w 5227821"/>
              <a:gd name="connsiteY491" fmla="*/ 440551 h 1257266"/>
              <a:gd name="connsiteX492" fmla="*/ 692523 w 5227821"/>
              <a:gd name="connsiteY492" fmla="*/ 376539 h 1257266"/>
              <a:gd name="connsiteX493" fmla="*/ 718841 w 5227821"/>
              <a:gd name="connsiteY493" fmla="*/ 350182 h 1257266"/>
              <a:gd name="connsiteX494" fmla="*/ 726361 w 5227821"/>
              <a:gd name="connsiteY494" fmla="*/ 350182 h 1257266"/>
              <a:gd name="connsiteX495" fmla="*/ 726361 w 5227821"/>
              <a:gd name="connsiteY495" fmla="*/ 338886 h 1257266"/>
              <a:gd name="connsiteX496" fmla="*/ 763958 w 5227821"/>
              <a:gd name="connsiteY496" fmla="*/ 301232 h 1257266"/>
              <a:gd name="connsiteX497" fmla="*/ 872991 w 5227821"/>
              <a:gd name="connsiteY497" fmla="*/ 229689 h 1257266"/>
              <a:gd name="connsiteX498" fmla="*/ 970744 w 5227821"/>
              <a:gd name="connsiteY498" fmla="*/ 143085 h 1257266"/>
              <a:gd name="connsiteX499" fmla="*/ 993302 w 5227821"/>
              <a:gd name="connsiteY499" fmla="*/ 146851 h 1257266"/>
              <a:gd name="connsiteX500" fmla="*/ 1087296 w 5227821"/>
              <a:gd name="connsiteY500" fmla="*/ 124258 h 1257266"/>
              <a:gd name="connsiteX501" fmla="*/ 1109854 w 5227821"/>
              <a:gd name="connsiteY501" fmla="*/ 120493 h 1257266"/>
              <a:gd name="connsiteX502" fmla="*/ 1109854 w 5227821"/>
              <a:gd name="connsiteY502" fmla="*/ 112962 h 1257266"/>
              <a:gd name="connsiteX503" fmla="*/ 1173770 w 5227821"/>
              <a:gd name="connsiteY503" fmla="*/ 120493 h 1257266"/>
              <a:gd name="connsiteX504" fmla="*/ 1166250 w 5227821"/>
              <a:gd name="connsiteY504" fmla="*/ 131789 h 1257266"/>
              <a:gd name="connsiteX505" fmla="*/ 1290322 w 5227821"/>
              <a:gd name="connsiteY505" fmla="*/ 154381 h 1257266"/>
              <a:gd name="connsiteX506" fmla="*/ 1286562 w 5227821"/>
              <a:gd name="connsiteY506" fmla="*/ 158147 h 1257266"/>
              <a:gd name="connsiteX507" fmla="*/ 1316640 w 5227821"/>
              <a:gd name="connsiteY507" fmla="*/ 161912 h 1257266"/>
              <a:gd name="connsiteX508" fmla="*/ 1399354 w 5227821"/>
              <a:gd name="connsiteY508" fmla="*/ 101666 h 1257266"/>
              <a:gd name="connsiteX509" fmla="*/ 1380555 w 5227821"/>
              <a:gd name="connsiteY509" fmla="*/ 82839 h 1257266"/>
              <a:gd name="connsiteX510" fmla="*/ 1369276 w 5227821"/>
              <a:gd name="connsiteY510" fmla="*/ 90370 h 1257266"/>
              <a:gd name="connsiteX511" fmla="*/ 1369276 w 5227821"/>
              <a:gd name="connsiteY511" fmla="*/ 86604 h 1257266"/>
              <a:gd name="connsiteX512" fmla="*/ 1275283 w 5227821"/>
              <a:gd name="connsiteY512" fmla="*/ 86604 h 1257266"/>
              <a:gd name="connsiteX513" fmla="*/ 1252724 w 5227821"/>
              <a:gd name="connsiteY513" fmla="*/ 97900 h 1257266"/>
              <a:gd name="connsiteX514" fmla="*/ 1282802 w 5227821"/>
              <a:gd name="connsiteY514" fmla="*/ 71543 h 1257266"/>
              <a:gd name="connsiteX515" fmla="*/ 1309120 w 5227821"/>
              <a:gd name="connsiteY515" fmla="*/ 67777 h 1257266"/>
              <a:gd name="connsiteX516" fmla="*/ 1399354 w 5227821"/>
              <a:gd name="connsiteY516" fmla="*/ 82839 h 1257266"/>
              <a:gd name="connsiteX517" fmla="*/ 1455750 w 5227821"/>
              <a:gd name="connsiteY517" fmla="*/ 56481 h 1257266"/>
              <a:gd name="connsiteX518" fmla="*/ 1440711 w 5227821"/>
              <a:gd name="connsiteY518" fmla="*/ 52716 h 1257266"/>
              <a:gd name="connsiteX519" fmla="*/ 1508387 w 5227821"/>
              <a:gd name="connsiteY519" fmla="*/ 22593 h 1257266"/>
              <a:gd name="connsiteX520" fmla="*/ 1474549 w 5227821"/>
              <a:gd name="connsiteY520" fmla="*/ 18827 h 1257266"/>
              <a:gd name="connsiteX521" fmla="*/ 1594861 w 5227821"/>
              <a:gd name="connsiteY521" fmla="*/ 0 h 1257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</a:cxnLst>
            <a:rect l="l" t="t" r="r" b="b"/>
            <a:pathLst>
              <a:path w="5227821" h="1257266">
                <a:moveTo>
                  <a:pt x="883995" y="1158893"/>
                </a:moveTo>
                <a:lnTo>
                  <a:pt x="891058" y="1159121"/>
                </a:lnTo>
                <a:cubicBezTo>
                  <a:pt x="883539" y="1159121"/>
                  <a:pt x="883539" y="1159121"/>
                  <a:pt x="883539" y="1159121"/>
                </a:cubicBezTo>
                <a:close/>
                <a:moveTo>
                  <a:pt x="4615788" y="826594"/>
                </a:moveTo>
                <a:lnTo>
                  <a:pt x="4616959" y="827767"/>
                </a:lnTo>
                <a:lnTo>
                  <a:pt x="4617450" y="827029"/>
                </a:lnTo>
                <a:close/>
                <a:moveTo>
                  <a:pt x="4610559" y="825984"/>
                </a:moveTo>
                <a:lnTo>
                  <a:pt x="4591373" y="828386"/>
                </a:lnTo>
                <a:lnTo>
                  <a:pt x="4584680" y="830752"/>
                </a:lnTo>
                <a:lnTo>
                  <a:pt x="4583122" y="831532"/>
                </a:lnTo>
                <a:cubicBezTo>
                  <a:pt x="4583122" y="835298"/>
                  <a:pt x="4590641" y="835298"/>
                  <a:pt x="4598161" y="835298"/>
                </a:cubicBezTo>
                <a:cubicBezTo>
                  <a:pt x="4598161" y="835298"/>
                  <a:pt x="4598161" y="835298"/>
                  <a:pt x="4600041" y="833886"/>
                </a:cubicBezTo>
                <a:close/>
                <a:moveTo>
                  <a:pt x="4763331" y="809097"/>
                </a:moveTo>
                <a:lnTo>
                  <a:pt x="4764025" y="815097"/>
                </a:lnTo>
                <a:lnTo>
                  <a:pt x="4768080" y="809559"/>
                </a:lnTo>
                <a:close/>
                <a:moveTo>
                  <a:pt x="4653526" y="808089"/>
                </a:moveTo>
                <a:cubicBezTo>
                  <a:pt x="4649178" y="809559"/>
                  <a:pt x="4645889" y="813325"/>
                  <a:pt x="4644009" y="820856"/>
                </a:cubicBezTo>
                <a:cubicBezTo>
                  <a:pt x="4647769" y="824621"/>
                  <a:pt x="4655288" y="824621"/>
                  <a:pt x="4659047" y="828386"/>
                </a:cubicBezTo>
                <a:lnTo>
                  <a:pt x="4642634" y="833009"/>
                </a:lnTo>
                <a:lnTo>
                  <a:pt x="4658317" y="846594"/>
                </a:lnTo>
                <a:cubicBezTo>
                  <a:pt x="4680875" y="839063"/>
                  <a:pt x="4677115" y="827767"/>
                  <a:pt x="4684635" y="816471"/>
                </a:cubicBezTo>
                <a:lnTo>
                  <a:pt x="4683861" y="813370"/>
                </a:lnTo>
                <a:lnTo>
                  <a:pt x="4669387" y="809089"/>
                </a:lnTo>
                <a:cubicBezTo>
                  <a:pt x="4663277" y="807441"/>
                  <a:pt x="4657873" y="806618"/>
                  <a:pt x="4653526" y="808089"/>
                </a:cubicBezTo>
                <a:close/>
                <a:moveTo>
                  <a:pt x="4720496" y="800558"/>
                </a:moveTo>
                <a:cubicBezTo>
                  <a:pt x="4715209" y="801322"/>
                  <a:pt x="4709804" y="803911"/>
                  <a:pt x="4704165" y="809559"/>
                </a:cubicBezTo>
                <a:cubicBezTo>
                  <a:pt x="4704165" y="809559"/>
                  <a:pt x="4704165" y="809559"/>
                  <a:pt x="4711684" y="817090"/>
                </a:cubicBezTo>
                <a:lnTo>
                  <a:pt x="4703433" y="816325"/>
                </a:lnTo>
                <a:lnTo>
                  <a:pt x="4703433" y="824001"/>
                </a:lnTo>
                <a:cubicBezTo>
                  <a:pt x="4703433" y="824001"/>
                  <a:pt x="4703433" y="824001"/>
                  <a:pt x="4718473" y="820236"/>
                </a:cubicBezTo>
                <a:cubicBezTo>
                  <a:pt x="4725992" y="827767"/>
                  <a:pt x="4729751" y="839063"/>
                  <a:pt x="4733511" y="846594"/>
                </a:cubicBezTo>
                <a:cubicBezTo>
                  <a:pt x="4725992" y="842828"/>
                  <a:pt x="4718473" y="842828"/>
                  <a:pt x="4710953" y="850359"/>
                </a:cubicBezTo>
                <a:cubicBezTo>
                  <a:pt x="4710953" y="850359"/>
                  <a:pt x="4710953" y="850359"/>
                  <a:pt x="4692155" y="842828"/>
                </a:cubicBezTo>
                <a:cubicBezTo>
                  <a:pt x="4680875" y="846594"/>
                  <a:pt x="4665836" y="846594"/>
                  <a:pt x="4658317" y="854125"/>
                </a:cubicBezTo>
                <a:cubicBezTo>
                  <a:pt x="4658317" y="854125"/>
                  <a:pt x="4658317" y="854125"/>
                  <a:pt x="4677115" y="854125"/>
                </a:cubicBezTo>
                <a:cubicBezTo>
                  <a:pt x="4677115" y="854125"/>
                  <a:pt x="4677115" y="854125"/>
                  <a:pt x="4673355" y="857890"/>
                </a:cubicBezTo>
                <a:cubicBezTo>
                  <a:pt x="4707193" y="854125"/>
                  <a:pt x="4722232" y="861655"/>
                  <a:pt x="4741031" y="857890"/>
                </a:cubicBezTo>
                <a:cubicBezTo>
                  <a:pt x="4744791" y="861655"/>
                  <a:pt x="4744791" y="861655"/>
                  <a:pt x="4748551" y="861655"/>
                </a:cubicBezTo>
                <a:cubicBezTo>
                  <a:pt x="4752310" y="861655"/>
                  <a:pt x="4752310" y="857890"/>
                  <a:pt x="4752310" y="857890"/>
                </a:cubicBezTo>
                <a:cubicBezTo>
                  <a:pt x="4756070" y="854125"/>
                  <a:pt x="4759829" y="854125"/>
                  <a:pt x="4763589" y="854125"/>
                </a:cubicBezTo>
                <a:cubicBezTo>
                  <a:pt x="4763589" y="850359"/>
                  <a:pt x="4759829" y="854125"/>
                  <a:pt x="4752310" y="854125"/>
                </a:cubicBezTo>
                <a:cubicBezTo>
                  <a:pt x="4752310" y="846594"/>
                  <a:pt x="4748551" y="842828"/>
                  <a:pt x="4756070" y="835298"/>
                </a:cubicBezTo>
                <a:cubicBezTo>
                  <a:pt x="4750430" y="829650"/>
                  <a:pt x="4745731" y="824001"/>
                  <a:pt x="4744321" y="817412"/>
                </a:cubicBezTo>
                <a:lnTo>
                  <a:pt x="4747974" y="806649"/>
                </a:lnTo>
                <a:lnTo>
                  <a:pt x="4736122" y="802499"/>
                </a:lnTo>
                <a:cubicBezTo>
                  <a:pt x="4730953" y="800852"/>
                  <a:pt x="4725783" y="799793"/>
                  <a:pt x="4720496" y="800558"/>
                </a:cubicBezTo>
                <a:close/>
                <a:moveTo>
                  <a:pt x="1676438" y="90716"/>
                </a:moveTo>
                <a:lnTo>
                  <a:pt x="1850993" y="94135"/>
                </a:lnTo>
                <a:cubicBezTo>
                  <a:pt x="1918198" y="94135"/>
                  <a:pt x="1985874" y="94135"/>
                  <a:pt x="2046029" y="97900"/>
                </a:cubicBezTo>
                <a:cubicBezTo>
                  <a:pt x="2046029" y="97900"/>
                  <a:pt x="2046029" y="97900"/>
                  <a:pt x="2057308" y="101666"/>
                </a:cubicBezTo>
                <a:cubicBezTo>
                  <a:pt x="1997153" y="97900"/>
                  <a:pt x="1910679" y="112962"/>
                  <a:pt x="1850523" y="97900"/>
                </a:cubicBezTo>
                <a:cubicBezTo>
                  <a:pt x="1797886" y="101666"/>
                  <a:pt x="1737731" y="94135"/>
                  <a:pt x="1692614" y="94135"/>
                </a:cubicBezTo>
                <a:close/>
                <a:moveTo>
                  <a:pt x="1675636" y="90546"/>
                </a:moveTo>
                <a:lnTo>
                  <a:pt x="1676438" y="90716"/>
                </a:lnTo>
                <a:lnTo>
                  <a:pt x="1674865" y="90685"/>
                </a:lnTo>
                <a:close/>
                <a:moveTo>
                  <a:pt x="2005634" y="36919"/>
                </a:moveTo>
                <a:lnTo>
                  <a:pt x="2008432" y="37654"/>
                </a:lnTo>
                <a:cubicBezTo>
                  <a:pt x="2000912" y="37654"/>
                  <a:pt x="2000912" y="37654"/>
                  <a:pt x="2000912" y="37654"/>
                </a:cubicBezTo>
                <a:close/>
                <a:moveTo>
                  <a:pt x="1594861" y="0"/>
                </a:moveTo>
                <a:cubicBezTo>
                  <a:pt x="1621179" y="0"/>
                  <a:pt x="1651257" y="0"/>
                  <a:pt x="1655016" y="11296"/>
                </a:cubicBezTo>
                <a:cubicBezTo>
                  <a:pt x="1658776" y="15062"/>
                  <a:pt x="1655016" y="15062"/>
                  <a:pt x="1651257" y="18827"/>
                </a:cubicBezTo>
                <a:cubicBezTo>
                  <a:pt x="1685094" y="22593"/>
                  <a:pt x="1730211" y="22593"/>
                  <a:pt x="1767809" y="22593"/>
                </a:cubicBezTo>
                <a:cubicBezTo>
                  <a:pt x="1925718" y="26358"/>
                  <a:pt x="2079867" y="30123"/>
                  <a:pt x="2230256" y="26358"/>
                </a:cubicBezTo>
                <a:cubicBezTo>
                  <a:pt x="2241536" y="30123"/>
                  <a:pt x="2256575" y="33889"/>
                  <a:pt x="2275373" y="30123"/>
                </a:cubicBezTo>
                <a:cubicBezTo>
                  <a:pt x="2218977" y="41420"/>
                  <a:pt x="2117464" y="33889"/>
                  <a:pt x="2046029" y="33889"/>
                </a:cubicBezTo>
                <a:cubicBezTo>
                  <a:pt x="2036630" y="32006"/>
                  <a:pt x="2029111" y="32947"/>
                  <a:pt x="2022061" y="34359"/>
                </a:cubicBezTo>
                <a:lnTo>
                  <a:pt x="2005634" y="36919"/>
                </a:lnTo>
                <a:lnTo>
                  <a:pt x="1983817" y="31183"/>
                </a:lnTo>
                <a:cubicBezTo>
                  <a:pt x="1955091" y="28711"/>
                  <a:pt x="1916318" y="35772"/>
                  <a:pt x="1888120" y="30123"/>
                </a:cubicBezTo>
                <a:cubicBezTo>
                  <a:pt x="1805406" y="30123"/>
                  <a:pt x="1749010" y="22593"/>
                  <a:pt x="1662536" y="26358"/>
                </a:cubicBezTo>
                <a:cubicBezTo>
                  <a:pt x="1655016" y="30123"/>
                  <a:pt x="1655016" y="33889"/>
                  <a:pt x="1655016" y="37654"/>
                </a:cubicBezTo>
                <a:cubicBezTo>
                  <a:pt x="1636218" y="37654"/>
                  <a:pt x="1617419" y="37654"/>
                  <a:pt x="1609900" y="30123"/>
                </a:cubicBezTo>
                <a:cubicBezTo>
                  <a:pt x="1591101" y="41420"/>
                  <a:pt x="1572302" y="41420"/>
                  <a:pt x="1553503" y="52716"/>
                </a:cubicBezTo>
                <a:cubicBezTo>
                  <a:pt x="1553503" y="52716"/>
                  <a:pt x="1553503" y="52716"/>
                  <a:pt x="1587341" y="56481"/>
                </a:cubicBezTo>
                <a:cubicBezTo>
                  <a:pt x="1579822" y="64012"/>
                  <a:pt x="1557263" y="64012"/>
                  <a:pt x="1542224" y="56481"/>
                </a:cubicBezTo>
                <a:cubicBezTo>
                  <a:pt x="1515906" y="56481"/>
                  <a:pt x="1549744" y="67777"/>
                  <a:pt x="1527185" y="71543"/>
                </a:cubicBezTo>
                <a:cubicBezTo>
                  <a:pt x="1527185" y="71543"/>
                  <a:pt x="1527185" y="71543"/>
                  <a:pt x="1478309" y="79073"/>
                </a:cubicBezTo>
                <a:cubicBezTo>
                  <a:pt x="1527185" y="90370"/>
                  <a:pt x="1609900" y="82839"/>
                  <a:pt x="1658776" y="90370"/>
                </a:cubicBezTo>
                <a:lnTo>
                  <a:pt x="1674865" y="90685"/>
                </a:lnTo>
                <a:lnTo>
                  <a:pt x="1658306" y="93664"/>
                </a:lnTo>
                <a:cubicBezTo>
                  <a:pt x="1646557" y="96959"/>
                  <a:pt x="1634338" y="101666"/>
                  <a:pt x="1621179" y="101666"/>
                </a:cubicBezTo>
                <a:cubicBezTo>
                  <a:pt x="1613659" y="109197"/>
                  <a:pt x="1598620" y="116727"/>
                  <a:pt x="1579822" y="128024"/>
                </a:cubicBezTo>
                <a:cubicBezTo>
                  <a:pt x="1579822" y="128024"/>
                  <a:pt x="1579822" y="128024"/>
                  <a:pt x="1576062" y="120493"/>
                </a:cubicBezTo>
                <a:cubicBezTo>
                  <a:pt x="1579822" y="112962"/>
                  <a:pt x="1598620" y="124258"/>
                  <a:pt x="1598620" y="112962"/>
                </a:cubicBezTo>
                <a:cubicBezTo>
                  <a:pt x="1598620" y="112962"/>
                  <a:pt x="1598620" y="112962"/>
                  <a:pt x="1587341" y="109197"/>
                </a:cubicBezTo>
                <a:cubicBezTo>
                  <a:pt x="1583581" y="112962"/>
                  <a:pt x="1572302" y="109197"/>
                  <a:pt x="1564783" y="109197"/>
                </a:cubicBezTo>
                <a:cubicBezTo>
                  <a:pt x="1564783" y="109197"/>
                  <a:pt x="1564783" y="109197"/>
                  <a:pt x="1553503" y="105431"/>
                </a:cubicBezTo>
                <a:cubicBezTo>
                  <a:pt x="1583581" y="101666"/>
                  <a:pt x="1609900" y="109197"/>
                  <a:pt x="1621179" y="94135"/>
                </a:cubicBezTo>
                <a:cubicBezTo>
                  <a:pt x="1564783" y="82839"/>
                  <a:pt x="1508387" y="94135"/>
                  <a:pt x="1448231" y="86604"/>
                </a:cubicBezTo>
                <a:cubicBezTo>
                  <a:pt x="1433192" y="82839"/>
                  <a:pt x="1425672" y="94135"/>
                  <a:pt x="1410633" y="97900"/>
                </a:cubicBezTo>
                <a:cubicBezTo>
                  <a:pt x="1410633" y="97900"/>
                  <a:pt x="1410633" y="97900"/>
                  <a:pt x="1444471" y="101666"/>
                </a:cubicBezTo>
                <a:cubicBezTo>
                  <a:pt x="1440711" y="109197"/>
                  <a:pt x="1384315" y="116727"/>
                  <a:pt x="1380555" y="131789"/>
                </a:cubicBezTo>
                <a:cubicBezTo>
                  <a:pt x="1373036" y="124258"/>
                  <a:pt x="1399354" y="120493"/>
                  <a:pt x="1380555" y="112962"/>
                </a:cubicBezTo>
                <a:cubicBezTo>
                  <a:pt x="1380555" y="120493"/>
                  <a:pt x="1350478" y="124258"/>
                  <a:pt x="1369276" y="131789"/>
                </a:cubicBezTo>
                <a:cubicBezTo>
                  <a:pt x="1365517" y="128024"/>
                  <a:pt x="1361757" y="131789"/>
                  <a:pt x="1357997" y="131789"/>
                </a:cubicBezTo>
                <a:cubicBezTo>
                  <a:pt x="1365517" y="146851"/>
                  <a:pt x="1361757" y="143085"/>
                  <a:pt x="1354237" y="146851"/>
                </a:cubicBezTo>
                <a:cubicBezTo>
                  <a:pt x="1357997" y="143085"/>
                  <a:pt x="1357997" y="143085"/>
                  <a:pt x="1350478" y="139320"/>
                </a:cubicBezTo>
                <a:cubicBezTo>
                  <a:pt x="1350478" y="139320"/>
                  <a:pt x="1350478" y="139320"/>
                  <a:pt x="1327919" y="161912"/>
                </a:cubicBezTo>
                <a:cubicBezTo>
                  <a:pt x="1365517" y="161912"/>
                  <a:pt x="1391835" y="184504"/>
                  <a:pt x="1436952" y="173208"/>
                </a:cubicBezTo>
                <a:cubicBezTo>
                  <a:pt x="1455750" y="173208"/>
                  <a:pt x="1451990" y="184504"/>
                  <a:pt x="1459510" y="192035"/>
                </a:cubicBezTo>
                <a:cubicBezTo>
                  <a:pt x="1440711" y="192035"/>
                  <a:pt x="1436952" y="199566"/>
                  <a:pt x="1421913" y="207097"/>
                </a:cubicBezTo>
                <a:cubicBezTo>
                  <a:pt x="1429432" y="210862"/>
                  <a:pt x="1440711" y="207097"/>
                  <a:pt x="1451990" y="207097"/>
                </a:cubicBezTo>
                <a:cubicBezTo>
                  <a:pt x="1451990" y="207097"/>
                  <a:pt x="1451990" y="207097"/>
                  <a:pt x="1451990" y="210862"/>
                </a:cubicBezTo>
                <a:cubicBezTo>
                  <a:pt x="1474549" y="214628"/>
                  <a:pt x="1485828" y="210862"/>
                  <a:pt x="1512146" y="210862"/>
                </a:cubicBezTo>
                <a:cubicBezTo>
                  <a:pt x="1512146" y="210862"/>
                  <a:pt x="1512146" y="210862"/>
                  <a:pt x="1512146" y="214628"/>
                </a:cubicBezTo>
                <a:cubicBezTo>
                  <a:pt x="1512146" y="214628"/>
                  <a:pt x="1512146" y="214628"/>
                  <a:pt x="1534705" y="214628"/>
                </a:cubicBezTo>
                <a:cubicBezTo>
                  <a:pt x="1534705" y="210862"/>
                  <a:pt x="1538464" y="210862"/>
                  <a:pt x="1538464" y="210862"/>
                </a:cubicBezTo>
                <a:cubicBezTo>
                  <a:pt x="1534705" y="214628"/>
                  <a:pt x="1530945" y="218393"/>
                  <a:pt x="1538464" y="218393"/>
                </a:cubicBezTo>
                <a:cubicBezTo>
                  <a:pt x="1530945" y="222158"/>
                  <a:pt x="1523426" y="222158"/>
                  <a:pt x="1515906" y="225924"/>
                </a:cubicBezTo>
                <a:cubicBezTo>
                  <a:pt x="1523426" y="229689"/>
                  <a:pt x="1538464" y="225924"/>
                  <a:pt x="1549744" y="229689"/>
                </a:cubicBezTo>
                <a:cubicBezTo>
                  <a:pt x="1549744" y="229689"/>
                  <a:pt x="1549744" y="233455"/>
                  <a:pt x="1542224" y="237220"/>
                </a:cubicBezTo>
                <a:cubicBezTo>
                  <a:pt x="1609900" y="252282"/>
                  <a:pt x="1651257" y="222158"/>
                  <a:pt x="1722692" y="225924"/>
                </a:cubicBezTo>
                <a:cubicBezTo>
                  <a:pt x="1730211" y="222158"/>
                  <a:pt x="1745250" y="214628"/>
                  <a:pt x="1764049" y="218393"/>
                </a:cubicBezTo>
                <a:cubicBezTo>
                  <a:pt x="1767809" y="225924"/>
                  <a:pt x="1790367" y="218393"/>
                  <a:pt x="1801646" y="218393"/>
                </a:cubicBezTo>
                <a:cubicBezTo>
                  <a:pt x="1801646" y="218393"/>
                  <a:pt x="1801646" y="218393"/>
                  <a:pt x="1809166" y="214628"/>
                </a:cubicBezTo>
                <a:cubicBezTo>
                  <a:pt x="1846763" y="225924"/>
                  <a:pt x="1899399" y="214628"/>
                  <a:pt x="1940757" y="214628"/>
                </a:cubicBezTo>
                <a:cubicBezTo>
                  <a:pt x="1985873" y="188270"/>
                  <a:pt x="2030990" y="225924"/>
                  <a:pt x="2083627" y="203331"/>
                </a:cubicBezTo>
                <a:cubicBezTo>
                  <a:pt x="2091146" y="207097"/>
                  <a:pt x="2109945" y="203331"/>
                  <a:pt x="2124984" y="203331"/>
                </a:cubicBezTo>
                <a:cubicBezTo>
                  <a:pt x="2124984" y="203331"/>
                  <a:pt x="2124984" y="203331"/>
                  <a:pt x="2128744" y="199566"/>
                </a:cubicBezTo>
                <a:cubicBezTo>
                  <a:pt x="2128744" y="199566"/>
                  <a:pt x="2128744" y="199566"/>
                  <a:pt x="2117464" y="195801"/>
                </a:cubicBezTo>
                <a:cubicBezTo>
                  <a:pt x="2124984" y="195801"/>
                  <a:pt x="2128744" y="195801"/>
                  <a:pt x="2128744" y="192035"/>
                </a:cubicBezTo>
                <a:cubicBezTo>
                  <a:pt x="2128744" y="192035"/>
                  <a:pt x="2128744" y="192035"/>
                  <a:pt x="2121224" y="188270"/>
                </a:cubicBezTo>
                <a:cubicBezTo>
                  <a:pt x="2143782" y="195801"/>
                  <a:pt x="2170101" y="176974"/>
                  <a:pt x="2192659" y="184504"/>
                </a:cubicBezTo>
                <a:cubicBezTo>
                  <a:pt x="2196419" y="188270"/>
                  <a:pt x="2185140" y="195801"/>
                  <a:pt x="2196419" y="199566"/>
                </a:cubicBezTo>
                <a:cubicBezTo>
                  <a:pt x="2203938" y="199566"/>
                  <a:pt x="2207698" y="199566"/>
                  <a:pt x="2215218" y="195801"/>
                </a:cubicBezTo>
                <a:cubicBezTo>
                  <a:pt x="2215218" y="195801"/>
                  <a:pt x="2215218" y="195801"/>
                  <a:pt x="2203938" y="188270"/>
                </a:cubicBezTo>
                <a:cubicBezTo>
                  <a:pt x="2218977" y="184504"/>
                  <a:pt x="2245295" y="192035"/>
                  <a:pt x="2271614" y="188270"/>
                </a:cubicBezTo>
                <a:cubicBezTo>
                  <a:pt x="2309211" y="188270"/>
                  <a:pt x="2354328" y="176974"/>
                  <a:pt x="2395685" y="184504"/>
                </a:cubicBezTo>
                <a:cubicBezTo>
                  <a:pt x="2391925" y="180739"/>
                  <a:pt x="2406964" y="169443"/>
                  <a:pt x="2422003" y="169443"/>
                </a:cubicBezTo>
                <a:cubicBezTo>
                  <a:pt x="2478399" y="176974"/>
                  <a:pt x="2534795" y="150616"/>
                  <a:pt x="2564873" y="180739"/>
                </a:cubicBezTo>
                <a:cubicBezTo>
                  <a:pt x="2628789" y="180739"/>
                  <a:pt x="2673906" y="184504"/>
                  <a:pt x="2737821" y="176974"/>
                </a:cubicBezTo>
                <a:cubicBezTo>
                  <a:pt x="2737821" y="176974"/>
                  <a:pt x="2737821" y="176974"/>
                  <a:pt x="2737821" y="169443"/>
                </a:cubicBezTo>
                <a:cubicBezTo>
                  <a:pt x="2756620" y="173208"/>
                  <a:pt x="2775419" y="173208"/>
                  <a:pt x="2794217" y="176974"/>
                </a:cubicBezTo>
                <a:cubicBezTo>
                  <a:pt x="2794217" y="176974"/>
                  <a:pt x="2794217" y="176974"/>
                  <a:pt x="2805496" y="169443"/>
                </a:cubicBezTo>
                <a:cubicBezTo>
                  <a:pt x="3076198" y="161912"/>
                  <a:pt x="3290503" y="158147"/>
                  <a:pt x="3568723" y="165678"/>
                </a:cubicBezTo>
                <a:cubicBezTo>
                  <a:pt x="3568723" y="165678"/>
                  <a:pt x="3568723" y="165678"/>
                  <a:pt x="3673996" y="158147"/>
                </a:cubicBezTo>
                <a:cubicBezTo>
                  <a:pt x="3673996" y="169443"/>
                  <a:pt x="3707834" y="158147"/>
                  <a:pt x="3719113" y="161912"/>
                </a:cubicBezTo>
                <a:cubicBezTo>
                  <a:pt x="3786788" y="154381"/>
                  <a:pt x="3828145" y="176974"/>
                  <a:pt x="3880782" y="150616"/>
                </a:cubicBezTo>
                <a:cubicBezTo>
                  <a:pt x="3880782" y="150616"/>
                  <a:pt x="3880782" y="150616"/>
                  <a:pt x="3869503" y="161912"/>
                </a:cubicBezTo>
                <a:cubicBezTo>
                  <a:pt x="3884541" y="169443"/>
                  <a:pt x="3914619" y="158147"/>
                  <a:pt x="3922139" y="169443"/>
                </a:cubicBezTo>
                <a:cubicBezTo>
                  <a:pt x="3959736" y="154381"/>
                  <a:pt x="4001093" y="169443"/>
                  <a:pt x="4046210" y="165678"/>
                </a:cubicBezTo>
                <a:cubicBezTo>
                  <a:pt x="4046210" y="165678"/>
                  <a:pt x="4046210" y="165678"/>
                  <a:pt x="4083807" y="165678"/>
                </a:cubicBezTo>
                <a:cubicBezTo>
                  <a:pt x="4083807" y="165678"/>
                  <a:pt x="4083807" y="165678"/>
                  <a:pt x="4083807" y="169443"/>
                </a:cubicBezTo>
                <a:cubicBezTo>
                  <a:pt x="4102606" y="176974"/>
                  <a:pt x="4162762" y="165678"/>
                  <a:pt x="4181561" y="173208"/>
                </a:cubicBezTo>
                <a:cubicBezTo>
                  <a:pt x="4211639" y="161912"/>
                  <a:pt x="4234197" y="184504"/>
                  <a:pt x="4264275" y="173208"/>
                </a:cubicBezTo>
                <a:cubicBezTo>
                  <a:pt x="4275554" y="184504"/>
                  <a:pt x="4298113" y="176974"/>
                  <a:pt x="4316911" y="184504"/>
                </a:cubicBezTo>
                <a:cubicBezTo>
                  <a:pt x="4350749" y="184504"/>
                  <a:pt x="4399626" y="195801"/>
                  <a:pt x="4440983" y="184504"/>
                </a:cubicBezTo>
                <a:cubicBezTo>
                  <a:pt x="4433463" y="184504"/>
                  <a:pt x="4433463" y="188270"/>
                  <a:pt x="4433463" y="192035"/>
                </a:cubicBezTo>
                <a:cubicBezTo>
                  <a:pt x="4467301" y="195801"/>
                  <a:pt x="4493619" y="192035"/>
                  <a:pt x="4512418" y="199566"/>
                </a:cubicBezTo>
                <a:cubicBezTo>
                  <a:pt x="4508658" y="214628"/>
                  <a:pt x="4534976" y="203331"/>
                  <a:pt x="4550015" y="203331"/>
                </a:cubicBezTo>
                <a:cubicBezTo>
                  <a:pt x="4550015" y="203331"/>
                  <a:pt x="4550015" y="203331"/>
                  <a:pt x="4557535" y="199566"/>
                </a:cubicBezTo>
                <a:cubicBezTo>
                  <a:pt x="4550015" y="210862"/>
                  <a:pt x="4595132" y="199566"/>
                  <a:pt x="4568814" y="207097"/>
                </a:cubicBezTo>
                <a:cubicBezTo>
                  <a:pt x="4583853" y="225924"/>
                  <a:pt x="4640249" y="210862"/>
                  <a:pt x="4644009" y="233455"/>
                </a:cubicBezTo>
                <a:cubicBezTo>
                  <a:pt x="4700405" y="218393"/>
                  <a:pt x="4722963" y="248516"/>
                  <a:pt x="4775599" y="237220"/>
                </a:cubicBezTo>
                <a:cubicBezTo>
                  <a:pt x="4794399" y="214628"/>
                  <a:pt x="4790639" y="214628"/>
                  <a:pt x="4828236" y="199566"/>
                </a:cubicBezTo>
                <a:cubicBezTo>
                  <a:pt x="4816957" y="192035"/>
                  <a:pt x="4771840" y="207097"/>
                  <a:pt x="4783119" y="188270"/>
                </a:cubicBezTo>
                <a:cubicBezTo>
                  <a:pt x="4801918" y="192035"/>
                  <a:pt x="4835755" y="173208"/>
                  <a:pt x="4828236" y="195801"/>
                </a:cubicBezTo>
                <a:cubicBezTo>
                  <a:pt x="4835755" y="188270"/>
                  <a:pt x="4854554" y="188270"/>
                  <a:pt x="4850795" y="180739"/>
                </a:cubicBezTo>
                <a:cubicBezTo>
                  <a:pt x="4824476" y="173208"/>
                  <a:pt x="4847035" y="143085"/>
                  <a:pt x="4794399" y="150616"/>
                </a:cubicBezTo>
                <a:cubicBezTo>
                  <a:pt x="4794399" y="150616"/>
                  <a:pt x="4794399" y="150616"/>
                  <a:pt x="4813197" y="143085"/>
                </a:cubicBezTo>
                <a:cubicBezTo>
                  <a:pt x="4805677" y="128024"/>
                  <a:pt x="4764321" y="139320"/>
                  <a:pt x="4738002" y="135554"/>
                </a:cubicBezTo>
                <a:cubicBezTo>
                  <a:pt x="4722963" y="146851"/>
                  <a:pt x="4696645" y="131789"/>
                  <a:pt x="4677847" y="139320"/>
                </a:cubicBezTo>
                <a:cubicBezTo>
                  <a:pt x="4689125" y="128024"/>
                  <a:pt x="4659047" y="124258"/>
                  <a:pt x="4644009" y="116727"/>
                </a:cubicBezTo>
                <a:cubicBezTo>
                  <a:pt x="4591373" y="128024"/>
                  <a:pt x="4565054" y="105431"/>
                  <a:pt x="4516177" y="109197"/>
                </a:cubicBezTo>
                <a:cubicBezTo>
                  <a:pt x="4508658" y="101666"/>
                  <a:pt x="4452262" y="112962"/>
                  <a:pt x="4444743" y="90370"/>
                </a:cubicBezTo>
                <a:cubicBezTo>
                  <a:pt x="4418425" y="90370"/>
                  <a:pt x="4403385" y="90370"/>
                  <a:pt x="4380827" y="82839"/>
                </a:cubicBezTo>
                <a:cubicBezTo>
                  <a:pt x="4380827" y="82839"/>
                  <a:pt x="4380827" y="82839"/>
                  <a:pt x="4365788" y="90370"/>
                </a:cubicBezTo>
                <a:cubicBezTo>
                  <a:pt x="4365788" y="90370"/>
                  <a:pt x="4362028" y="86604"/>
                  <a:pt x="4354509" y="86604"/>
                </a:cubicBezTo>
                <a:cubicBezTo>
                  <a:pt x="4346989" y="86604"/>
                  <a:pt x="4343229" y="79073"/>
                  <a:pt x="4331951" y="82839"/>
                </a:cubicBezTo>
                <a:cubicBezTo>
                  <a:pt x="4331951" y="82839"/>
                  <a:pt x="4331951" y="82839"/>
                  <a:pt x="4335710" y="67777"/>
                </a:cubicBezTo>
                <a:cubicBezTo>
                  <a:pt x="4380827" y="71543"/>
                  <a:pt x="4429703" y="75308"/>
                  <a:pt x="4474821" y="79073"/>
                </a:cubicBezTo>
                <a:cubicBezTo>
                  <a:pt x="4474821" y="101666"/>
                  <a:pt x="4531217" y="86604"/>
                  <a:pt x="4561295" y="90370"/>
                </a:cubicBezTo>
                <a:cubicBezTo>
                  <a:pt x="4602651" y="97900"/>
                  <a:pt x="4655288" y="82839"/>
                  <a:pt x="4681606" y="94135"/>
                </a:cubicBezTo>
                <a:cubicBezTo>
                  <a:pt x="4681606" y="94135"/>
                  <a:pt x="4681606" y="94135"/>
                  <a:pt x="4685366" y="97900"/>
                </a:cubicBezTo>
                <a:cubicBezTo>
                  <a:pt x="4719203" y="101666"/>
                  <a:pt x="4749281" y="120493"/>
                  <a:pt x="4801918" y="109197"/>
                </a:cubicBezTo>
                <a:cubicBezTo>
                  <a:pt x="4801918" y="109197"/>
                  <a:pt x="4801918" y="109197"/>
                  <a:pt x="4809437" y="112962"/>
                </a:cubicBezTo>
                <a:cubicBezTo>
                  <a:pt x="4809437" y="112962"/>
                  <a:pt x="4809437" y="112962"/>
                  <a:pt x="4824476" y="105431"/>
                </a:cubicBezTo>
                <a:cubicBezTo>
                  <a:pt x="4824476" y="105431"/>
                  <a:pt x="4824476" y="105431"/>
                  <a:pt x="4828236" y="109197"/>
                </a:cubicBezTo>
                <a:cubicBezTo>
                  <a:pt x="4824476" y="112962"/>
                  <a:pt x="4801918" y="116727"/>
                  <a:pt x="4805677" y="124258"/>
                </a:cubicBezTo>
                <a:cubicBezTo>
                  <a:pt x="4839515" y="128024"/>
                  <a:pt x="4865833" y="128024"/>
                  <a:pt x="4903431" y="124258"/>
                </a:cubicBezTo>
                <a:cubicBezTo>
                  <a:pt x="4888392" y="131789"/>
                  <a:pt x="4899671" y="150616"/>
                  <a:pt x="4925989" y="143085"/>
                </a:cubicBezTo>
                <a:cubicBezTo>
                  <a:pt x="4925989" y="143085"/>
                  <a:pt x="4925989" y="143085"/>
                  <a:pt x="4941028" y="143085"/>
                </a:cubicBezTo>
                <a:cubicBezTo>
                  <a:pt x="4971106" y="120493"/>
                  <a:pt x="4914710" y="128024"/>
                  <a:pt x="4922229" y="109197"/>
                </a:cubicBezTo>
                <a:cubicBezTo>
                  <a:pt x="4933509" y="105431"/>
                  <a:pt x="4948547" y="105431"/>
                  <a:pt x="4956067" y="97900"/>
                </a:cubicBezTo>
                <a:cubicBezTo>
                  <a:pt x="4956067" y="97900"/>
                  <a:pt x="4956067" y="97900"/>
                  <a:pt x="4959827" y="94135"/>
                </a:cubicBezTo>
                <a:cubicBezTo>
                  <a:pt x="4952307" y="86604"/>
                  <a:pt x="4937269" y="97900"/>
                  <a:pt x="4922229" y="97900"/>
                </a:cubicBezTo>
                <a:cubicBezTo>
                  <a:pt x="4922229" y="90370"/>
                  <a:pt x="4914710" y="86604"/>
                  <a:pt x="4903431" y="86604"/>
                </a:cubicBezTo>
                <a:cubicBezTo>
                  <a:pt x="4910950" y="82839"/>
                  <a:pt x="4922229" y="79073"/>
                  <a:pt x="4933509" y="75308"/>
                </a:cubicBezTo>
                <a:cubicBezTo>
                  <a:pt x="4937269" y="75308"/>
                  <a:pt x="4933509" y="71543"/>
                  <a:pt x="4929749" y="71543"/>
                </a:cubicBezTo>
                <a:cubicBezTo>
                  <a:pt x="4989905" y="67777"/>
                  <a:pt x="5004943" y="97900"/>
                  <a:pt x="5068859" y="79073"/>
                </a:cubicBezTo>
                <a:cubicBezTo>
                  <a:pt x="5068859" y="79073"/>
                  <a:pt x="5068859" y="79073"/>
                  <a:pt x="5061339" y="75308"/>
                </a:cubicBezTo>
                <a:cubicBezTo>
                  <a:pt x="5068859" y="75308"/>
                  <a:pt x="5117736" y="79073"/>
                  <a:pt x="5132775" y="75308"/>
                </a:cubicBezTo>
                <a:cubicBezTo>
                  <a:pt x="5132775" y="75308"/>
                  <a:pt x="5132775" y="75308"/>
                  <a:pt x="5136535" y="71543"/>
                </a:cubicBezTo>
                <a:cubicBezTo>
                  <a:pt x="5125255" y="67777"/>
                  <a:pt x="5102697" y="71543"/>
                  <a:pt x="5087658" y="71543"/>
                </a:cubicBezTo>
                <a:cubicBezTo>
                  <a:pt x="5125255" y="60247"/>
                  <a:pt x="5147813" y="60247"/>
                  <a:pt x="5189171" y="52716"/>
                </a:cubicBezTo>
                <a:cubicBezTo>
                  <a:pt x="5189171" y="52716"/>
                  <a:pt x="5189171" y="52716"/>
                  <a:pt x="5095177" y="101666"/>
                </a:cubicBezTo>
                <a:cubicBezTo>
                  <a:pt x="5129015" y="112962"/>
                  <a:pt x="5083898" y="120493"/>
                  <a:pt x="5065099" y="131789"/>
                </a:cubicBezTo>
                <a:cubicBezTo>
                  <a:pt x="5042541" y="150616"/>
                  <a:pt x="4997424" y="135554"/>
                  <a:pt x="4971106" y="161912"/>
                </a:cubicBezTo>
                <a:cubicBezTo>
                  <a:pt x="5001184" y="158147"/>
                  <a:pt x="5004943" y="158147"/>
                  <a:pt x="5035021" y="165678"/>
                </a:cubicBezTo>
                <a:cubicBezTo>
                  <a:pt x="5035021" y="165678"/>
                  <a:pt x="5035021" y="165678"/>
                  <a:pt x="5023743" y="184504"/>
                </a:cubicBezTo>
                <a:cubicBezTo>
                  <a:pt x="4971106" y="207097"/>
                  <a:pt x="4910950" y="237220"/>
                  <a:pt x="4869593" y="263578"/>
                </a:cubicBezTo>
                <a:cubicBezTo>
                  <a:pt x="4873353" y="267343"/>
                  <a:pt x="4880873" y="267343"/>
                  <a:pt x="4884632" y="267343"/>
                </a:cubicBezTo>
                <a:cubicBezTo>
                  <a:pt x="4843275" y="278639"/>
                  <a:pt x="4839515" y="304997"/>
                  <a:pt x="4798158" y="312528"/>
                </a:cubicBezTo>
                <a:cubicBezTo>
                  <a:pt x="4801918" y="316293"/>
                  <a:pt x="4801918" y="320059"/>
                  <a:pt x="4809437" y="316293"/>
                </a:cubicBezTo>
                <a:cubicBezTo>
                  <a:pt x="4813197" y="327589"/>
                  <a:pt x="4790639" y="320059"/>
                  <a:pt x="4783119" y="327589"/>
                </a:cubicBezTo>
                <a:cubicBezTo>
                  <a:pt x="4783119" y="320059"/>
                  <a:pt x="4798158" y="308762"/>
                  <a:pt x="4783119" y="304997"/>
                </a:cubicBezTo>
                <a:cubicBezTo>
                  <a:pt x="4760561" y="312528"/>
                  <a:pt x="4756801" y="327589"/>
                  <a:pt x="4760561" y="335120"/>
                </a:cubicBezTo>
                <a:cubicBezTo>
                  <a:pt x="4768080" y="346416"/>
                  <a:pt x="4783119" y="346416"/>
                  <a:pt x="4801918" y="342651"/>
                </a:cubicBezTo>
                <a:cubicBezTo>
                  <a:pt x="4798158" y="346416"/>
                  <a:pt x="4801918" y="346416"/>
                  <a:pt x="4801918" y="350182"/>
                </a:cubicBezTo>
                <a:cubicBezTo>
                  <a:pt x="4809437" y="350182"/>
                  <a:pt x="4816957" y="350182"/>
                  <a:pt x="4820717" y="346416"/>
                </a:cubicBezTo>
                <a:cubicBezTo>
                  <a:pt x="4820717" y="346416"/>
                  <a:pt x="4820717" y="346416"/>
                  <a:pt x="4816957" y="342651"/>
                </a:cubicBezTo>
                <a:cubicBezTo>
                  <a:pt x="4816957" y="342651"/>
                  <a:pt x="4816957" y="342651"/>
                  <a:pt x="4850795" y="342651"/>
                </a:cubicBezTo>
                <a:cubicBezTo>
                  <a:pt x="4862073" y="338886"/>
                  <a:pt x="4854554" y="335120"/>
                  <a:pt x="4850795" y="331355"/>
                </a:cubicBezTo>
                <a:cubicBezTo>
                  <a:pt x="4862073" y="327589"/>
                  <a:pt x="4892151" y="335120"/>
                  <a:pt x="4910950" y="323824"/>
                </a:cubicBezTo>
                <a:cubicBezTo>
                  <a:pt x="4877113" y="312528"/>
                  <a:pt x="4937269" y="304997"/>
                  <a:pt x="4918469" y="293701"/>
                </a:cubicBezTo>
                <a:cubicBezTo>
                  <a:pt x="4910950" y="293701"/>
                  <a:pt x="4937269" y="289935"/>
                  <a:pt x="4937269" y="278639"/>
                </a:cubicBezTo>
                <a:cubicBezTo>
                  <a:pt x="4937269" y="278639"/>
                  <a:pt x="4937269" y="278639"/>
                  <a:pt x="4941028" y="278639"/>
                </a:cubicBezTo>
                <a:cubicBezTo>
                  <a:pt x="4959827" y="263578"/>
                  <a:pt x="4989905" y="274874"/>
                  <a:pt x="4997424" y="256047"/>
                </a:cubicBezTo>
                <a:cubicBezTo>
                  <a:pt x="5050061" y="244751"/>
                  <a:pt x="4993665" y="271108"/>
                  <a:pt x="5042541" y="263578"/>
                </a:cubicBezTo>
                <a:cubicBezTo>
                  <a:pt x="5038781" y="271108"/>
                  <a:pt x="5027502" y="271108"/>
                  <a:pt x="5027502" y="278639"/>
                </a:cubicBezTo>
                <a:cubicBezTo>
                  <a:pt x="5027502" y="278639"/>
                  <a:pt x="5027502" y="278639"/>
                  <a:pt x="5061339" y="278639"/>
                </a:cubicBezTo>
                <a:cubicBezTo>
                  <a:pt x="5068859" y="301232"/>
                  <a:pt x="4986145" y="308762"/>
                  <a:pt x="5019983" y="323824"/>
                </a:cubicBezTo>
                <a:cubicBezTo>
                  <a:pt x="5019983" y="323824"/>
                  <a:pt x="5019983" y="323824"/>
                  <a:pt x="5012463" y="342651"/>
                </a:cubicBezTo>
                <a:cubicBezTo>
                  <a:pt x="4997424" y="346416"/>
                  <a:pt x="5004943" y="338886"/>
                  <a:pt x="5001184" y="335120"/>
                </a:cubicBezTo>
                <a:cubicBezTo>
                  <a:pt x="5001184" y="331355"/>
                  <a:pt x="5004943" y="327589"/>
                  <a:pt x="5001184" y="327589"/>
                </a:cubicBezTo>
                <a:cubicBezTo>
                  <a:pt x="4993665" y="327589"/>
                  <a:pt x="4982385" y="331355"/>
                  <a:pt x="4986145" y="335120"/>
                </a:cubicBezTo>
                <a:cubicBezTo>
                  <a:pt x="4986145" y="335120"/>
                  <a:pt x="4986145" y="335120"/>
                  <a:pt x="4978625" y="335120"/>
                </a:cubicBezTo>
                <a:cubicBezTo>
                  <a:pt x="4978625" y="335120"/>
                  <a:pt x="4978625" y="335120"/>
                  <a:pt x="4993665" y="301232"/>
                </a:cubicBezTo>
                <a:cubicBezTo>
                  <a:pt x="5001184" y="304997"/>
                  <a:pt x="5008703" y="301232"/>
                  <a:pt x="5008703" y="297466"/>
                </a:cubicBezTo>
                <a:cubicBezTo>
                  <a:pt x="5008703" y="297466"/>
                  <a:pt x="5008703" y="297466"/>
                  <a:pt x="5012463" y="286170"/>
                </a:cubicBezTo>
                <a:cubicBezTo>
                  <a:pt x="5019983" y="286170"/>
                  <a:pt x="5019983" y="286170"/>
                  <a:pt x="5027502" y="282405"/>
                </a:cubicBezTo>
                <a:cubicBezTo>
                  <a:pt x="5023743" y="271108"/>
                  <a:pt x="4989905" y="274874"/>
                  <a:pt x="4982385" y="286170"/>
                </a:cubicBezTo>
                <a:cubicBezTo>
                  <a:pt x="4963587" y="308762"/>
                  <a:pt x="4925989" y="335120"/>
                  <a:pt x="4888392" y="353947"/>
                </a:cubicBezTo>
                <a:cubicBezTo>
                  <a:pt x="4888392" y="353947"/>
                  <a:pt x="4888392" y="353947"/>
                  <a:pt x="4884632" y="365243"/>
                </a:cubicBezTo>
                <a:cubicBezTo>
                  <a:pt x="4877113" y="365243"/>
                  <a:pt x="4873353" y="365243"/>
                  <a:pt x="4869593" y="369009"/>
                </a:cubicBezTo>
                <a:cubicBezTo>
                  <a:pt x="4865833" y="376539"/>
                  <a:pt x="4880873" y="372774"/>
                  <a:pt x="4880873" y="380305"/>
                </a:cubicBezTo>
                <a:cubicBezTo>
                  <a:pt x="4877113" y="384070"/>
                  <a:pt x="4865833" y="384070"/>
                  <a:pt x="4865833" y="387836"/>
                </a:cubicBezTo>
                <a:cubicBezTo>
                  <a:pt x="4880873" y="395366"/>
                  <a:pt x="4888392" y="380305"/>
                  <a:pt x="4903431" y="391601"/>
                </a:cubicBezTo>
                <a:cubicBezTo>
                  <a:pt x="4910950" y="391601"/>
                  <a:pt x="4918469" y="387836"/>
                  <a:pt x="4929749" y="384070"/>
                </a:cubicBezTo>
                <a:cubicBezTo>
                  <a:pt x="4925989" y="387836"/>
                  <a:pt x="4925989" y="391601"/>
                  <a:pt x="4918469" y="395366"/>
                </a:cubicBezTo>
                <a:cubicBezTo>
                  <a:pt x="4918469" y="395366"/>
                  <a:pt x="4918469" y="395366"/>
                  <a:pt x="4925989" y="399132"/>
                </a:cubicBezTo>
                <a:cubicBezTo>
                  <a:pt x="4925989" y="399132"/>
                  <a:pt x="4925989" y="399132"/>
                  <a:pt x="4971106" y="380305"/>
                </a:cubicBezTo>
                <a:cubicBezTo>
                  <a:pt x="4982385" y="395366"/>
                  <a:pt x="4941028" y="421724"/>
                  <a:pt x="4967347" y="429255"/>
                </a:cubicBezTo>
                <a:cubicBezTo>
                  <a:pt x="4989905" y="414193"/>
                  <a:pt x="4982385" y="406663"/>
                  <a:pt x="5001184" y="391601"/>
                </a:cubicBezTo>
                <a:cubicBezTo>
                  <a:pt x="5001184" y="391601"/>
                  <a:pt x="5001184" y="391601"/>
                  <a:pt x="5012463" y="391601"/>
                </a:cubicBezTo>
                <a:cubicBezTo>
                  <a:pt x="4989905" y="414193"/>
                  <a:pt x="4974865" y="448082"/>
                  <a:pt x="4974865" y="466909"/>
                </a:cubicBezTo>
                <a:cubicBezTo>
                  <a:pt x="4974865" y="466909"/>
                  <a:pt x="4974865" y="466909"/>
                  <a:pt x="4971106" y="466909"/>
                </a:cubicBezTo>
                <a:cubicBezTo>
                  <a:pt x="4971106" y="466909"/>
                  <a:pt x="4971106" y="466909"/>
                  <a:pt x="4963587" y="470674"/>
                </a:cubicBezTo>
                <a:cubicBezTo>
                  <a:pt x="4959827" y="466909"/>
                  <a:pt x="4956067" y="470674"/>
                  <a:pt x="4952307" y="470674"/>
                </a:cubicBezTo>
                <a:cubicBezTo>
                  <a:pt x="4944788" y="470674"/>
                  <a:pt x="4937269" y="474440"/>
                  <a:pt x="4929749" y="474440"/>
                </a:cubicBezTo>
                <a:cubicBezTo>
                  <a:pt x="4952307" y="470674"/>
                  <a:pt x="4952307" y="470674"/>
                  <a:pt x="4952307" y="470674"/>
                </a:cubicBezTo>
                <a:cubicBezTo>
                  <a:pt x="4952307" y="470674"/>
                  <a:pt x="4952307" y="470674"/>
                  <a:pt x="4963587" y="470674"/>
                </a:cubicBezTo>
                <a:cubicBezTo>
                  <a:pt x="4963587" y="470674"/>
                  <a:pt x="4963587" y="470674"/>
                  <a:pt x="4967347" y="470674"/>
                </a:cubicBezTo>
                <a:cubicBezTo>
                  <a:pt x="4967347" y="470674"/>
                  <a:pt x="4967347" y="470674"/>
                  <a:pt x="4944788" y="481970"/>
                </a:cubicBezTo>
                <a:cubicBezTo>
                  <a:pt x="4944788" y="485736"/>
                  <a:pt x="4952307" y="485736"/>
                  <a:pt x="4959827" y="485736"/>
                </a:cubicBezTo>
                <a:cubicBezTo>
                  <a:pt x="4959827" y="485736"/>
                  <a:pt x="4959827" y="485736"/>
                  <a:pt x="4974865" y="474440"/>
                </a:cubicBezTo>
                <a:cubicBezTo>
                  <a:pt x="4974865" y="474440"/>
                  <a:pt x="4974865" y="474440"/>
                  <a:pt x="4978625" y="478205"/>
                </a:cubicBezTo>
                <a:cubicBezTo>
                  <a:pt x="4997424" y="470674"/>
                  <a:pt x="4974865" y="463144"/>
                  <a:pt x="4993665" y="455613"/>
                </a:cubicBezTo>
                <a:cubicBezTo>
                  <a:pt x="4993665" y="455613"/>
                  <a:pt x="4993665" y="455613"/>
                  <a:pt x="5004943" y="455613"/>
                </a:cubicBezTo>
                <a:cubicBezTo>
                  <a:pt x="5001184" y="474440"/>
                  <a:pt x="4997424" y="493267"/>
                  <a:pt x="5019983" y="497032"/>
                </a:cubicBezTo>
                <a:cubicBezTo>
                  <a:pt x="5042541" y="489501"/>
                  <a:pt x="5038781" y="478205"/>
                  <a:pt x="5046301" y="466909"/>
                </a:cubicBezTo>
                <a:cubicBezTo>
                  <a:pt x="5038781" y="463144"/>
                  <a:pt x="5038781" y="459378"/>
                  <a:pt x="5042541" y="451847"/>
                </a:cubicBezTo>
                <a:cubicBezTo>
                  <a:pt x="5053821" y="451847"/>
                  <a:pt x="5061339" y="455613"/>
                  <a:pt x="5065099" y="448082"/>
                </a:cubicBezTo>
                <a:cubicBezTo>
                  <a:pt x="5065099" y="448082"/>
                  <a:pt x="5065099" y="448082"/>
                  <a:pt x="5065099" y="474440"/>
                </a:cubicBezTo>
                <a:cubicBezTo>
                  <a:pt x="5065099" y="474440"/>
                  <a:pt x="5065099" y="474440"/>
                  <a:pt x="5080139" y="470674"/>
                </a:cubicBezTo>
                <a:cubicBezTo>
                  <a:pt x="5087658" y="478205"/>
                  <a:pt x="5091417" y="489501"/>
                  <a:pt x="5095177" y="497032"/>
                </a:cubicBezTo>
                <a:cubicBezTo>
                  <a:pt x="5087658" y="493267"/>
                  <a:pt x="5080139" y="493267"/>
                  <a:pt x="5072619" y="500797"/>
                </a:cubicBezTo>
                <a:cubicBezTo>
                  <a:pt x="5072619" y="500797"/>
                  <a:pt x="5072619" y="500797"/>
                  <a:pt x="5053821" y="493267"/>
                </a:cubicBezTo>
                <a:cubicBezTo>
                  <a:pt x="5042541" y="497032"/>
                  <a:pt x="5027502" y="497032"/>
                  <a:pt x="5019983" y="504563"/>
                </a:cubicBezTo>
                <a:cubicBezTo>
                  <a:pt x="5019983" y="504563"/>
                  <a:pt x="5019983" y="504563"/>
                  <a:pt x="5038781" y="504563"/>
                </a:cubicBezTo>
                <a:cubicBezTo>
                  <a:pt x="5038781" y="504563"/>
                  <a:pt x="5038781" y="504563"/>
                  <a:pt x="5035021" y="508328"/>
                </a:cubicBezTo>
                <a:cubicBezTo>
                  <a:pt x="5068859" y="504563"/>
                  <a:pt x="5083898" y="512094"/>
                  <a:pt x="5102697" y="508328"/>
                </a:cubicBezTo>
                <a:cubicBezTo>
                  <a:pt x="5106457" y="512094"/>
                  <a:pt x="5106457" y="512094"/>
                  <a:pt x="5110217" y="512094"/>
                </a:cubicBezTo>
                <a:cubicBezTo>
                  <a:pt x="5113976" y="512094"/>
                  <a:pt x="5113976" y="508328"/>
                  <a:pt x="5113976" y="508328"/>
                </a:cubicBezTo>
                <a:cubicBezTo>
                  <a:pt x="5117736" y="504563"/>
                  <a:pt x="5121495" y="504563"/>
                  <a:pt x="5125255" y="504563"/>
                </a:cubicBezTo>
                <a:cubicBezTo>
                  <a:pt x="5125255" y="500797"/>
                  <a:pt x="5121495" y="504563"/>
                  <a:pt x="5113976" y="504563"/>
                </a:cubicBezTo>
                <a:cubicBezTo>
                  <a:pt x="5113976" y="497032"/>
                  <a:pt x="5110217" y="493267"/>
                  <a:pt x="5117736" y="485736"/>
                </a:cubicBezTo>
                <a:cubicBezTo>
                  <a:pt x="5106457" y="474440"/>
                  <a:pt x="5098937" y="463144"/>
                  <a:pt x="5113976" y="444317"/>
                </a:cubicBezTo>
                <a:cubicBezTo>
                  <a:pt x="5140295" y="455613"/>
                  <a:pt x="5106457" y="497032"/>
                  <a:pt x="5159093" y="489501"/>
                </a:cubicBezTo>
                <a:cubicBezTo>
                  <a:pt x="5159093" y="489501"/>
                  <a:pt x="5159093" y="489501"/>
                  <a:pt x="5162853" y="485736"/>
                </a:cubicBezTo>
                <a:cubicBezTo>
                  <a:pt x="5162853" y="485736"/>
                  <a:pt x="5166613" y="489501"/>
                  <a:pt x="5170372" y="489501"/>
                </a:cubicBezTo>
                <a:cubicBezTo>
                  <a:pt x="5177891" y="497032"/>
                  <a:pt x="5181651" y="508328"/>
                  <a:pt x="5170372" y="519624"/>
                </a:cubicBezTo>
                <a:cubicBezTo>
                  <a:pt x="5170372" y="519624"/>
                  <a:pt x="5170372" y="519624"/>
                  <a:pt x="5162853" y="508328"/>
                </a:cubicBezTo>
                <a:cubicBezTo>
                  <a:pt x="5155333" y="519624"/>
                  <a:pt x="5132775" y="534686"/>
                  <a:pt x="5144054" y="549748"/>
                </a:cubicBezTo>
                <a:cubicBezTo>
                  <a:pt x="5136535" y="545982"/>
                  <a:pt x="5121495" y="557278"/>
                  <a:pt x="5110217" y="564809"/>
                </a:cubicBezTo>
                <a:cubicBezTo>
                  <a:pt x="5113976" y="579870"/>
                  <a:pt x="5113976" y="594932"/>
                  <a:pt x="5129015" y="606228"/>
                </a:cubicBezTo>
                <a:cubicBezTo>
                  <a:pt x="5129015" y="606228"/>
                  <a:pt x="5129015" y="606228"/>
                  <a:pt x="5159093" y="591167"/>
                </a:cubicBezTo>
                <a:cubicBezTo>
                  <a:pt x="5174132" y="602463"/>
                  <a:pt x="5129015" y="606228"/>
                  <a:pt x="5129015" y="617524"/>
                </a:cubicBezTo>
                <a:cubicBezTo>
                  <a:pt x="5129015" y="640117"/>
                  <a:pt x="5147813" y="662709"/>
                  <a:pt x="5136535" y="681536"/>
                </a:cubicBezTo>
                <a:cubicBezTo>
                  <a:pt x="5151573" y="685301"/>
                  <a:pt x="5147813" y="689067"/>
                  <a:pt x="5159093" y="692832"/>
                </a:cubicBezTo>
                <a:cubicBezTo>
                  <a:pt x="5159093" y="692832"/>
                  <a:pt x="5159093" y="692832"/>
                  <a:pt x="5207969" y="670240"/>
                </a:cubicBezTo>
                <a:cubicBezTo>
                  <a:pt x="5207969" y="670240"/>
                  <a:pt x="5207969" y="670240"/>
                  <a:pt x="5215489" y="674005"/>
                </a:cubicBezTo>
                <a:cubicBezTo>
                  <a:pt x="5215489" y="674005"/>
                  <a:pt x="5215489" y="674005"/>
                  <a:pt x="5223009" y="670240"/>
                </a:cubicBezTo>
                <a:cubicBezTo>
                  <a:pt x="5223009" y="681536"/>
                  <a:pt x="5230528" y="692832"/>
                  <a:pt x="5226769" y="704128"/>
                </a:cubicBezTo>
                <a:cubicBezTo>
                  <a:pt x="5200450" y="722955"/>
                  <a:pt x="5162853" y="730486"/>
                  <a:pt x="5129015" y="745548"/>
                </a:cubicBezTo>
                <a:cubicBezTo>
                  <a:pt x="5129015" y="745548"/>
                  <a:pt x="5129015" y="745548"/>
                  <a:pt x="5113976" y="745548"/>
                </a:cubicBezTo>
                <a:cubicBezTo>
                  <a:pt x="5113976" y="745548"/>
                  <a:pt x="5113976" y="745548"/>
                  <a:pt x="5117736" y="741782"/>
                </a:cubicBezTo>
                <a:cubicBezTo>
                  <a:pt x="5117736" y="734252"/>
                  <a:pt x="5102697" y="741782"/>
                  <a:pt x="5095177" y="741782"/>
                </a:cubicBezTo>
                <a:cubicBezTo>
                  <a:pt x="5095177" y="741782"/>
                  <a:pt x="5095177" y="741782"/>
                  <a:pt x="5038781" y="749313"/>
                </a:cubicBezTo>
                <a:cubicBezTo>
                  <a:pt x="5061339" y="756844"/>
                  <a:pt x="5102697" y="753079"/>
                  <a:pt x="5117736" y="756844"/>
                </a:cubicBezTo>
                <a:cubicBezTo>
                  <a:pt x="5087658" y="771905"/>
                  <a:pt x="5046301" y="756844"/>
                  <a:pt x="5016223" y="775671"/>
                </a:cubicBezTo>
                <a:cubicBezTo>
                  <a:pt x="5008703" y="760609"/>
                  <a:pt x="4959827" y="771905"/>
                  <a:pt x="4933509" y="768140"/>
                </a:cubicBezTo>
                <a:cubicBezTo>
                  <a:pt x="4918469" y="775671"/>
                  <a:pt x="4910950" y="786967"/>
                  <a:pt x="4892151" y="790732"/>
                </a:cubicBezTo>
                <a:cubicBezTo>
                  <a:pt x="4892151" y="790732"/>
                  <a:pt x="4892151" y="790732"/>
                  <a:pt x="4888392" y="786967"/>
                </a:cubicBezTo>
                <a:cubicBezTo>
                  <a:pt x="4873353" y="790732"/>
                  <a:pt x="4862073" y="805794"/>
                  <a:pt x="4869593" y="809559"/>
                </a:cubicBezTo>
                <a:cubicBezTo>
                  <a:pt x="4869593" y="809559"/>
                  <a:pt x="4869593" y="809559"/>
                  <a:pt x="4873353" y="813325"/>
                </a:cubicBezTo>
                <a:cubicBezTo>
                  <a:pt x="4858314" y="813325"/>
                  <a:pt x="4839515" y="813325"/>
                  <a:pt x="4831995" y="805794"/>
                </a:cubicBezTo>
                <a:cubicBezTo>
                  <a:pt x="4809437" y="809559"/>
                  <a:pt x="4786879" y="813325"/>
                  <a:pt x="4771840" y="820856"/>
                </a:cubicBezTo>
                <a:lnTo>
                  <a:pt x="4764275" y="817267"/>
                </a:lnTo>
                <a:lnTo>
                  <a:pt x="4765000" y="823531"/>
                </a:lnTo>
                <a:cubicBezTo>
                  <a:pt x="4766410" y="834357"/>
                  <a:pt x="4771109" y="842828"/>
                  <a:pt x="4797427" y="839063"/>
                </a:cubicBezTo>
                <a:cubicBezTo>
                  <a:pt x="4797427" y="839063"/>
                  <a:pt x="4797427" y="839063"/>
                  <a:pt x="4801187" y="835298"/>
                </a:cubicBezTo>
                <a:cubicBezTo>
                  <a:pt x="4801187" y="835298"/>
                  <a:pt x="4804947" y="839063"/>
                  <a:pt x="4808706" y="839063"/>
                </a:cubicBezTo>
                <a:cubicBezTo>
                  <a:pt x="4816225" y="846594"/>
                  <a:pt x="4819985" y="857890"/>
                  <a:pt x="4808706" y="869186"/>
                </a:cubicBezTo>
                <a:cubicBezTo>
                  <a:pt x="4808706" y="869186"/>
                  <a:pt x="4808706" y="869186"/>
                  <a:pt x="4801187" y="857890"/>
                </a:cubicBezTo>
                <a:cubicBezTo>
                  <a:pt x="4793667" y="869186"/>
                  <a:pt x="4771109" y="884248"/>
                  <a:pt x="4782388" y="899309"/>
                </a:cubicBezTo>
                <a:cubicBezTo>
                  <a:pt x="4774869" y="895544"/>
                  <a:pt x="4759829" y="906840"/>
                  <a:pt x="4748551" y="914371"/>
                </a:cubicBezTo>
                <a:cubicBezTo>
                  <a:pt x="4752310" y="929432"/>
                  <a:pt x="4752310" y="944494"/>
                  <a:pt x="4767349" y="955790"/>
                </a:cubicBezTo>
                <a:cubicBezTo>
                  <a:pt x="4767349" y="955790"/>
                  <a:pt x="4767349" y="955790"/>
                  <a:pt x="4797427" y="940729"/>
                </a:cubicBezTo>
                <a:cubicBezTo>
                  <a:pt x="4812466" y="952025"/>
                  <a:pt x="4767349" y="955790"/>
                  <a:pt x="4767349" y="967086"/>
                </a:cubicBezTo>
                <a:cubicBezTo>
                  <a:pt x="4767349" y="989679"/>
                  <a:pt x="4786147" y="1012271"/>
                  <a:pt x="4774869" y="1031098"/>
                </a:cubicBezTo>
                <a:cubicBezTo>
                  <a:pt x="4789907" y="1034863"/>
                  <a:pt x="4786147" y="1038629"/>
                  <a:pt x="4797427" y="1042394"/>
                </a:cubicBezTo>
                <a:cubicBezTo>
                  <a:pt x="4797427" y="1042394"/>
                  <a:pt x="4797427" y="1042394"/>
                  <a:pt x="4846303" y="1019802"/>
                </a:cubicBezTo>
                <a:cubicBezTo>
                  <a:pt x="4846303" y="1019802"/>
                  <a:pt x="4846303" y="1019802"/>
                  <a:pt x="4853823" y="1023567"/>
                </a:cubicBezTo>
                <a:cubicBezTo>
                  <a:pt x="4853823" y="1023567"/>
                  <a:pt x="4853823" y="1023567"/>
                  <a:pt x="4861343" y="1019802"/>
                </a:cubicBezTo>
                <a:cubicBezTo>
                  <a:pt x="4861343" y="1031098"/>
                  <a:pt x="4868862" y="1042394"/>
                  <a:pt x="4865103" y="1053690"/>
                </a:cubicBezTo>
                <a:cubicBezTo>
                  <a:pt x="4838784" y="1072517"/>
                  <a:pt x="4801187" y="1080048"/>
                  <a:pt x="4767349" y="1095110"/>
                </a:cubicBezTo>
                <a:cubicBezTo>
                  <a:pt x="4767349" y="1095110"/>
                  <a:pt x="4767349" y="1095110"/>
                  <a:pt x="4752310" y="1095110"/>
                </a:cubicBezTo>
                <a:cubicBezTo>
                  <a:pt x="4752310" y="1095110"/>
                  <a:pt x="4752310" y="1095110"/>
                  <a:pt x="4756070" y="1091344"/>
                </a:cubicBezTo>
                <a:cubicBezTo>
                  <a:pt x="4756070" y="1083814"/>
                  <a:pt x="4741031" y="1091344"/>
                  <a:pt x="4733511" y="1091344"/>
                </a:cubicBezTo>
                <a:cubicBezTo>
                  <a:pt x="4733511" y="1091344"/>
                  <a:pt x="4733511" y="1091344"/>
                  <a:pt x="4677115" y="1098875"/>
                </a:cubicBezTo>
                <a:cubicBezTo>
                  <a:pt x="4699673" y="1106406"/>
                  <a:pt x="4741031" y="1102641"/>
                  <a:pt x="4756070" y="1106406"/>
                </a:cubicBezTo>
                <a:cubicBezTo>
                  <a:pt x="4725992" y="1121467"/>
                  <a:pt x="4684635" y="1106406"/>
                  <a:pt x="4654557" y="1125233"/>
                </a:cubicBezTo>
                <a:cubicBezTo>
                  <a:pt x="4647037" y="1110171"/>
                  <a:pt x="4598161" y="1121467"/>
                  <a:pt x="4571843" y="1117702"/>
                </a:cubicBezTo>
                <a:cubicBezTo>
                  <a:pt x="4556803" y="1125233"/>
                  <a:pt x="4549284" y="1136529"/>
                  <a:pt x="4530485" y="1140294"/>
                </a:cubicBezTo>
                <a:cubicBezTo>
                  <a:pt x="4530485" y="1140294"/>
                  <a:pt x="4530485" y="1140294"/>
                  <a:pt x="4526726" y="1136529"/>
                </a:cubicBezTo>
                <a:cubicBezTo>
                  <a:pt x="4511687" y="1140294"/>
                  <a:pt x="4500407" y="1155356"/>
                  <a:pt x="4507927" y="1159121"/>
                </a:cubicBezTo>
                <a:cubicBezTo>
                  <a:pt x="4507927" y="1159121"/>
                  <a:pt x="4507927" y="1159121"/>
                  <a:pt x="4511687" y="1162887"/>
                </a:cubicBezTo>
                <a:cubicBezTo>
                  <a:pt x="4496648" y="1162887"/>
                  <a:pt x="4477849" y="1162887"/>
                  <a:pt x="4470329" y="1155356"/>
                </a:cubicBezTo>
                <a:cubicBezTo>
                  <a:pt x="4447771" y="1159121"/>
                  <a:pt x="4425213" y="1162887"/>
                  <a:pt x="4410174" y="1170418"/>
                </a:cubicBezTo>
                <a:cubicBezTo>
                  <a:pt x="4413933" y="1166652"/>
                  <a:pt x="4383855" y="1166652"/>
                  <a:pt x="4406414" y="1159121"/>
                </a:cubicBezTo>
                <a:cubicBezTo>
                  <a:pt x="4383855" y="1162887"/>
                  <a:pt x="4365057" y="1136529"/>
                  <a:pt x="4342499" y="1159121"/>
                </a:cubicBezTo>
                <a:cubicBezTo>
                  <a:pt x="4342499" y="1159121"/>
                  <a:pt x="4342499" y="1159121"/>
                  <a:pt x="4350018" y="1166652"/>
                </a:cubicBezTo>
                <a:cubicBezTo>
                  <a:pt x="4319940" y="1170418"/>
                  <a:pt x="4289862" y="1140294"/>
                  <a:pt x="4282343" y="1170418"/>
                </a:cubicBezTo>
                <a:cubicBezTo>
                  <a:pt x="4286103" y="1174183"/>
                  <a:pt x="4293622" y="1174183"/>
                  <a:pt x="4297381" y="1177948"/>
                </a:cubicBezTo>
                <a:cubicBezTo>
                  <a:pt x="4271063" y="1193010"/>
                  <a:pt x="4263544" y="1166652"/>
                  <a:pt x="4229707" y="1177948"/>
                </a:cubicBezTo>
                <a:cubicBezTo>
                  <a:pt x="4203388" y="1185479"/>
                  <a:pt x="4177070" y="1200541"/>
                  <a:pt x="4146992" y="1200541"/>
                </a:cubicBezTo>
                <a:cubicBezTo>
                  <a:pt x="4109395" y="1208071"/>
                  <a:pt x="4079317" y="1208071"/>
                  <a:pt x="4041719" y="1215602"/>
                </a:cubicBezTo>
                <a:cubicBezTo>
                  <a:pt x="3913888" y="1238195"/>
                  <a:pt x="3782297" y="1245725"/>
                  <a:pt x="3665745" y="1249491"/>
                </a:cubicBezTo>
                <a:cubicBezTo>
                  <a:pt x="3669505" y="1249491"/>
                  <a:pt x="3669505" y="1249491"/>
                  <a:pt x="3673265" y="1245725"/>
                </a:cubicBezTo>
                <a:cubicBezTo>
                  <a:pt x="3583031" y="1219368"/>
                  <a:pt x="3447681" y="1260787"/>
                  <a:pt x="3349927" y="1257022"/>
                </a:cubicBezTo>
                <a:cubicBezTo>
                  <a:pt x="3402564" y="1253256"/>
                  <a:pt x="3447681" y="1245725"/>
                  <a:pt x="3500317" y="1234429"/>
                </a:cubicBezTo>
                <a:cubicBezTo>
                  <a:pt x="3417603" y="1226898"/>
                  <a:pt x="3327369" y="1238195"/>
                  <a:pt x="3244655" y="1241960"/>
                </a:cubicBezTo>
                <a:cubicBezTo>
                  <a:pt x="3267213" y="1230664"/>
                  <a:pt x="3297291" y="1234429"/>
                  <a:pt x="3316090" y="1226898"/>
                </a:cubicBezTo>
                <a:cubicBezTo>
                  <a:pt x="3316090" y="1226898"/>
                  <a:pt x="3316090" y="1226898"/>
                  <a:pt x="3327369" y="1234429"/>
                </a:cubicBezTo>
                <a:cubicBezTo>
                  <a:pt x="3353687" y="1230664"/>
                  <a:pt x="3380005" y="1211837"/>
                  <a:pt x="3410083" y="1215602"/>
                </a:cubicBezTo>
                <a:cubicBezTo>
                  <a:pt x="3410083" y="1215602"/>
                  <a:pt x="3410083" y="1215602"/>
                  <a:pt x="3410083" y="1208071"/>
                </a:cubicBezTo>
                <a:cubicBezTo>
                  <a:pt x="3598070" y="1193010"/>
                  <a:pt x="3804856" y="1185479"/>
                  <a:pt x="3996603" y="1147825"/>
                </a:cubicBezTo>
                <a:cubicBezTo>
                  <a:pt x="4015401" y="1144060"/>
                  <a:pt x="4045479" y="1151591"/>
                  <a:pt x="4056759" y="1136529"/>
                </a:cubicBezTo>
                <a:cubicBezTo>
                  <a:pt x="4056759" y="1136529"/>
                  <a:pt x="4056759" y="1136529"/>
                  <a:pt x="4037960" y="1132764"/>
                </a:cubicBezTo>
                <a:cubicBezTo>
                  <a:pt x="4045479" y="1125233"/>
                  <a:pt x="4060518" y="1128998"/>
                  <a:pt x="4064278" y="1132764"/>
                </a:cubicBezTo>
                <a:cubicBezTo>
                  <a:pt x="4064278" y="1132764"/>
                  <a:pt x="4064278" y="1132764"/>
                  <a:pt x="4068037" y="1132764"/>
                </a:cubicBezTo>
                <a:cubicBezTo>
                  <a:pt x="4075557" y="1121467"/>
                  <a:pt x="4094356" y="1136529"/>
                  <a:pt x="4105635" y="1121467"/>
                </a:cubicBezTo>
                <a:cubicBezTo>
                  <a:pt x="4101875" y="1110171"/>
                  <a:pt x="4079317" y="1121467"/>
                  <a:pt x="4064278" y="1121467"/>
                </a:cubicBezTo>
                <a:cubicBezTo>
                  <a:pt x="4049239" y="1117702"/>
                  <a:pt x="4022921" y="1106406"/>
                  <a:pt x="3985323" y="1121467"/>
                </a:cubicBezTo>
                <a:cubicBezTo>
                  <a:pt x="3868771" y="1106406"/>
                  <a:pt x="3748460" y="1147825"/>
                  <a:pt x="3631908" y="1132764"/>
                </a:cubicBezTo>
                <a:cubicBezTo>
                  <a:pt x="3594311" y="1117702"/>
                  <a:pt x="3526635" y="1140294"/>
                  <a:pt x="3470239" y="1140294"/>
                </a:cubicBezTo>
                <a:cubicBezTo>
                  <a:pt x="3308570" y="1159121"/>
                  <a:pt x="3146901" y="1147825"/>
                  <a:pt x="2981473" y="1170418"/>
                </a:cubicBezTo>
                <a:cubicBezTo>
                  <a:pt x="2913798" y="1159121"/>
                  <a:pt x="2846123" y="1181714"/>
                  <a:pt x="2789726" y="1166652"/>
                </a:cubicBezTo>
                <a:cubicBezTo>
                  <a:pt x="2691973" y="1159121"/>
                  <a:pt x="2601740" y="1174183"/>
                  <a:pt x="2519025" y="1159121"/>
                </a:cubicBezTo>
                <a:cubicBezTo>
                  <a:pt x="2519025" y="1159121"/>
                  <a:pt x="2519025" y="1159121"/>
                  <a:pt x="2511506" y="1162887"/>
                </a:cubicBezTo>
                <a:cubicBezTo>
                  <a:pt x="2503986" y="1155356"/>
                  <a:pt x="2492707" y="1166652"/>
                  <a:pt x="2488947" y="1166652"/>
                </a:cubicBezTo>
                <a:cubicBezTo>
                  <a:pt x="2451350" y="1177948"/>
                  <a:pt x="2406233" y="1177948"/>
                  <a:pt x="2368636" y="1177948"/>
                </a:cubicBezTo>
                <a:cubicBezTo>
                  <a:pt x="2323519" y="1196775"/>
                  <a:pt x="2274642" y="1193010"/>
                  <a:pt x="2225766" y="1196775"/>
                </a:cubicBezTo>
                <a:cubicBezTo>
                  <a:pt x="2000181" y="1196775"/>
                  <a:pt x="1706922" y="1193010"/>
                  <a:pt x="1466298" y="1189245"/>
                </a:cubicBezTo>
                <a:cubicBezTo>
                  <a:pt x="1402383" y="1174183"/>
                  <a:pt x="1327188" y="1189245"/>
                  <a:pt x="1259513" y="1177948"/>
                </a:cubicBezTo>
                <a:cubicBezTo>
                  <a:pt x="1165519" y="1174183"/>
                  <a:pt x="1086565" y="1162887"/>
                  <a:pt x="992571" y="1162887"/>
                </a:cubicBezTo>
                <a:cubicBezTo>
                  <a:pt x="966253" y="1162887"/>
                  <a:pt x="917377" y="1162887"/>
                  <a:pt x="891058" y="1155356"/>
                </a:cubicBezTo>
                <a:lnTo>
                  <a:pt x="883995" y="1158893"/>
                </a:lnTo>
                <a:lnTo>
                  <a:pt x="876489" y="1158650"/>
                </a:lnTo>
                <a:cubicBezTo>
                  <a:pt x="861920" y="1158180"/>
                  <a:pt x="832782" y="1157239"/>
                  <a:pt x="774506" y="1155356"/>
                </a:cubicBezTo>
                <a:cubicBezTo>
                  <a:pt x="755708" y="1166652"/>
                  <a:pt x="733149" y="1155356"/>
                  <a:pt x="710591" y="1166652"/>
                </a:cubicBezTo>
                <a:cubicBezTo>
                  <a:pt x="661714" y="1162887"/>
                  <a:pt x="590279" y="1166652"/>
                  <a:pt x="530123" y="1166652"/>
                </a:cubicBezTo>
                <a:cubicBezTo>
                  <a:pt x="522604" y="1166652"/>
                  <a:pt x="522604" y="1174183"/>
                  <a:pt x="511325" y="1170418"/>
                </a:cubicBezTo>
                <a:cubicBezTo>
                  <a:pt x="511325" y="1170418"/>
                  <a:pt x="511325" y="1170418"/>
                  <a:pt x="507565" y="1170418"/>
                </a:cubicBezTo>
                <a:cubicBezTo>
                  <a:pt x="500046" y="1174183"/>
                  <a:pt x="496286" y="1177948"/>
                  <a:pt x="488766" y="1174183"/>
                </a:cubicBezTo>
                <a:cubicBezTo>
                  <a:pt x="469968" y="1170418"/>
                  <a:pt x="443649" y="1166652"/>
                  <a:pt x="424851" y="1170418"/>
                </a:cubicBezTo>
                <a:cubicBezTo>
                  <a:pt x="424851" y="1170418"/>
                  <a:pt x="424851" y="1170418"/>
                  <a:pt x="421091" y="1162887"/>
                </a:cubicBezTo>
                <a:cubicBezTo>
                  <a:pt x="413572" y="1166652"/>
                  <a:pt x="409812" y="1170418"/>
                  <a:pt x="398533" y="1170418"/>
                </a:cubicBezTo>
                <a:cubicBezTo>
                  <a:pt x="406052" y="1151591"/>
                  <a:pt x="368455" y="1166652"/>
                  <a:pt x="357175" y="1159121"/>
                </a:cubicBezTo>
                <a:cubicBezTo>
                  <a:pt x="349655" y="1162887"/>
                  <a:pt x="342136" y="1159121"/>
                  <a:pt x="334617" y="1162887"/>
                </a:cubicBezTo>
                <a:cubicBezTo>
                  <a:pt x="338376" y="1159121"/>
                  <a:pt x="334617" y="1159121"/>
                  <a:pt x="338376" y="1155356"/>
                </a:cubicBezTo>
                <a:cubicBezTo>
                  <a:pt x="323337" y="1155356"/>
                  <a:pt x="315818" y="1151591"/>
                  <a:pt x="300779" y="1155356"/>
                </a:cubicBezTo>
                <a:cubicBezTo>
                  <a:pt x="289500" y="1140294"/>
                  <a:pt x="263181" y="1140294"/>
                  <a:pt x="233104" y="1140294"/>
                </a:cubicBezTo>
                <a:cubicBezTo>
                  <a:pt x="266941" y="1136529"/>
                  <a:pt x="323337" y="1136529"/>
                  <a:pt x="353415" y="1125233"/>
                </a:cubicBezTo>
                <a:cubicBezTo>
                  <a:pt x="345896" y="1121467"/>
                  <a:pt x="330857" y="1125233"/>
                  <a:pt x="315818" y="1125233"/>
                </a:cubicBezTo>
                <a:cubicBezTo>
                  <a:pt x="312058" y="1117702"/>
                  <a:pt x="323337" y="1113937"/>
                  <a:pt x="327097" y="1110171"/>
                </a:cubicBezTo>
                <a:cubicBezTo>
                  <a:pt x="327097" y="1110171"/>
                  <a:pt x="327097" y="1110171"/>
                  <a:pt x="274461" y="1102641"/>
                </a:cubicBezTo>
                <a:cubicBezTo>
                  <a:pt x="297019" y="1102641"/>
                  <a:pt x="360935" y="1106406"/>
                  <a:pt x="387253" y="1095110"/>
                </a:cubicBezTo>
                <a:cubicBezTo>
                  <a:pt x="364695" y="1091344"/>
                  <a:pt x="349655" y="1095110"/>
                  <a:pt x="334617" y="1095110"/>
                </a:cubicBezTo>
                <a:cubicBezTo>
                  <a:pt x="338376" y="1087579"/>
                  <a:pt x="319578" y="1083814"/>
                  <a:pt x="312058" y="1083814"/>
                </a:cubicBezTo>
                <a:cubicBezTo>
                  <a:pt x="308298" y="1080048"/>
                  <a:pt x="353415" y="1083814"/>
                  <a:pt x="338376" y="1072517"/>
                </a:cubicBezTo>
                <a:cubicBezTo>
                  <a:pt x="360935" y="1068752"/>
                  <a:pt x="342136" y="1049925"/>
                  <a:pt x="372214" y="1046160"/>
                </a:cubicBezTo>
                <a:cubicBezTo>
                  <a:pt x="338376" y="1042394"/>
                  <a:pt x="323337" y="1080048"/>
                  <a:pt x="293259" y="1064987"/>
                </a:cubicBezTo>
                <a:cubicBezTo>
                  <a:pt x="281980" y="1057456"/>
                  <a:pt x="315818" y="1031098"/>
                  <a:pt x="281980" y="1034863"/>
                </a:cubicBezTo>
                <a:cubicBezTo>
                  <a:pt x="236863" y="1016037"/>
                  <a:pt x="334617" y="1012271"/>
                  <a:pt x="308298" y="985913"/>
                </a:cubicBezTo>
                <a:cubicBezTo>
                  <a:pt x="315818" y="982148"/>
                  <a:pt x="315818" y="978383"/>
                  <a:pt x="323337" y="978383"/>
                </a:cubicBezTo>
                <a:cubicBezTo>
                  <a:pt x="300779" y="978383"/>
                  <a:pt x="289500" y="963321"/>
                  <a:pt x="263181" y="970852"/>
                </a:cubicBezTo>
                <a:cubicBezTo>
                  <a:pt x="206785" y="948259"/>
                  <a:pt x="289500" y="940729"/>
                  <a:pt x="300779" y="918136"/>
                </a:cubicBezTo>
                <a:cubicBezTo>
                  <a:pt x="312058" y="918136"/>
                  <a:pt x="327097" y="918136"/>
                  <a:pt x="330857" y="914371"/>
                </a:cubicBezTo>
                <a:cubicBezTo>
                  <a:pt x="251902" y="880482"/>
                  <a:pt x="139110" y="872952"/>
                  <a:pt x="67675" y="831532"/>
                </a:cubicBezTo>
                <a:cubicBezTo>
                  <a:pt x="52636" y="827767"/>
                  <a:pt x="33837" y="824001"/>
                  <a:pt x="11279" y="824001"/>
                </a:cubicBezTo>
                <a:cubicBezTo>
                  <a:pt x="11279" y="824001"/>
                  <a:pt x="11279" y="824001"/>
                  <a:pt x="0" y="820236"/>
                </a:cubicBezTo>
                <a:cubicBezTo>
                  <a:pt x="0" y="820236"/>
                  <a:pt x="0" y="820236"/>
                  <a:pt x="30078" y="820236"/>
                </a:cubicBezTo>
                <a:cubicBezTo>
                  <a:pt x="26318" y="820236"/>
                  <a:pt x="33837" y="824001"/>
                  <a:pt x="33837" y="824001"/>
                </a:cubicBezTo>
                <a:cubicBezTo>
                  <a:pt x="41357" y="824001"/>
                  <a:pt x="41357" y="820236"/>
                  <a:pt x="45117" y="820236"/>
                </a:cubicBezTo>
                <a:cubicBezTo>
                  <a:pt x="45117" y="820236"/>
                  <a:pt x="45117" y="820236"/>
                  <a:pt x="45117" y="812705"/>
                </a:cubicBezTo>
                <a:cubicBezTo>
                  <a:pt x="101513" y="831532"/>
                  <a:pt x="161669" y="857890"/>
                  <a:pt x="236863" y="865421"/>
                </a:cubicBezTo>
                <a:cubicBezTo>
                  <a:pt x="236863" y="865421"/>
                  <a:pt x="236863" y="865421"/>
                  <a:pt x="240623" y="861655"/>
                </a:cubicBezTo>
                <a:cubicBezTo>
                  <a:pt x="236863" y="872952"/>
                  <a:pt x="251902" y="869186"/>
                  <a:pt x="259422" y="869186"/>
                </a:cubicBezTo>
                <a:cubicBezTo>
                  <a:pt x="259422" y="869186"/>
                  <a:pt x="259422" y="869186"/>
                  <a:pt x="270701" y="861655"/>
                </a:cubicBezTo>
                <a:cubicBezTo>
                  <a:pt x="270701" y="861655"/>
                  <a:pt x="270701" y="861655"/>
                  <a:pt x="274461" y="865421"/>
                </a:cubicBezTo>
                <a:cubicBezTo>
                  <a:pt x="274461" y="865421"/>
                  <a:pt x="274461" y="865421"/>
                  <a:pt x="278220" y="861655"/>
                </a:cubicBezTo>
                <a:cubicBezTo>
                  <a:pt x="274461" y="854125"/>
                  <a:pt x="251902" y="854125"/>
                  <a:pt x="233104" y="857890"/>
                </a:cubicBezTo>
                <a:cubicBezTo>
                  <a:pt x="233104" y="839063"/>
                  <a:pt x="270701" y="850359"/>
                  <a:pt x="278220" y="842828"/>
                </a:cubicBezTo>
                <a:cubicBezTo>
                  <a:pt x="278220" y="842828"/>
                  <a:pt x="278220" y="842828"/>
                  <a:pt x="293259" y="842828"/>
                </a:cubicBezTo>
                <a:cubicBezTo>
                  <a:pt x="297019" y="846594"/>
                  <a:pt x="281980" y="850359"/>
                  <a:pt x="278220" y="854125"/>
                </a:cubicBezTo>
                <a:cubicBezTo>
                  <a:pt x="289500" y="854125"/>
                  <a:pt x="300779" y="865421"/>
                  <a:pt x="312058" y="857890"/>
                </a:cubicBezTo>
                <a:cubicBezTo>
                  <a:pt x="297019" y="850359"/>
                  <a:pt x="315818" y="850359"/>
                  <a:pt x="312058" y="842828"/>
                </a:cubicBezTo>
                <a:cubicBezTo>
                  <a:pt x="312058" y="842828"/>
                  <a:pt x="312058" y="842828"/>
                  <a:pt x="308298" y="839063"/>
                </a:cubicBezTo>
                <a:cubicBezTo>
                  <a:pt x="308298" y="839063"/>
                  <a:pt x="308298" y="839063"/>
                  <a:pt x="304539" y="839063"/>
                </a:cubicBezTo>
                <a:cubicBezTo>
                  <a:pt x="308298" y="839063"/>
                  <a:pt x="308298" y="839063"/>
                  <a:pt x="308298" y="835298"/>
                </a:cubicBezTo>
                <a:cubicBezTo>
                  <a:pt x="308298" y="835298"/>
                  <a:pt x="308298" y="835298"/>
                  <a:pt x="297019" y="831532"/>
                </a:cubicBezTo>
                <a:cubicBezTo>
                  <a:pt x="289500" y="835298"/>
                  <a:pt x="278220" y="839063"/>
                  <a:pt x="270701" y="835298"/>
                </a:cubicBezTo>
                <a:cubicBezTo>
                  <a:pt x="274461" y="827767"/>
                  <a:pt x="300779" y="827767"/>
                  <a:pt x="312058" y="820236"/>
                </a:cubicBezTo>
                <a:cubicBezTo>
                  <a:pt x="312058" y="820236"/>
                  <a:pt x="312058" y="820236"/>
                  <a:pt x="308298" y="816471"/>
                </a:cubicBezTo>
                <a:cubicBezTo>
                  <a:pt x="319578" y="808940"/>
                  <a:pt x="383494" y="812705"/>
                  <a:pt x="353415" y="793878"/>
                </a:cubicBezTo>
                <a:cubicBezTo>
                  <a:pt x="349655" y="790113"/>
                  <a:pt x="342136" y="790113"/>
                  <a:pt x="334617" y="790113"/>
                </a:cubicBezTo>
                <a:cubicBezTo>
                  <a:pt x="304539" y="801409"/>
                  <a:pt x="270701" y="835298"/>
                  <a:pt x="233104" y="824001"/>
                </a:cubicBezTo>
                <a:cubicBezTo>
                  <a:pt x="210545" y="839063"/>
                  <a:pt x="191746" y="835298"/>
                  <a:pt x="161669" y="839063"/>
                </a:cubicBezTo>
                <a:cubicBezTo>
                  <a:pt x="161669" y="839063"/>
                  <a:pt x="161669" y="839063"/>
                  <a:pt x="184227" y="827767"/>
                </a:cubicBezTo>
                <a:cubicBezTo>
                  <a:pt x="184227" y="827767"/>
                  <a:pt x="184227" y="827767"/>
                  <a:pt x="176707" y="827767"/>
                </a:cubicBezTo>
                <a:cubicBezTo>
                  <a:pt x="199266" y="827767"/>
                  <a:pt x="214305" y="805175"/>
                  <a:pt x="251902" y="805175"/>
                </a:cubicBezTo>
                <a:cubicBezTo>
                  <a:pt x="259422" y="801409"/>
                  <a:pt x="259422" y="793878"/>
                  <a:pt x="274461" y="797644"/>
                </a:cubicBezTo>
                <a:cubicBezTo>
                  <a:pt x="274461" y="797644"/>
                  <a:pt x="274461" y="797644"/>
                  <a:pt x="281980" y="797644"/>
                </a:cubicBezTo>
                <a:cubicBezTo>
                  <a:pt x="281980" y="797644"/>
                  <a:pt x="281980" y="797644"/>
                  <a:pt x="297019" y="790113"/>
                </a:cubicBezTo>
                <a:cubicBezTo>
                  <a:pt x="297019" y="790113"/>
                  <a:pt x="297019" y="790113"/>
                  <a:pt x="293259" y="786348"/>
                </a:cubicBezTo>
                <a:cubicBezTo>
                  <a:pt x="281980" y="778817"/>
                  <a:pt x="372214" y="782582"/>
                  <a:pt x="327097" y="763755"/>
                </a:cubicBezTo>
                <a:cubicBezTo>
                  <a:pt x="300779" y="778817"/>
                  <a:pt x="255662" y="771286"/>
                  <a:pt x="236863" y="786348"/>
                </a:cubicBezTo>
                <a:cubicBezTo>
                  <a:pt x="236863" y="786348"/>
                  <a:pt x="236863" y="786348"/>
                  <a:pt x="199266" y="790113"/>
                </a:cubicBezTo>
                <a:cubicBezTo>
                  <a:pt x="244383" y="771286"/>
                  <a:pt x="330857" y="763755"/>
                  <a:pt x="330857" y="726101"/>
                </a:cubicBezTo>
                <a:cubicBezTo>
                  <a:pt x="345896" y="718570"/>
                  <a:pt x="353415" y="711040"/>
                  <a:pt x="357175" y="699743"/>
                </a:cubicBezTo>
                <a:cubicBezTo>
                  <a:pt x="360935" y="703509"/>
                  <a:pt x="360935" y="699743"/>
                  <a:pt x="364695" y="699743"/>
                </a:cubicBezTo>
                <a:cubicBezTo>
                  <a:pt x="364695" y="699743"/>
                  <a:pt x="364695" y="699743"/>
                  <a:pt x="364695" y="688447"/>
                </a:cubicBezTo>
                <a:cubicBezTo>
                  <a:pt x="387253" y="680917"/>
                  <a:pt x="398533" y="665855"/>
                  <a:pt x="402292" y="650793"/>
                </a:cubicBezTo>
                <a:cubicBezTo>
                  <a:pt x="439890" y="628201"/>
                  <a:pt x="417331" y="575486"/>
                  <a:pt x="511325" y="579251"/>
                </a:cubicBezTo>
                <a:cubicBezTo>
                  <a:pt x="526364" y="564190"/>
                  <a:pt x="537643" y="549128"/>
                  <a:pt x="551742" y="534537"/>
                </a:cubicBezTo>
                <a:lnTo>
                  <a:pt x="561872" y="527136"/>
                </a:lnTo>
                <a:lnTo>
                  <a:pt x="558113" y="526214"/>
                </a:lnTo>
                <a:cubicBezTo>
                  <a:pt x="511116" y="514918"/>
                  <a:pt x="465059" y="502680"/>
                  <a:pt x="429342" y="481970"/>
                </a:cubicBezTo>
                <a:cubicBezTo>
                  <a:pt x="414303" y="478205"/>
                  <a:pt x="395504" y="474440"/>
                  <a:pt x="372945" y="474440"/>
                </a:cubicBezTo>
                <a:cubicBezTo>
                  <a:pt x="372945" y="474440"/>
                  <a:pt x="372945" y="474440"/>
                  <a:pt x="361666" y="470674"/>
                </a:cubicBezTo>
                <a:cubicBezTo>
                  <a:pt x="361666" y="470674"/>
                  <a:pt x="361666" y="470674"/>
                  <a:pt x="391744" y="470674"/>
                </a:cubicBezTo>
                <a:cubicBezTo>
                  <a:pt x="387984" y="470674"/>
                  <a:pt x="395504" y="474440"/>
                  <a:pt x="395504" y="474440"/>
                </a:cubicBezTo>
                <a:cubicBezTo>
                  <a:pt x="403023" y="474440"/>
                  <a:pt x="403023" y="470674"/>
                  <a:pt x="406783" y="470674"/>
                </a:cubicBezTo>
                <a:cubicBezTo>
                  <a:pt x="406783" y="470674"/>
                  <a:pt x="406783" y="470674"/>
                  <a:pt x="406783" y="463144"/>
                </a:cubicBezTo>
                <a:cubicBezTo>
                  <a:pt x="434981" y="472557"/>
                  <a:pt x="464119" y="483853"/>
                  <a:pt x="495607" y="493737"/>
                </a:cubicBezTo>
                <a:lnTo>
                  <a:pt x="582131" y="512335"/>
                </a:lnTo>
                <a:lnTo>
                  <a:pt x="609078" y="492647"/>
                </a:lnTo>
                <a:cubicBezTo>
                  <a:pt x="610958" y="494530"/>
                  <a:pt x="614718" y="494530"/>
                  <a:pt x="618947" y="494530"/>
                </a:cubicBezTo>
                <a:lnTo>
                  <a:pt x="624178" y="495306"/>
                </a:lnTo>
                <a:lnTo>
                  <a:pt x="639060" y="493374"/>
                </a:lnTo>
                <a:lnTo>
                  <a:pt x="653196" y="487588"/>
                </a:lnTo>
                <a:lnTo>
                  <a:pt x="661962" y="483064"/>
                </a:lnTo>
                <a:lnTo>
                  <a:pt x="658686" y="481970"/>
                </a:lnTo>
                <a:cubicBezTo>
                  <a:pt x="651166" y="485736"/>
                  <a:pt x="639887" y="489501"/>
                  <a:pt x="632367" y="485736"/>
                </a:cubicBezTo>
                <a:cubicBezTo>
                  <a:pt x="636127" y="478205"/>
                  <a:pt x="662445" y="478205"/>
                  <a:pt x="673725" y="470674"/>
                </a:cubicBezTo>
                <a:cubicBezTo>
                  <a:pt x="673725" y="470674"/>
                  <a:pt x="673725" y="470674"/>
                  <a:pt x="669965" y="466909"/>
                </a:cubicBezTo>
                <a:cubicBezTo>
                  <a:pt x="681244" y="459378"/>
                  <a:pt x="745160" y="463144"/>
                  <a:pt x="715082" y="444317"/>
                </a:cubicBezTo>
                <a:cubicBezTo>
                  <a:pt x="711322" y="440551"/>
                  <a:pt x="703802" y="440551"/>
                  <a:pt x="696283" y="440551"/>
                </a:cubicBezTo>
                <a:cubicBezTo>
                  <a:pt x="666205" y="451847"/>
                  <a:pt x="632367" y="485736"/>
                  <a:pt x="594770" y="474440"/>
                </a:cubicBezTo>
                <a:cubicBezTo>
                  <a:pt x="572212" y="489501"/>
                  <a:pt x="553413" y="485736"/>
                  <a:pt x="523335" y="489501"/>
                </a:cubicBezTo>
                <a:cubicBezTo>
                  <a:pt x="523335" y="489501"/>
                  <a:pt x="523335" y="489501"/>
                  <a:pt x="545893" y="478205"/>
                </a:cubicBezTo>
                <a:cubicBezTo>
                  <a:pt x="545893" y="478205"/>
                  <a:pt x="545893" y="478205"/>
                  <a:pt x="538374" y="478205"/>
                </a:cubicBezTo>
                <a:cubicBezTo>
                  <a:pt x="560932" y="478205"/>
                  <a:pt x="575971" y="455613"/>
                  <a:pt x="613569" y="455613"/>
                </a:cubicBezTo>
                <a:cubicBezTo>
                  <a:pt x="621088" y="451847"/>
                  <a:pt x="621088" y="444317"/>
                  <a:pt x="636127" y="448082"/>
                </a:cubicBezTo>
                <a:cubicBezTo>
                  <a:pt x="636127" y="448082"/>
                  <a:pt x="636127" y="448082"/>
                  <a:pt x="643647" y="448082"/>
                </a:cubicBezTo>
                <a:cubicBezTo>
                  <a:pt x="643647" y="448082"/>
                  <a:pt x="643647" y="448082"/>
                  <a:pt x="658686" y="440551"/>
                </a:cubicBezTo>
                <a:cubicBezTo>
                  <a:pt x="658686" y="440551"/>
                  <a:pt x="658686" y="440551"/>
                  <a:pt x="654926" y="436786"/>
                </a:cubicBezTo>
                <a:cubicBezTo>
                  <a:pt x="643647" y="429255"/>
                  <a:pt x="733880" y="433020"/>
                  <a:pt x="688764" y="414193"/>
                </a:cubicBezTo>
                <a:cubicBezTo>
                  <a:pt x="662445" y="429255"/>
                  <a:pt x="617328" y="421724"/>
                  <a:pt x="598530" y="436786"/>
                </a:cubicBezTo>
                <a:cubicBezTo>
                  <a:pt x="598530" y="436786"/>
                  <a:pt x="598530" y="436786"/>
                  <a:pt x="560932" y="440551"/>
                </a:cubicBezTo>
                <a:cubicBezTo>
                  <a:pt x="606049" y="421724"/>
                  <a:pt x="692523" y="414193"/>
                  <a:pt x="692523" y="376539"/>
                </a:cubicBezTo>
                <a:cubicBezTo>
                  <a:pt x="707562" y="369009"/>
                  <a:pt x="715082" y="361478"/>
                  <a:pt x="718841" y="350182"/>
                </a:cubicBezTo>
                <a:cubicBezTo>
                  <a:pt x="722601" y="353947"/>
                  <a:pt x="722601" y="350182"/>
                  <a:pt x="726361" y="350182"/>
                </a:cubicBezTo>
                <a:cubicBezTo>
                  <a:pt x="726361" y="350182"/>
                  <a:pt x="726361" y="350182"/>
                  <a:pt x="726361" y="338886"/>
                </a:cubicBezTo>
                <a:cubicBezTo>
                  <a:pt x="748919" y="331355"/>
                  <a:pt x="760199" y="316293"/>
                  <a:pt x="763958" y="301232"/>
                </a:cubicBezTo>
                <a:cubicBezTo>
                  <a:pt x="801556" y="278639"/>
                  <a:pt x="778997" y="225924"/>
                  <a:pt x="872991" y="229689"/>
                </a:cubicBezTo>
                <a:cubicBezTo>
                  <a:pt x="903069" y="199566"/>
                  <a:pt x="918108" y="169443"/>
                  <a:pt x="970744" y="143085"/>
                </a:cubicBezTo>
                <a:cubicBezTo>
                  <a:pt x="974504" y="146851"/>
                  <a:pt x="985783" y="143085"/>
                  <a:pt x="993302" y="146851"/>
                </a:cubicBezTo>
                <a:cubicBezTo>
                  <a:pt x="1023380" y="139320"/>
                  <a:pt x="1045939" y="109197"/>
                  <a:pt x="1087296" y="124258"/>
                </a:cubicBezTo>
                <a:cubicBezTo>
                  <a:pt x="1098575" y="128024"/>
                  <a:pt x="1102335" y="124258"/>
                  <a:pt x="1109854" y="120493"/>
                </a:cubicBezTo>
                <a:cubicBezTo>
                  <a:pt x="1109854" y="120493"/>
                  <a:pt x="1109854" y="120493"/>
                  <a:pt x="1109854" y="112962"/>
                </a:cubicBezTo>
                <a:cubicBezTo>
                  <a:pt x="1113614" y="128024"/>
                  <a:pt x="1154971" y="124258"/>
                  <a:pt x="1173770" y="120493"/>
                </a:cubicBezTo>
                <a:cubicBezTo>
                  <a:pt x="1170010" y="124258"/>
                  <a:pt x="1177530" y="128024"/>
                  <a:pt x="1166250" y="131789"/>
                </a:cubicBezTo>
                <a:cubicBezTo>
                  <a:pt x="1211367" y="139320"/>
                  <a:pt x="1233926" y="161912"/>
                  <a:pt x="1290322" y="154381"/>
                </a:cubicBezTo>
                <a:cubicBezTo>
                  <a:pt x="1290322" y="154381"/>
                  <a:pt x="1290322" y="154381"/>
                  <a:pt x="1286562" y="158147"/>
                </a:cubicBezTo>
                <a:cubicBezTo>
                  <a:pt x="1297841" y="158147"/>
                  <a:pt x="1301601" y="165678"/>
                  <a:pt x="1316640" y="161912"/>
                </a:cubicBezTo>
                <a:cubicBezTo>
                  <a:pt x="1350478" y="143085"/>
                  <a:pt x="1339198" y="109197"/>
                  <a:pt x="1399354" y="101666"/>
                </a:cubicBezTo>
                <a:cubicBezTo>
                  <a:pt x="1399354" y="94135"/>
                  <a:pt x="1406874" y="79073"/>
                  <a:pt x="1380555" y="82839"/>
                </a:cubicBezTo>
                <a:cubicBezTo>
                  <a:pt x="1376796" y="82839"/>
                  <a:pt x="1369276" y="86604"/>
                  <a:pt x="1369276" y="90370"/>
                </a:cubicBezTo>
                <a:cubicBezTo>
                  <a:pt x="1369276" y="86604"/>
                  <a:pt x="1369276" y="86604"/>
                  <a:pt x="1369276" y="86604"/>
                </a:cubicBezTo>
                <a:cubicBezTo>
                  <a:pt x="1339198" y="79073"/>
                  <a:pt x="1309120" y="79073"/>
                  <a:pt x="1275283" y="86604"/>
                </a:cubicBezTo>
                <a:cubicBezTo>
                  <a:pt x="1275283" y="86604"/>
                  <a:pt x="1275283" y="86604"/>
                  <a:pt x="1252724" y="97900"/>
                </a:cubicBezTo>
                <a:cubicBezTo>
                  <a:pt x="1248965" y="86604"/>
                  <a:pt x="1301601" y="86604"/>
                  <a:pt x="1282802" y="71543"/>
                </a:cubicBezTo>
                <a:cubicBezTo>
                  <a:pt x="1282802" y="71543"/>
                  <a:pt x="1282802" y="71543"/>
                  <a:pt x="1309120" y="67777"/>
                </a:cubicBezTo>
                <a:cubicBezTo>
                  <a:pt x="1327919" y="79073"/>
                  <a:pt x="1373036" y="79073"/>
                  <a:pt x="1399354" y="82839"/>
                </a:cubicBezTo>
                <a:cubicBezTo>
                  <a:pt x="1425672" y="82839"/>
                  <a:pt x="1433192" y="60247"/>
                  <a:pt x="1455750" y="56481"/>
                </a:cubicBezTo>
                <a:cubicBezTo>
                  <a:pt x="1455750" y="52716"/>
                  <a:pt x="1448231" y="52716"/>
                  <a:pt x="1440711" y="52716"/>
                </a:cubicBezTo>
                <a:cubicBezTo>
                  <a:pt x="1444471" y="33889"/>
                  <a:pt x="1485828" y="33889"/>
                  <a:pt x="1508387" y="22593"/>
                </a:cubicBezTo>
                <a:cubicBezTo>
                  <a:pt x="1497107" y="18827"/>
                  <a:pt x="1485828" y="15062"/>
                  <a:pt x="1474549" y="18827"/>
                </a:cubicBezTo>
                <a:cubicBezTo>
                  <a:pt x="1512146" y="7531"/>
                  <a:pt x="1557263" y="18827"/>
                  <a:pt x="1594861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                   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zh-CN" altLang="en-US" sz="2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         探究三</a:t>
            </a:r>
            <a:r>
              <a:rPr lang="zh-CN" altLang="en-US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：中国共产党在抗战中发挥了中流砥柱的作用</a:t>
            </a:r>
            <a:endParaRPr lang="en-US" altLang="zh-CN" sz="1800" b="1" dirty="0">
              <a:solidFill>
                <a:srgbClr val="C00000"/>
              </a:solidFill>
              <a:latin typeface="汉仪雁翎体简" panose="02010609000101010101" pitchFamily="49" charset="-122"/>
              <a:ea typeface="汉仪雁翎体简" panose="02010609000101010101" pitchFamily="49" charset="-122"/>
            </a:endParaRPr>
          </a:p>
          <a:p>
            <a:endParaRPr lang="zh-CN" altLang="en-US" sz="2800" b="1" dirty="0">
              <a:solidFill>
                <a:srgbClr val="C00000"/>
              </a:solidFill>
              <a:latin typeface="汉仪雁翎体简" panose="02010609000101010101" pitchFamily="49" charset="-122"/>
              <a:ea typeface="汉仪雁翎体简" panose="02010609000101010101" pitchFamily="49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65715858-3098-708F-18C5-20A6C1E3024E}"/>
              </a:ext>
            </a:extLst>
          </p:cNvPr>
          <p:cNvSpPr txBox="1"/>
          <p:nvPr/>
        </p:nvSpPr>
        <p:spPr>
          <a:xfrm>
            <a:off x="0" y="687414"/>
            <a:ext cx="1592576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7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材料一：</a:t>
            </a:r>
          </a:p>
        </p:txBody>
      </p:sp>
    </p:spTree>
    <p:extLst>
      <p:ext uri="{BB962C8B-B14F-4D97-AF65-F5344CB8AC3E}">
        <p14:creationId xmlns:p14="http://schemas.microsoft.com/office/powerpoint/2010/main" val="792289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7">
            <a:extLst>
              <a:ext uri="{FF2B5EF4-FFF2-40B4-BE49-F238E27FC236}">
                <a16:creationId xmlns:a16="http://schemas.microsoft.com/office/drawing/2014/main" id="{10FAD7BF-6CB0-B5BE-64AD-4DD2A96B2BD0}"/>
              </a:ext>
            </a:extLst>
          </p:cNvPr>
          <p:cNvSpPr/>
          <p:nvPr/>
        </p:nvSpPr>
        <p:spPr bwMode="auto">
          <a:xfrm>
            <a:off x="-1157257" y="994602"/>
            <a:ext cx="17254330" cy="3213256"/>
          </a:xfrm>
          <a:custGeom>
            <a:avLst/>
            <a:gdLst>
              <a:gd name="connsiteX0" fmla="*/ 0 w 6313714"/>
              <a:gd name="connsiteY0" fmla="*/ 0 h 6858000"/>
              <a:gd name="connsiteX1" fmla="*/ 5433970 w 6313714"/>
              <a:gd name="connsiteY1" fmla="*/ 0 h 6858000"/>
              <a:gd name="connsiteX2" fmla="*/ 6313714 w 6313714"/>
              <a:gd name="connsiteY2" fmla="*/ 3429000 h 6858000"/>
              <a:gd name="connsiteX3" fmla="*/ 5433970 w 6313714"/>
              <a:gd name="connsiteY3" fmla="*/ 6858000 h 6858000"/>
              <a:gd name="connsiteX4" fmla="*/ 0 w 6313714"/>
              <a:gd name="connsiteY4" fmla="*/ 6858000 h 6858000"/>
              <a:gd name="connsiteX5" fmla="*/ 0 w 631371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3714" h="6858000">
                <a:moveTo>
                  <a:pt x="0" y="0"/>
                </a:moveTo>
                <a:lnTo>
                  <a:pt x="5433970" y="0"/>
                </a:lnTo>
                <a:lnTo>
                  <a:pt x="6313714" y="3429000"/>
                </a:lnTo>
                <a:lnTo>
                  <a:pt x="543397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>
            <a:innerShdw blurRad="254000" dist="50800" dir="18900000">
              <a:prstClr val="black">
                <a:alpha val="35000"/>
              </a:prst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15918CE3-DB5E-AB51-5A44-ECF7AC416CDB}"/>
              </a:ext>
            </a:extLst>
          </p:cNvPr>
          <p:cNvSpPr txBox="1"/>
          <p:nvPr/>
        </p:nvSpPr>
        <p:spPr>
          <a:xfrm>
            <a:off x="376803" y="404488"/>
            <a:ext cx="29029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宋体" panose="02010600030101010101" pitchFamily="2" charset="-122"/>
                <a:ea typeface="宋体" panose="02010600030101010101" pitchFamily="2" charset="-122"/>
              </a:rPr>
              <a:t>2.</a:t>
            </a:r>
            <a:r>
              <a:rPr lang="zh-CN" altLang="en-US" sz="2000" b="1" dirty="0">
                <a:latin typeface="宋体" panose="02010600030101010101" pitchFamily="2" charset="-122"/>
                <a:ea typeface="宋体" panose="02010600030101010101" pitchFamily="2" charset="-122"/>
              </a:rPr>
              <a:t> 战略路线的对比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A1DF6FC-36B7-2EF4-886C-4AE2A86C1920}"/>
              </a:ext>
            </a:extLst>
          </p:cNvPr>
          <p:cNvSpPr txBox="1"/>
          <p:nvPr/>
        </p:nvSpPr>
        <p:spPr>
          <a:xfrm>
            <a:off x="5680610" y="1101230"/>
            <a:ext cx="6440441" cy="2399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300"/>
              </a:lnSpc>
            </a:pPr>
            <a:endParaRPr lang="en-US" altLang="zh-CN" b="1" dirty="0">
              <a:solidFill>
                <a:srgbClr val="404040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材料二：“共产党员及其所领导的民众和武装力量，应该最积极地站在斗争的最前线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……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应该使自己成为全国抗战的核心，应该用极大力量发展抗日的群众运动。不放松一刻工夫一个机会去宣传群众、组织群众、武装群众。”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——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洛川会议上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《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中共中央关于目前形势与党的任务的决定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》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（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1937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年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8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月</a:t>
            </a: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25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日）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F8EFD1D5-8E83-D5C3-28C6-BBAA8532E95D}"/>
              </a:ext>
            </a:extLst>
          </p:cNvPr>
          <p:cNvSpPr txBox="1"/>
          <p:nvPr/>
        </p:nvSpPr>
        <p:spPr>
          <a:xfrm>
            <a:off x="70948" y="1190038"/>
            <a:ext cx="5440014" cy="2948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材料一：</a:t>
            </a:r>
            <a:r>
              <a:rPr lang="en-US" altLang="ja-JP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1937 </a:t>
            </a:r>
            <a:r>
              <a:rPr lang="ja-JP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年 </a:t>
            </a:r>
            <a:r>
              <a:rPr lang="en-US" altLang="ja-JP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8 </a:t>
            </a:r>
            <a:r>
              <a:rPr lang="ja-JP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月，上海工人救亡协会申请组建武装别动队，遭国民党军事委员会淞沪会战前敌指挥部拒绝，理由是 “恐扰乱军纪”</a:t>
            </a:r>
            <a:endParaRPr lang="en-US" altLang="ja-JP" b="1" dirty="0">
              <a:solidFill>
                <a:srgbClr val="404040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algn="l">
              <a:lnSpc>
                <a:spcPct val="150000"/>
              </a:lnSpc>
            </a:pP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       ——</a:t>
            </a:r>
            <a:r>
              <a:rPr lang="en-US" altLang="ja-JP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《</a:t>
            </a:r>
            <a:r>
              <a:rPr lang="ja-JP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申报</a:t>
            </a:r>
            <a:r>
              <a:rPr lang="en-US" altLang="ja-JP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》1937 </a:t>
            </a:r>
            <a:r>
              <a:rPr lang="ja-JP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年 </a:t>
            </a:r>
            <a:r>
              <a:rPr lang="en-US" altLang="ja-JP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8 </a:t>
            </a:r>
            <a:r>
              <a:rPr lang="ja-JP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月 </a:t>
            </a:r>
            <a:r>
              <a:rPr lang="en-US" altLang="ja-JP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22 </a:t>
            </a:r>
            <a:r>
              <a:rPr lang="ja-JP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日第 </a:t>
            </a:r>
            <a:r>
              <a:rPr lang="en-US" altLang="ja-JP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3 </a:t>
            </a:r>
            <a:r>
              <a:rPr lang="ja-JP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版</a:t>
            </a:r>
            <a:endParaRPr lang="en-US" altLang="ja-JP" b="1" dirty="0">
              <a:solidFill>
                <a:srgbClr val="404040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algn="l">
              <a:lnSpc>
                <a:spcPct val="150000"/>
              </a:lnSpc>
            </a:pPr>
            <a:r>
              <a:rPr lang="ja-JP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 </a:t>
            </a:r>
            <a:r>
              <a:rPr lang="en-US" altLang="ja-JP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……80 </a:t>
            </a:r>
            <a:r>
              <a:rPr lang="ja-JP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万大军仅依赖政府工兵构筑工事，缺乏民众支前网络，三个月伤亡 </a:t>
            </a:r>
            <a:r>
              <a:rPr lang="en-US" altLang="ja-JP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30 </a:t>
            </a:r>
            <a:r>
              <a:rPr lang="ja-JP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万人</a:t>
            </a:r>
            <a:r>
              <a:rPr lang="zh-CN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。</a:t>
            </a:r>
            <a:endParaRPr lang="en-US" altLang="zh-CN" b="1" dirty="0">
              <a:solidFill>
                <a:srgbClr val="404040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algn="l">
              <a:lnSpc>
                <a:spcPct val="150000"/>
              </a:lnSpc>
            </a:pPr>
            <a:r>
              <a:rPr lang="en-US" altLang="zh-CN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  ——</a:t>
            </a:r>
            <a:r>
              <a:rPr lang="en-US" altLang="ja-JP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《</a:t>
            </a:r>
            <a:r>
              <a:rPr lang="ja-JP" altLang="en-US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中国抗日战争军事史料丛书・淞沪会战</a:t>
            </a:r>
            <a:r>
              <a:rPr lang="en-US" altLang="ja-JP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》</a:t>
            </a:r>
            <a:endParaRPr lang="zh-CN" altLang="en-US" b="1" dirty="0">
              <a:solidFill>
                <a:srgbClr val="404040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4E0BD2FD-40EC-5B44-E36F-36C89F09B9EF}"/>
              </a:ext>
            </a:extLst>
          </p:cNvPr>
          <p:cNvCxnSpPr>
            <a:cxnSpLocks/>
          </p:cNvCxnSpPr>
          <p:nvPr/>
        </p:nvCxnSpPr>
        <p:spPr>
          <a:xfrm>
            <a:off x="5510962" y="1143205"/>
            <a:ext cx="0" cy="2935181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文本框 20">
            <a:extLst>
              <a:ext uri="{FF2B5EF4-FFF2-40B4-BE49-F238E27FC236}">
                <a16:creationId xmlns:a16="http://schemas.microsoft.com/office/drawing/2014/main" id="{7E8AA6ED-ED02-76B2-8F30-3727E6C86A5C}"/>
              </a:ext>
            </a:extLst>
          </p:cNvPr>
          <p:cNvSpPr txBox="1"/>
          <p:nvPr/>
        </p:nvSpPr>
        <p:spPr>
          <a:xfrm>
            <a:off x="168289" y="4484419"/>
            <a:ext cx="11952762" cy="1312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b="1" dirty="0">
                <a:solidFill>
                  <a:srgbClr val="40404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（</a:t>
            </a:r>
            <a:r>
              <a:rPr lang="en-US" altLang="zh-CN" sz="2800" b="1" dirty="0">
                <a:solidFill>
                  <a:srgbClr val="40404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1</a:t>
            </a:r>
            <a:r>
              <a:rPr lang="zh-CN" altLang="en-US" sz="2800" b="1" dirty="0">
                <a:solidFill>
                  <a:srgbClr val="40404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）根据以上材料，从“发动群众”的角度，分析国共两党分别实行怎样的抗战路线？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377441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1.85185E-6 L -0.03984 1.85185E-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9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7" grpId="1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27">
            <a:extLst>
              <a:ext uri="{FF2B5EF4-FFF2-40B4-BE49-F238E27FC236}">
                <a16:creationId xmlns:a16="http://schemas.microsoft.com/office/drawing/2014/main" id="{F23ED99E-F005-D104-6434-4F710C932804}"/>
              </a:ext>
            </a:extLst>
          </p:cNvPr>
          <p:cNvSpPr/>
          <p:nvPr/>
        </p:nvSpPr>
        <p:spPr bwMode="auto">
          <a:xfrm>
            <a:off x="-482886" y="999709"/>
            <a:ext cx="14774239" cy="4046744"/>
          </a:xfrm>
          <a:custGeom>
            <a:avLst/>
            <a:gdLst>
              <a:gd name="connsiteX0" fmla="*/ 0 w 6313714"/>
              <a:gd name="connsiteY0" fmla="*/ 0 h 6858000"/>
              <a:gd name="connsiteX1" fmla="*/ 5433970 w 6313714"/>
              <a:gd name="connsiteY1" fmla="*/ 0 h 6858000"/>
              <a:gd name="connsiteX2" fmla="*/ 6313714 w 6313714"/>
              <a:gd name="connsiteY2" fmla="*/ 3429000 h 6858000"/>
              <a:gd name="connsiteX3" fmla="*/ 5433970 w 6313714"/>
              <a:gd name="connsiteY3" fmla="*/ 6858000 h 6858000"/>
              <a:gd name="connsiteX4" fmla="*/ 0 w 6313714"/>
              <a:gd name="connsiteY4" fmla="*/ 6858000 h 6858000"/>
              <a:gd name="connsiteX5" fmla="*/ 0 w 631371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3714" h="6858000">
                <a:moveTo>
                  <a:pt x="0" y="0"/>
                </a:moveTo>
                <a:lnTo>
                  <a:pt x="5433970" y="0"/>
                </a:lnTo>
                <a:lnTo>
                  <a:pt x="6313714" y="3429000"/>
                </a:lnTo>
                <a:lnTo>
                  <a:pt x="543397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>
            <a:innerShdw blurRad="254000" dist="50800" dir="18900000">
              <a:prstClr val="black">
                <a:alpha val="35000"/>
              </a:prst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7C7A8F8-A2D5-5474-0E9B-11F02AC53BD4}"/>
              </a:ext>
            </a:extLst>
          </p:cNvPr>
          <p:cNvSpPr txBox="1"/>
          <p:nvPr/>
        </p:nvSpPr>
        <p:spPr>
          <a:xfrm>
            <a:off x="498775" y="593604"/>
            <a:ext cx="29029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宋体" panose="02010600030101010101" pitchFamily="2" charset="-122"/>
                <a:ea typeface="宋体" panose="02010600030101010101" pitchFamily="2" charset="-122"/>
              </a:rPr>
              <a:t>3.</a:t>
            </a:r>
            <a:r>
              <a:rPr lang="zh-CN" altLang="en-US" sz="2000" b="1" dirty="0">
                <a:latin typeface="宋体" panose="02010600030101010101" pitchFamily="2" charset="-122"/>
                <a:ea typeface="宋体" panose="02010600030101010101" pitchFamily="2" charset="-122"/>
              </a:rPr>
              <a:t> 军民关系对比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30411E96-53B7-B6C7-BDFE-2DDD077CF3A2}"/>
              </a:ext>
            </a:extLst>
          </p:cNvPr>
          <p:cNvSpPr txBox="1"/>
          <p:nvPr/>
        </p:nvSpPr>
        <p:spPr>
          <a:xfrm>
            <a:off x="6338617" y="2320484"/>
            <a:ext cx="5428343" cy="14051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材料二： </a:t>
            </a:r>
            <a:r>
              <a:rPr lang="en-US" altLang="zh-CN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“</a:t>
            </a:r>
            <a:r>
              <a:rPr lang="zh-CN" altLang="en-US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彭德怀见村民以树叶充饥，立即下令部队每日节约二两粮救济</a:t>
            </a:r>
            <a:r>
              <a:rPr lang="en-US" altLang="zh-CN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...</a:t>
            </a:r>
            <a:r>
              <a:rPr lang="zh-CN" altLang="en-US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民众遂自发组织担架队随军转战。 </a:t>
            </a:r>
            <a:r>
              <a:rPr lang="en-US" altLang="zh-CN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——《</a:t>
            </a:r>
            <a:r>
              <a:rPr lang="zh-CN" altLang="en-US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杨尚昆日记</a:t>
            </a:r>
            <a:r>
              <a:rPr lang="en-US" altLang="zh-CN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》1940</a:t>
            </a:r>
            <a:r>
              <a:rPr lang="zh-CN" altLang="en-US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年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3BE631E-22EC-616F-D236-B075DF86954C}"/>
              </a:ext>
            </a:extLst>
          </p:cNvPr>
          <p:cNvSpPr txBox="1"/>
          <p:nvPr/>
        </p:nvSpPr>
        <p:spPr>
          <a:xfrm>
            <a:off x="242988" y="1274301"/>
            <a:ext cx="5720043" cy="3713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材料一：“在东北解放区，共产党积极创建根据地，肃清匪患，进行土地改革，越改越得民心</a:t>
            </a:r>
            <a:r>
              <a:rPr lang="en-US" altLang="zh-CN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…… </a:t>
            </a:r>
            <a:r>
              <a:rPr lang="zh-CN" altLang="en-US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反观国民党统治区，许多官员抱着抢肥缺、发横财的目的来到东北，贪污受贿、营私舞弊，地方豪绅在国民党纵容下欺压百姓</a:t>
            </a:r>
            <a:r>
              <a:rPr lang="en-US" altLang="zh-CN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…… </a:t>
            </a:r>
            <a:r>
              <a:rPr lang="zh-CN" altLang="en-US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连号称‘王牌军’的新 </a:t>
            </a:r>
            <a:r>
              <a:rPr lang="en-US" altLang="zh-CN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6 </a:t>
            </a:r>
            <a:r>
              <a:rPr lang="zh-CN" altLang="en-US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军也经常发生违纪行为。当时东北流行一句话：‘想中央，盼中央，中央来了更遭殃。’”</a:t>
            </a:r>
            <a:r>
              <a:rPr lang="en-US" altLang="zh-CN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——</a:t>
            </a:r>
            <a:r>
              <a:rPr lang="zh-CN" altLang="en-US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选自</a:t>
            </a:r>
            <a:r>
              <a:rPr lang="en-US" altLang="zh-CN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《</a:t>
            </a:r>
            <a:r>
              <a:rPr lang="zh-CN" altLang="en-US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郑洞国回忆录</a:t>
            </a:r>
            <a:r>
              <a:rPr lang="en-US" altLang="zh-CN" sz="2000" b="1" dirty="0">
                <a:solidFill>
                  <a:srgbClr val="40404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》</a:t>
            </a:r>
            <a:endParaRPr lang="zh-CN" altLang="en-US" sz="2000" b="1" dirty="0">
              <a:solidFill>
                <a:srgbClr val="404040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21880E27-7E28-8A75-5DC9-3A104C242C1A}"/>
              </a:ext>
            </a:extLst>
          </p:cNvPr>
          <p:cNvCxnSpPr>
            <a:cxnSpLocks/>
          </p:cNvCxnSpPr>
          <p:nvPr/>
        </p:nvCxnSpPr>
        <p:spPr>
          <a:xfrm>
            <a:off x="5963033" y="1617888"/>
            <a:ext cx="0" cy="3109387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文本框 6">
            <a:extLst>
              <a:ext uri="{FF2B5EF4-FFF2-40B4-BE49-F238E27FC236}">
                <a16:creationId xmlns:a16="http://schemas.microsoft.com/office/drawing/2014/main" id="{3409AA84-F8F8-0672-BFC7-C24467129549}"/>
              </a:ext>
            </a:extLst>
          </p:cNvPr>
          <p:cNvSpPr txBox="1"/>
          <p:nvPr/>
        </p:nvSpPr>
        <p:spPr>
          <a:xfrm>
            <a:off x="385429" y="5462465"/>
            <a:ext cx="104102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solidFill>
                  <a:srgbClr val="40404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（</a:t>
            </a:r>
            <a:r>
              <a:rPr lang="en-US" altLang="zh-CN" sz="2800" b="1" dirty="0">
                <a:solidFill>
                  <a:srgbClr val="40404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1</a:t>
            </a:r>
            <a:r>
              <a:rPr lang="zh-CN" altLang="en-US" sz="2800" b="1" dirty="0">
                <a:solidFill>
                  <a:srgbClr val="40404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）根据以上材料，你认为人民最终会选择共产党的原因是什么？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01281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-7.40741E-7 L -0.03985 -7.40741E-7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9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任意多边形: 形状 67">
            <a:extLst>
              <a:ext uri="{FF2B5EF4-FFF2-40B4-BE49-F238E27FC236}">
                <a16:creationId xmlns:a16="http://schemas.microsoft.com/office/drawing/2014/main" id="{847D2AC0-FEB2-49C9-9E45-286DCED32B08}"/>
              </a:ext>
            </a:extLst>
          </p:cNvPr>
          <p:cNvSpPr/>
          <p:nvPr/>
        </p:nvSpPr>
        <p:spPr>
          <a:xfrm>
            <a:off x="2209800" y="1529017"/>
            <a:ext cx="8196942" cy="3630549"/>
          </a:xfrm>
          <a:custGeom>
            <a:avLst/>
            <a:gdLst>
              <a:gd name="connsiteX0" fmla="*/ 6003471 w 8196942"/>
              <a:gd name="connsiteY0" fmla="*/ 0 h 3630549"/>
              <a:gd name="connsiteX1" fmla="*/ 8196942 w 8196942"/>
              <a:gd name="connsiteY1" fmla="*/ 0 h 3630549"/>
              <a:gd name="connsiteX2" fmla="*/ 8196942 w 8196942"/>
              <a:gd name="connsiteY2" fmla="*/ 560778 h 3630549"/>
              <a:gd name="connsiteX3" fmla="*/ 8196942 w 8196942"/>
              <a:gd name="connsiteY3" fmla="*/ 816429 h 3630549"/>
              <a:gd name="connsiteX4" fmla="*/ 8196942 w 8196942"/>
              <a:gd name="connsiteY4" fmla="*/ 3630549 h 3630549"/>
              <a:gd name="connsiteX5" fmla="*/ 0 w 8196942"/>
              <a:gd name="connsiteY5" fmla="*/ 3630549 h 3630549"/>
              <a:gd name="connsiteX6" fmla="*/ 0 w 8196942"/>
              <a:gd name="connsiteY6" fmla="*/ 560778 h 3630549"/>
              <a:gd name="connsiteX7" fmla="*/ 6003471 w 8196942"/>
              <a:gd name="connsiteY7" fmla="*/ 560778 h 3630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96942" h="3630549">
                <a:moveTo>
                  <a:pt x="6003471" y="0"/>
                </a:moveTo>
                <a:lnTo>
                  <a:pt x="8196942" y="0"/>
                </a:lnTo>
                <a:lnTo>
                  <a:pt x="8196942" y="560778"/>
                </a:lnTo>
                <a:lnTo>
                  <a:pt x="8196942" y="816429"/>
                </a:lnTo>
                <a:lnTo>
                  <a:pt x="8196942" y="3630549"/>
                </a:lnTo>
                <a:lnTo>
                  <a:pt x="0" y="3630549"/>
                </a:lnTo>
                <a:lnTo>
                  <a:pt x="0" y="560778"/>
                </a:lnTo>
                <a:lnTo>
                  <a:pt x="6003471" y="560778"/>
                </a:lnTo>
                <a:close/>
              </a:path>
            </a:pathLst>
          </a:custGeom>
          <a:solidFill>
            <a:srgbClr val="AA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AA000B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7" name="任意多边形: 形状 66">
            <a:extLst>
              <a:ext uri="{FF2B5EF4-FFF2-40B4-BE49-F238E27FC236}">
                <a16:creationId xmlns:a16="http://schemas.microsoft.com/office/drawing/2014/main" id="{9B6E30B8-7076-44B7-B5C1-7AA385591766}"/>
              </a:ext>
            </a:extLst>
          </p:cNvPr>
          <p:cNvSpPr/>
          <p:nvPr/>
        </p:nvSpPr>
        <p:spPr>
          <a:xfrm>
            <a:off x="1997528" y="1333336"/>
            <a:ext cx="8196942" cy="3630549"/>
          </a:xfrm>
          <a:custGeom>
            <a:avLst/>
            <a:gdLst>
              <a:gd name="connsiteX0" fmla="*/ 6003471 w 8196942"/>
              <a:gd name="connsiteY0" fmla="*/ 0 h 3630549"/>
              <a:gd name="connsiteX1" fmla="*/ 8196942 w 8196942"/>
              <a:gd name="connsiteY1" fmla="*/ 0 h 3630549"/>
              <a:gd name="connsiteX2" fmla="*/ 8196942 w 8196942"/>
              <a:gd name="connsiteY2" fmla="*/ 560778 h 3630549"/>
              <a:gd name="connsiteX3" fmla="*/ 8196942 w 8196942"/>
              <a:gd name="connsiteY3" fmla="*/ 816429 h 3630549"/>
              <a:gd name="connsiteX4" fmla="*/ 8196942 w 8196942"/>
              <a:gd name="connsiteY4" fmla="*/ 3630549 h 3630549"/>
              <a:gd name="connsiteX5" fmla="*/ 0 w 8196942"/>
              <a:gd name="connsiteY5" fmla="*/ 3630549 h 3630549"/>
              <a:gd name="connsiteX6" fmla="*/ 0 w 8196942"/>
              <a:gd name="connsiteY6" fmla="*/ 560778 h 3630549"/>
              <a:gd name="connsiteX7" fmla="*/ 6003471 w 8196942"/>
              <a:gd name="connsiteY7" fmla="*/ 560778 h 3630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96942" h="3630549">
                <a:moveTo>
                  <a:pt x="6003471" y="0"/>
                </a:moveTo>
                <a:lnTo>
                  <a:pt x="8196942" y="0"/>
                </a:lnTo>
                <a:lnTo>
                  <a:pt x="8196942" y="560778"/>
                </a:lnTo>
                <a:lnTo>
                  <a:pt x="8196942" y="816429"/>
                </a:lnTo>
                <a:lnTo>
                  <a:pt x="8196942" y="3630549"/>
                </a:lnTo>
                <a:lnTo>
                  <a:pt x="0" y="3630549"/>
                </a:lnTo>
                <a:lnTo>
                  <a:pt x="0" y="560778"/>
                </a:lnTo>
                <a:lnTo>
                  <a:pt x="6003471" y="560778"/>
                </a:lnTo>
                <a:close/>
              </a:path>
            </a:pathLst>
          </a:custGeom>
          <a:solidFill>
            <a:srgbClr val="AA000B"/>
          </a:solidFill>
          <a:ln>
            <a:noFill/>
          </a:ln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AA000B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pic>
        <p:nvPicPr>
          <p:cNvPr id="70" name="图片 69">
            <a:extLst>
              <a:ext uri="{FF2B5EF4-FFF2-40B4-BE49-F238E27FC236}">
                <a16:creationId xmlns:a16="http://schemas.microsoft.com/office/drawing/2014/main" id="{C31ED9EA-3761-4E1E-AFE7-0FA870ACF73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257" b="48500"/>
          <a:stretch/>
        </p:blipFill>
        <p:spPr>
          <a:xfrm rot="1089086">
            <a:off x="-1570946" y="162313"/>
            <a:ext cx="6064704" cy="2537728"/>
          </a:xfrm>
          <a:prstGeom prst="rect">
            <a:avLst/>
          </a:prstGeom>
          <a:effectLst>
            <a:outerShdw blurRad="241300" dist="25400" dir="2700000" algn="tl" rotWithShape="0">
              <a:prstClr val="black">
                <a:alpha val="30000"/>
              </a:prstClr>
            </a:outerShdw>
          </a:effectLst>
        </p:spPr>
      </p:pic>
      <p:sp>
        <p:nvSpPr>
          <p:cNvPr id="71" name="文本框 70">
            <a:extLst>
              <a:ext uri="{FF2B5EF4-FFF2-40B4-BE49-F238E27FC236}">
                <a16:creationId xmlns:a16="http://schemas.microsoft.com/office/drawing/2014/main" id="{FD0996DA-9824-47C9-91F5-F67B1D695A44}"/>
              </a:ext>
            </a:extLst>
          </p:cNvPr>
          <p:cNvSpPr txBox="1"/>
          <p:nvPr/>
        </p:nvSpPr>
        <p:spPr>
          <a:xfrm>
            <a:off x="3289628" y="2499169"/>
            <a:ext cx="826219" cy="1862048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perspectiveLeft">
                <a:rot lat="0" lon="600000" rev="0"/>
              </a:camera>
              <a:lightRig rig="threePt" dir="t"/>
            </a:scene3d>
            <a:sp3d extrusionH="57150" contourW="12700" prstMaterial="matte">
              <a:bevelT w="38100" h="38100"/>
              <a:contourClr>
                <a:srgbClr val="FEE979"/>
              </a:contourClr>
            </a:sp3d>
          </a:bodyPr>
          <a:lstStyle>
            <a:defPPr>
              <a:defRPr lang="zh-CN"/>
            </a:defPPr>
            <a:lvl1pPr algn="dist">
              <a:defRPr sz="8800" b="1">
                <a:solidFill>
                  <a:srgbClr val="FEE979"/>
                </a:solidFill>
                <a:effectLst>
                  <a:outerShdw blurRad="165100" dist="203200" dir="1800000" sx="101000" sy="101000" algn="ctr" rotWithShape="0">
                    <a:srgbClr val="000000">
                      <a:alpha val="52000"/>
                    </a:srgbClr>
                  </a:outerShdw>
                </a:effectLst>
                <a:latin typeface="汉仪尚巍手书W" panose="00020600040101010101" pitchFamily="18" charset="-122"/>
                <a:ea typeface="汉仪尚巍手书W" panose="00020600040101010101" pitchFamily="18" charset="-122"/>
              </a:defRPr>
            </a:lvl1pPr>
          </a:lstStyle>
          <a:p>
            <a:pPr marL="0" marR="0" lvl="0" indent="0" algn="di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500" b="1" i="0" u="none" strike="noStrike" kern="1200" cap="none" spc="0" normalizeH="0" baseline="0" noProof="0" dirty="0">
                <a:ln>
                  <a:noFill/>
                </a:ln>
                <a:solidFill>
                  <a:srgbClr val="FEE979"/>
                </a:solidFill>
                <a:effectLst>
                  <a:outerShdw blurRad="165100" dist="203200" dir="1800000" sx="101000" sy="101000" algn="ctr" rotWithShape="0">
                    <a:srgbClr val="000000">
                      <a:alpha val="52000"/>
                    </a:srgbClr>
                  </a:outerShdw>
                </a:effectLst>
                <a:uLnTx/>
                <a:uFillTx/>
                <a:ea typeface="汉仪尚巍手书W" panose="00020600040101010101" pitchFamily="18" charset="-122"/>
                <a:cs typeface="+mn-cs"/>
              </a:rPr>
              <a:t>叁</a:t>
            </a:r>
          </a:p>
        </p:txBody>
      </p:sp>
      <p:cxnSp>
        <p:nvCxnSpPr>
          <p:cNvPr id="76" name="直接连接符 75">
            <a:extLst>
              <a:ext uri="{FF2B5EF4-FFF2-40B4-BE49-F238E27FC236}">
                <a16:creationId xmlns:a16="http://schemas.microsoft.com/office/drawing/2014/main" id="{6468E4D8-2016-4E32-8329-F5F1242A911A}"/>
              </a:ext>
            </a:extLst>
          </p:cNvPr>
          <p:cNvCxnSpPr>
            <a:cxnSpLocks/>
          </p:cNvCxnSpPr>
          <p:nvPr/>
        </p:nvCxnSpPr>
        <p:spPr>
          <a:xfrm>
            <a:off x="5121317" y="3201096"/>
            <a:ext cx="2679658" cy="0"/>
          </a:xfrm>
          <a:prstGeom prst="line">
            <a:avLst/>
          </a:prstGeom>
          <a:ln>
            <a:solidFill>
              <a:srgbClr val="FEE9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文本框 77">
            <a:extLst>
              <a:ext uri="{FF2B5EF4-FFF2-40B4-BE49-F238E27FC236}">
                <a16:creationId xmlns:a16="http://schemas.microsoft.com/office/drawing/2014/main" id="{396F053D-E7D2-403D-87E7-847A6DCF56C6}"/>
              </a:ext>
            </a:extLst>
          </p:cNvPr>
          <p:cNvSpPr txBox="1"/>
          <p:nvPr/>
        </p:nvSpPr>
        <p:spPr>
          <a:xfrm>
            <a:off x="8224298" y="1398792"/>
            <a:ext cx="1844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FEE979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经典粗宋简" panose="02010609000101010101" pitchFamily="49" charset="-122"/>
              </a:rPr>
              <a:t>PART THR</a:t>
            </a:r>
          </a:p>
        </p:txBody>
      </p:sp>
      <p:cxnSp>
        <p:nvCxnSpPr>
          <p:cNvPr id="80" name="直接连接符 79">
            <a:extLst>
              <a:ext uri="{FF2B5EF4-FFF2-40B4-BE49-F238E27FC236}">
                <a16:creationId xmlns:a16="http://schemas.microsoft.com/office/drawing/2014/main" id="{53F097C5-5600-48F4-959F-12B31798D024}"/>
              </a:ext>
            </a:extLst>
          </p:cNvPr>
          <p:cNvCxnSpPr>
            <a:cxnSpLocks/>
            <a:stCxn id="67" idx="7"/>
            <a:endCxn id="67" idx="2"/>
          </p:cNvCxnSpPr>
          <p:nvPr/>
        </p:nvCxnSpPr>
        <p:spPr>
          <a:xfrm>
            <a:off x="8000999" y="1894114"/>
            <a:ext cx="2193471" cy="0"/>
          </a:xfrm>
          <a:prstGeom prst="line">
            <a:avLst/>
          </a:prstGeom>
          <a:ln w="9525">
            <a:solidFill>
              <a:srgbClr val="86000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>
            <a:extLst>
              <a:ext uri="{FF2B5EF4-FFF2-40B4-BE49-F238E27FC236}">
                <a16:creationId xmlns:a16="http://schemas.microsoft.com/office/drawing/2014/main" id="{84211723-B450-46E4-2036-B5D709569FC6}"/>
              </a:ext>
            </a:extLst>
          </p:cNvPr>
          <p:cNvSpPr txBox="1"/>
          <p:nvPr/>
        </p:nvSpPr>
        <p:spPr>
          <a:xfrm>
            <a:off x="5072431" y="2748500"/>
            <a:ext cx="33770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EE979"/>
                </a:solidFill>
                <a:effectLst/>
                <a:uLnTx/>
                <a:uFillTx/>
                <a:latin typeface="经典粗宋简" panose="02010609000101010101" pitchFamily="49" charset="-122"/>
                <a:ea typeface="经典粗宋简" panose="02010609000101010101" pitchFamily="49" charset="-122"/>
                <a:cs typeface="经典粗宋简" panose="02010609000101010101" pitchFamily="49" charset="-122"/>
              </a:rPr>
              <a:t>跟着郑洞国一起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60EE0DB-04B8-AE02-DAE4-C98D393887F8}"/>
              </a:ext>
            </a:extLst>
          </p:cNvPr>
          <p:cNvSpPr txBox="1"/>
          <p:nvPr/>
        </p:nvSpPr>
        <p:spPr>
          <a:xfrm>
            <a:off x="4953042" y="3160949"/>
            <a:ext cx="44042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FEE979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经典粗宋简" panose="02010609000101010101" pitchFamily="49" charset="-122"/>
              </a:rPr>
              <a:t>再悟抗战精神</a:t>
            </a:r>
          </a:p>
        </p:txBody>
      </p:sp>
    </p:spTree>
    <p:extLst>
      <p:ext uri="{BB962C8B-B14F-4D97-AF65-F5344CB8AC3E}">
        <p14:creationId xmlns:p14="http://schemas.microsoft.com/office/powerpoint/2010/main" val="120444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 advClick="0" advTm="0">
        <p:blinds dir="vert"/>
      </p:transition>
    </mc:Choice>
    <mc:Fallback xmlns="">
      <p:transition spd="slow" advClick="0" advTm="0">
        <p:blinds dir="vert"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: 圆角 2">
            <a:extLst>
              <a:ext uri="{FF2B5EF4-FFF2-40B4-BE49-F238E27FC236}">
                <a16:creationId xmlns:a16="http://schemas.microsoft.com/office/drawing/2014/main" id="{3FD70BB5-F60F-9F78-F2D6-7EBE7413FF5A}"/>
              </a:ext>
            </a:extLst>
          </p:cNvPr>
          <p:cNvSpPr/>
          <p:nvPr/>
        </p:nvSpPr>
        <p:spPr>
          <a:xfrm>
            <a:off x="518584" y="627682"/>
            <a:ext cx="5153796" cy="6075336"/>
          </a:xfrm>
          <a:prstGeom prst="round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>
            <a:innerShdw blurRad="254000" dist="50800" dir="18900000">
              <a:prstClr val="black">
                <a:alpha val="35000"/>
              </a:prst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indent="457200"/>
            <a:r>
              <a:rPr lang="zh-CN" altLang="en-US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   “英雄之墓”</a:t>
            </a:r>
            <a:endParaRPr lang="en-US" altLang="zh-CN" sz="2200" dirty="0">
              <a:solidFill>
                <a:schemeClr val="tx1"/>
              </a:solidFill>
              <a:latin typeface="汉仪中宋简" panose="02010609000101010101" pitchFamily="49" charset="-122"/>
              <a:ea typeface="汉仪中宋简" panose="02010609000101010101" pitchFamily="49" charset="-122"/>
            </a:endParaRPr>
          </a:p>
          <a:p>
            <a:pPr indent="457200"/>
            <a:r>
              <a:rPr lang="zh-CN" altLang="en-US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（</a:t>
            </a:r>
            <a:r>
              <a:rPr lang="en-US" altLang="zh-CN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1933</a:t>
            </a:r>
            <a:r>
              <a:rPr lang="zh-CN" altLang="en-US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年）</a:t>
            </a:r>
            <a:r>
              <a:rPr lang="en-US" altLang="zh-CN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3</a:t>
            </a:r>
            <a:r>
              <a:rPr lang="zh-CN" altLang="en-US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月</a:t>
            </a:r>
            <a:r>
              <a:rPr lang="en-US" altLang="zh-CN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12</a:t>
            </a:r>
            <a:r>
              <a:rPr lang="zh-CN" altLang="en-US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日该师第</a:t>
            </a:r>
            <a:r>
              <a:rPr lang="en-US" altLang="zh-CN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145</a:t>
            </a:r>
            <a:r>
              <a:rPr lang="zh-CN" altLang="en-US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团向南天门阵地转移时，前沿阵地有一个班的七名士兵因远离主力，未及撤退。这七名士兵携带一挺机关枪，顽强据守日军必经的一个小山头，自动担负着掩护大部队的任务。他们前后毙伤日军百余名，阻击了敌人很长时间，为主力转移争取了宝贵时机。后来敌人恼羞成怒，竟出动飞机大炮对这个小小的山头反复轰炸，我七名壮士英勇殉国。日军对我军士兵坚强不屈的精神不得不表示钦敬，事后特将这七名士兵的遗骸埋葬在一起，并题“支那七勇士之墓”。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6D769B7-66B9-4E4C-F356-78F6AA3DD9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627682"/>
            <a:ext cx="4650272" cy="5633402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矩形 14">
            <a:extLst>
              <a:ext uri="{FF2B5EF4-FFF2-40B4-BE49-F238E27FC236}">
                <a16:creationId xmlns:a16="http://schemas.microsoft.com/office/drawing/2014/main" id="{9D1CEC43-CAD2-F7B1-2FC4-FFE500D3AAA3}"/>
              </a:ext>
            </a:extLst>
          </p:cNvPr>
          <p:cNvSpPr/>
          <p:nvPr/>
        </p:nvSpPr>
        <p:spPr>
          <a:xfrm>
            <a:off x="6096000" y="3444383"/>
            <a:ext cx="5857461" cy="3313043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>
            <a:innerShdw blurRad="254000" dist="50800" dir="18900000">
              <a:prstClr val="black">
                <a:alpha val="35000"/>
              </a:prst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indent="457200"/>
            <a:r>
              <a:rPr lang="zh-CN" altLang="en-US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有一天战斗中连长的枪没子弹了</a:t>
            </a:r>
            <a:r>
              <a:rPr lang="en-US" altLang="zh-CN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,</a:t>
            </a:r>
            <a:r>
              <a:rPr lang="zh-CN" altLang="en-US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就和日本人拼刺刀</a:t>
            </a:r>
            <a:r>
              <a:rPr lang="en-US" altLang="zh-CN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,</a:t>
            </a:r>
            <a:r>
              <a:rPr lang="zh-CN" altLang="en-US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他见连长抓住敌人的刺刀的手被割破鲜血直流</a:t>
            </a:r>
            <a:r>
              <a:rPr lang="en-US" altLang="zh-CN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,</a:t>
            </a:r>
            <a:r>
              <a:rPr lang="zh-CN" altLang="en-US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他抓起自己的枪打死了那个日本人</a:t>
            </a:r>
            <a:r>
              <a:rPr lang="en-US" altLang="zh-CN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,</a:t>
            </a:r>
            <a:r>
              <a:rPr lang="zh-CN" altLang="en-US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后来发现另一个又一枪打死。他把受伤的连长拖下山交给担架队</a:t>
            </a:r>
            <a:r>
              <a:rPr lang="en-US" altLang="zh-CN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,</a:t>
            </a:r>
            <a:r>
              <a:rPr lang="zh-CN" altLang="en-US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嘱咐他们送到野战医院</a:t>
            </a:r>
            <a:r>
              <a:rPr lang="en-US" altLang="zh-CN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,</a:t>
            </a:r>
            <a:r>
              <a:rPr lang="zh-CN" altLang="en-US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他又返回山上继续参加战斗。后来黑山门战役取得了胜利</a:t>
            </a:r>
            <a:r>
              <a:rPr lang="en-US" altLang="zh-CN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,</a:t>
            </a:r>
            <a:r>
              <a:rPr lang="zh-CN" altLang="en-US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畹町收复</a:t>
            </a:r>
            <a:r>
              <a:rPr lang="en-US" altLang="zh-CN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,</a:t>
            </a:r>
            <a:r>
              <a:rPr lang="zh-CN" altLang="en-US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把日军从国门赶了出去</a:t>
            </a:r>
            <a:r>
              <a:rPr lang="en-US" altLang="zh-CN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!</a:t>
            </a:r>
            <a:r>
              <a:rPr lang="zh-CN" altLang="en-US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才</a:t>
            </a:r>
            <a:r>
              <a:rPr lang="en-US" altLang="zh-CN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13</a:t>
            </a:r>
            <a:r>
              <a:rPr lang="zh-CN" altLang="en-US" sz="2200" dirty="0">
                <a:solidFill>
                  <a:schemeClr val="tx1"/>
                </a:solidFill>
                <a:latin typeface="汉仪中宋简" panose="02010609000101010101" pitchFamily="49" charset="-122"/>
                <a:ea typeface="汉仪中宋简" panose="02010609000101010101" pitchFamily="49" charset="-122"/>
              </a:rPr>
              <a:t>岁的他就是这么勇敢地保护了连长</a:t>
            </a:r>
            <a:r>
              <a:rPr lang="zh-CN" altLang="en-US" sz="2200" dirty="0">
                <a:solidFill>
                  <a:schemeClr val="tx1"/>
                </a:solidFill>
              </a:rPr>
              <a:t>。</a:t>
            </a:r>
          </a:p>
        </p:txBody>
      </p:sp>
      <p:sp>
        <p:nvSpPr>
          <p:cNvPr id="16" name="矩形: 圆角 15">
            <a:extLst>
              <a:ext uri="{FF2B5EF4-FFF2-40B4-BE49-F238E27FC236}">
                <a16:creationId xmlns:a16="http://schemas.microsoft.com/office/drawing/2014/main" id="{F492050B-FAF5-0376-E51D-2C8B44AA71A8}"/>
              </a:ext>
            </a:extLst>
          </p:cNvPr>
          <p:cNvSpPr/>
          <p:nvPr/>
        </p:nvSpPr>
        <p:spPr>
          <a:xfrm>
            <a:off x="-1357898" y="-442824"/>
            <a:ext cx="14060556" cy="8216348"/>
          </a:xfrm>
          <a:prstGeom prst="roundRect">
            <a:avLst/>
          </a:prstGeom>
          <a:solidFill>
            <a:schemeClr val="dk1">
              <a:alpha val="88000"/>
            </a:schemeClr>
          </a:solidFill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69B1ACF0-AB71-C0C0-0845-0F1B277B4958}"/>
              </a:ext>
            </a:extLst>
          </p:cNvPr>
          <p:cNvSpPr/>
          <p:nvPr/>
        </p:nvSpPr>
        <p:spPr>
          <a:xfrm>
            <a:off x="1285290" y="1096545"/>
            <a:ext cx="8774180" cy="4870226"/>
          </a:xfrm>
          <a:prstGeom prst="roundRect">
            <a:avLst/>
          </a:prstGeom>
          <a:solidFill>
            <a:srgbClr val="AA000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kumimoji="0" lang="zh-CN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EE979"/>
                </a:solidFill>
                <a:effectLst>
                  <a:outerShdw blurRad="165100" dist="203200" dir="1800000" sx="101000" sy="101000" algn="ctr" rotWithShape="0">
                    <a:srgbClr val="000000">
                      <a:alpha val="52000"/>
                    </a:srgbClr>
                  </a:outerShdw>
                </a:effectLst>
                <a:uLnTx/>
                <a:uFillTx/>
                <a:ea typeface="汉仪尚巍手书W" panose="00020600040101010101" pitchFamily="18" charset="-122"/>
              </a:rPr>
              <a:t>天下兴亡、匹夫有责的爱国情怀</a:t>
            </a: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EE979"/>
              </a:solidFill>
              <a:effectLst>
                <a:outerShdw blurRad="165100" dist="203200" dir="1800000" sx="101000" sy="101000" algn="ctr" rotWithShape="0">
                  <a:srgbClr val="000000">
                    <a:alpha val="52000"/>
                  </a:srgbClr>
                </a:outerShdw>
              </a:effectLst>
              <a:uLnTx/>
              <a:uFillTx/>
              <a:ea typeface="汉仪尚巍手书W" panose="00020600040101010101" pitchFamily="18" charset="-122"/>
            </a:endParaRPr>
          </a:p>
          <a:p>
            <a:pPr algn="ctr">
              <a:lnSpc>
                <a:spcPct val="150000"/>
              </a:lnSpc>
            </a:pPr>
            <a:r>
              <a:rPr kumimoji="0" lang="zh-CN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EE979"/>
                </a:solidFill>
                <a:effectLst>
                  <a:outerShdw blurRad="165100" dist="203200" dir="1800000" sx="101000" sy="101000" algn="ctr" rotWithShape="0">
                    <a:srgbClr val="000000">
                      <a:alpha val="52000"/>
                    </a:srgbClr>
                  </a:outerShdw>
                </a:effectLst>
                <a:uLnTx/>
                <a:uFillTx/>
                <a:ea typeface="汉仪尚巍手书W" panose="00020600040101010101" pitchFamily="18" charset="-122"/>
              </a:rPr>
              <a:t>视死如归、宁死不屈的民族气节</a:t>
            </a: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EE979"/>
              </a:solidFill>
              <a:effectLst>
                <a:outerShdw blurRad="165100" dist="203200" dir="1800000" sx="101000" sy="101000" algn="ctr" rotWithShape="0">
                  <a:srgbClr val="000000">
                    <a:alpha val="52000"/>
                  </a:srgbClr>
                </a:outerShdw>
              </a:effectLst>
              <a:uLnTx/>
              <a:uFillTx/>
              <a:ea typeface="汉仪尚巍手书W" panose="00020600040101010101" pitchFamily="18" charset="-122"/>
            </a:endParaRPr>
          </a:p>
          <a:p>
            <a:pPr algn="ctr">
              <a:lnSpc>
                <a:spcPct val="150000"/>
              </a:lnSpc>
            </a:pPr>
            <a:r>
              <a:rPr kumimoji="0" lang="zh-CN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EE979"/>
                </a:solidFill>
                <a:effectLst>
                  <a:outerShdw blurRad="165100" dist="203200" dir="1800000" sx="101000" sy="101000" algn="ctr" rotWithShape="0">
                    <a:srgbClr val="000000">
                      <a:alpha val="52000"/>
                    </a:srgbClr>
                  </a:outerShdw>
                </a:effectLst>
                <a:uLnTx/>
                <a:uFillTx/>
                <a:ea typeface="汉仪尚巍手书W" panose="00020600040101010101" pitchFamily="18" charset="-122"/>
              </a:rPr>
              <a:t>不畏强暴、血战到底的英雄气概                     </a:t>
            </a:r>
            <a:r>
              <a:rPr lang="zh-CN" altLang="en-US" sz="4000" b="1" dirty="0">
                <a:solidFill>
                  <a:srgbClr val="FEE979"/>
                </a:solidFill>
                <a:effectLst>
                  <a:outerShdw blurRad="165100" dist="203200" dir="1800000" sx="101000" sy="101000" algn="ctr" rotWithShape="0">
                    <a:srgbClr val="000000">
                      <a:alpha val="52000"/>
                    </a:srgbClr>
                  </a:outerShdw>
                </a:effectLst>
                <a:ea typeface="汉仪尚巍手书W" panose="00020600040101010101" pitchFamily="18" charset="-122"/>
              </a:rPr>
              <a:t>百折不挠、坚忍不拔的必胜信念</a:t>
            </a:r>
          </a:p>
        </p:txBody>
      </p:sp>
    </p:spTree>
    <p:extLst>
      <p:ext uri="{BB962C8B-B14F-4D97-AF65-F5344CB8AC3E}">
        <p14:creationId xmlns:p14="http://schemas.microsoft.com/office/powerpoint/2010/main" val="3057186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5" grpId="0" animBg="1"/>
      <p:bldP spid="16" grpId="0" animBg="1"/>
      <p:bldP spid="1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c998fae401912025469be1ead21dec9">
            <a:hlinkClick r:id="" action="ppaction://media"/>
            <a:extLst>
              <a:ext uri="{FF2B5EF4-FFF2-40B4-BE49-F238E27FC236}">
                <a16:creationId xmlns:a16="http://schemas.microsoft.com/office/drawing/2014/main" id="{A6379CCA-C709-D7BA-621B-F07CB091CAB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" y="0"/>
            <a:ext cx="5261114" cy="68580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41A6BD8-18E8-274B-99DB-3567288D615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52778" y1="13125" x2="66111" y2="13177"/>
                        <a14:foregroundMark x1="66111" y1="13177" x2="52778" y2="18750"/>
                        <a14:foregroundMark x1="52778" y1="18750" x2="52037" y2="18750"/>
                        <a14:foregroundMark x1="52037" y1="13698" x2="51844" y2="20018"/>
                        <a14:foregroundMark x1="51019" y1="18958" x2="51389" y2="23177"/>
                        <a14:foregroundMark x1="15648" y1="65313" x2="68056" y2="60833"/>
                        <a14:foregroundMark x1="68056" y1="60833" x2="82593" y2="64271"/>
                        <a14:foregroundMark x1="82593" y1="64271" x2="35833" y2="71250"/>
                        <a14:foregroundMark x1="35833" y1="71250" x2="17407" y2="70938"/>
                        <a14:foregroundMark x1="17407" y1="70938" x2="16667" y2="67240"/>
                        <a14:backgroundMark x1="50944" y1="23190" x2="51019" y2="2359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8306" y="888382"/>
            <a:ext cx="3857625" cy="6858000"/>
          </a:xfrm>
          <a:prstGeom prst="rect">
            <a:avLst/>
          </a:prstGeom>
          <a:effectLst>
            <a:outerShdw blurRad="38100" dist="114300" dir="16200000" rotWithShape="0">
              <a:prstClr val="black">
                <a:alpha val="40000"/>
              </a:prstClr>
            </a:outerShdw>
          </a:effectLst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F676B7CA-9CFF-BD14-4989-F906475A305B}"/>
              </a:ext>
            </a:extLst>
          </p:cNvPr>
          <p:cNvSpPr txBox="1"/>
          <p:nvPr/>
        </p:nvSpPr>
        <p:spPr>
          <a:xfrm>
            <a:off x="5261113" y="388204"/>
            <a:ext cx="60685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这条“光明的道路”叫</a:t>
            </a:r>
          </a:p>
        </p:txBody>
      </p:sp>
    </p:spTree>
    <p:extLst>
      <p:ext uri="{BB962C8B-B14F-4D97-AF65-F5344CB8AC3E}">
        <p14:creationId xmlns:p14="http://schemas.microsoft.com/office/powerpoint/2010/main" val="2622421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3252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6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17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" fill="hold">
                      <p:stCondLst>
                        <p:cond delay="0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1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组合 21">
            <a:extLst>
              <a:ext uri="{FF2B5EF4-FFF2-40B4-BE49-F238E27FC236}">
                <a16:creationId xmlns:a16="http://schemas.microsoft.com/office/drawing/2014/main" id="{67EE42C9-ED99-54FE-985F-547D92C9E2EB}"/>
              </a:ext>
            </a:extLst>
          </p:cNvPr>
          <p:cNvGrpSpPr/>
          <p:nvPr/>
        </p:nvGrpSpPr>
        <p:grpSpPr>
          <a:xfrm rot="7858820">
            <a:off x="1643584" y="-702171"/>
            <a:ext cx="16526939" cy="7389160"/>
            <a:chOff x="3340100" y="2316581"/>
            <a:chExt cx="5511800" cy="2224838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1D09ED18-1C18-FA0C-68A3-C3862676C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0019" y="2584290"/>
              <a:ext cx="11881" cy="11881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1 w 1"/>
                <a:gd name="T5" fmla="*/ 0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86641F89-7A18-4729-ED3F-7A3867788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9755" y="2559737"/>
              <a:ext cx="650264" cy="72868"/>
            </a:xfrm>
            <a:custGeom>
              <a:avLst/>
              <a:gdLst>
                <a:gd name="T0" fmla="*/ 52 w 54"/>
                <a:gd name="T1" fmla="*/ 5 h 6"/>
                <a:gd name="T2" fmla="*/ 48 w 54"/>
                <a:gd name="T3" fmla="*/ 5 h 6"/>
                <a:gd name="T4" fmla="*/ 46 w 54"/>
                <a:gd name="T5" fmla="*/ 5 h 6"/>
                <a:gd name="T6" fmla="*/ 46 w 54"/>
                <a:gd name="T7" fmla="*/ 5 h 6"/>
                <a:gd name="T8" fmla="*/ 44 w 54"/>
                <a:gd name="T9" fmla="*/ 5 h 6"/>
                <a:gd name="T10" fmla="*/ 37 w 54"/>
                <a:gd name="T11" fmla="*/ 4 h 6"/>
                <a:gd name="T12" fmla="*/ 37 w 54"/>
                <a:gd name="T13" fmla="*/ 4 h 6"/>
                <a:gd name="T14" fmla="*/ 31 w 54"/>
                <a:gd name="T15" fmla="*/ 4 h 6"/>
                <a:gd name="T16" fmla="*/ 25 w 54"/>
                <a:gd name="T17" fmla="*/ 3 h 6"/>
                <a:gd name="T18" fmla="*/ 22 w 54"/>
                <a:gd name="T19" fmla="*/ 3 h 6"/>
                <a:gd name="T20" fmla="*/ 22 w 54"/>
                <a:gd name="T21" fmla="*/ 2 h 6"/>
                <a:gd name="T22" fmla="*/ 18 w 54"/>
                <a:gd name="T23" fmla="*/ 2 h 6"/>
                <a:gd name="T24" fmla="*/ 18 w 54"/>
                <a:gd name="T25" fmla="*/ 3 h 6"/>
                <a:gd name="T26" fmla="*/ 11 w 54"/>
                <a:gd name="T27" fmla="*/ 2 h 6"/>
                <a:gd name="T28" fmla="*/ 0 w 54"/>
                <a:gd name="T29" fmla="*/ 2 h 6"/>
                <a:gd name="T30" fmla="*/ 4 w 54"/>
                <a:gd name="T31" fmla="*/ 0 h 6"/>
                <a:gd name="T32" fmla="*/ 6 w 54"/>
                <a:gd name="T33" fmla="*/ 2 h 6"/>
                <a:gd name="T34" fmla="*/ 25 w 54"/>
                <a:gd name="T35" fmla="*/ 1 h 6"/>
                <a:gd name="T36" fmla="*/ 25 w 54"/>
                <a:gd name="T37" fmla="*/ 1 h 6"/>
                <a:gd name="T38" fmla="*/ 24 w 54"/>
                <a:gd name="T39" fmla="*/ 0 h 6"/>
                <a:gd name="T40" fmla="*/ 24 w 54"/>
                <a:gd name="T41" fmla="*/ 0 h 6"/>
                <a:gd name="T42" fmla="*/ 26 w 54"/>
                <a:gd name="T43" fmla="*/ 0 h 6"/>
                <a:gd name="T44" fmla="*/ 26 w 54"/>
                <a:gd name="T45" fmla="*/ 0 h 6"/>
                <a:gd name="T46" fmla="*/ 25 w 54"/>
                <a:gd name="T47" fmla="*/ 1 h 6"/>
                <a:gd name="T48" fmla="*/ 26 w 54"/>
                <a:gd name="T49" fmla="*/ 1 h 6"/>
                <a:gd name="T50" fmla="*/ 34 w 54"/>
                <a:gd name="T51" fmla="*/ 2 h 6"/>
                <a:gd name="T52" fmla="*/ 37 w 54"/>
                <a:gd name="T53" fmla="*/ 2 h 6"/>
                <a:gd name="T54" fmla="*/ 36 w 54"/>
                <a:gd name="T55" fmla="*/ 0 h 6"/>
                <a:gd name="T56" fmla="*/ 38 w 54"/>
                <a:gd name="T57" fmla="*/ 1 h 6"/>
                <a:gd name="T58" fmla="*/ 38 w 54"/>
                <a:gd name="T59" fmla="*/ 1 h 6"/>
                <a:gd name="T60" fmla="*/ 45 w 54"/>
                <a:gd name="T61" fmla="*/ 3 h 6"/>
                <a:gd name="T62" fmla="*/ 46 w 54"/>
                <a:gd name="T63" fmla="*/ 2 h 6"/>
                <a:gd name="T64" fmla="*/ 53 w 54"/>
                <a:gd name="T65" fmla="*/ 4 h 6"/>
                <a:gd name="T66" fmla="*/ 54 w 54"/>
                <a:gd name="T67" fmla="*/ 3 h 6"/>
                <a:gd name="T68" fmla="*/ 52 w 54"/>
                <a:gd name="T6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6">
                  <a:moveTo>
                    <a:pt x="52" y="5"/>
                  </a:moveTo>
                  <a:cubicBezTo>
                    <a:pt x="52" y="3"/>
                    <a:pt x="50" y="4"/>
                    <a:pt x="48" y="5"/>
                  </a:cubicBezTo>
                  <a:cubicBezTo>
                    <a:pt x="48" y="5"/>
                    <a:pt x="47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5" y="4"/>
                    <a:pt x="44" y="5"/>
                    <a:pt x="44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5" y="2"/>
                    <a:pt x="33" y="6"/>
                    <a:pt x="31" y="4"/>
                  </a:cubicBezTo>
                  <a:cubicBezTo>
                    <a:pt x="29" y="4"/>
                    <a:pt x="27" y="5"/>
                    <a:pt x="25" y="3"/>
                  </a:cubicBezTo>
                  <a:cubicBezTo>
                    <a:pt x="24" y="3"/>
                    <a:pt x="23" y="4"/>
                    <a:pt x="22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1" y="2"/>
                    <a:pt x="19" y="2"/>
                    <a:pt x="18" y="2"/>
                  </a:cubicBezTo>
                  <a:cubicBezTo>
                    <a:pt x="18" y="2"/>
                    <a:pt x="18" y="2"/>
                    <a:pt x="18" y="3"/>
                  </a:cubicBezTo>
                  <a:cubicBezTo>
                    <a:pt x="17" y="2"/>
                    <a:pt x="12" y="2"/>
                    <a:pt x="11" y="2"/>
                  </a:cubicBezTo>
                  <a:cubicBezTo>
                    <a:pt x="7" y="2"/>
                    <a:pt x="4" y="2"/>
                    <a:pt x="0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5" y="1"/>
                    <a:pt x="6" y="2"/>
                  </a:cubicBezTo>
                  <a:cubicBezTo>
                    <a:pt x="12" y="0"/>
                    <a:pt x="18" y="2"/>
                    <a:pt x="25" y="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1"/>
                  </a:cubicBezTo>
                  <a:cubicBezTo>
                    <a:pt x="25" y="1"/>
                    <a:pt x="26" y="1"/>
                    <a:pt x="26" y="1"/>
                  </a:cubicBezTo>
                  <a:cubicBezTo>
                    <a:pt x="28" y="4"/>
                    <a:pt x="32" y="1"/>
                    <a:pt x="34" y="2"/>
                  </a:cubicBezTo>
                  <a:cubicBezTo>
                    <a:pt x="35" y="2"/>
                    <a:pt x="36" y="3"/>
                    <a:pt x="37" y="2"/>
                  </a:cubicBezTo>
                  <a:cubicBezTo>
                    <a:pt x="37" y="1"/>
                    <a:pt x="36" y="1"/>
                    <a:pt x="36" y="0"/>
                  </a:cubicBezTo>
                  <a:cubicBezTo>
                    <a:pt x="37" y="0"/>
                    <a:pt x="37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40" y="1"/>
                    <a:pt x="43" y="2"/>
                    <a:pt x="45" y="3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7" y="5"/>
                    <a:pt x="51" y="1"/>
                    <a:pt x="53" y="4"/>
                  </a:cubicBezTo>
                  <a:cubicBezTo>
                    <a:pt x="54" y="3"/>
                    <a:pt x="54" y="3"/>
                    <a:pt x="54" y="3"/>
                  </a:cubicBezTo>
                  <a:lnTo>
                    <a:pt x="52" y="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245728AC-FDF6-E22C-1A21-C9D4E8F12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7359" y="2572410"/>
              <a:ext cx="1913566" cy="133063"/>
            </a:xfrm>
            <a:custGeom>
              <a:avLst/>
              <a:gdLst>
                <a:gd name="T0" fmla="*/ 154 w 159"/>
                <a:gd name="T1" fmla="*/ 5 h 11"/>
                <a:gd name="T2" fmla="*/ 155 w 159"/>
                <a:gd name="T3" fmla="*/ 5 h 11"/>
                <a:gd name="T4" fmla="*/ 147 w 159"/>
                <a:gd name="T5" fmla="*/ 6 h 11"/>
                <a:gd name="T6" fmla="*/ 134 w 159"/>
                <a:gd name="T7" fmla="*/ 7 h 11"/>
                <a:gd name="T8" fmla="*/ 125 w 159"/>
                <a:gd name="T9" fmla="*/ 7 h 11"/>
                <a:gd name="T10" fmla="*/ 106 w 159"/>
                <a:gd name="T11" fmla="*/ 9 h 11"/>
                <a:gd name="T12" fmla="*/ 101 w 159"/>
                <a:gd name="T13" fmla="*/ 8 h 11"/>
                <a:gd name="T14" fmla="*/ 84 w 159"/>
                <a:gd name="T15" fmla="*/ 9 h 11"/>
                <a:gd name="T16" fmla="*/ 86 w 159"/>
                <a:gd name="T17" fmla="*/ 8 h 11"/>
                <a:gd name="T18" fmla="*/ 100 w 159"/>
                <a:gd name="T19" fmla="*/ 7 h 11"/>
                <a:gd name="T20" fmla="*/ 113 w 159"/>
                <a:gd name="T21" fmla="*/ 5 h 11"/>
                <a:gd name="T22" fmla="*/ 91 w 159"/>
                <a:gd name="T23" fmla="*/ 7 h 11"/>
                <a:gd name="T24" fmla="*/ 70 w 159"/>
                <a:gd name="T25" fmla="*/ 8 h 11"/>
                <a:gd name="T26" fmla="*/ 66 w 159"/>
                <a:gd name="T27" fmla="*/ 10 h 11"/>
                <a:gd name="T28" fmla="*/ 61 w 159"/>
                <a:gd name="T29" fmla="*/ 9 h 11"/>
                <a:gd name="T30" fmla="*/ 61 w 159"/>
                <a:gd name="T31" fmla="*/ 8 h 11"/>
                <a:gd name="T32" fmla="*/ 58 w 159"/>
                <a:gd name="T33" fmla="*/ 9 h 11"/>
                <a:gd name="T34" fmla="*/ 59 w 159"/>
                <a:gd name="T35" fmla="*/ 11 h 11"/>
                <a:gd name="T36" fmla="*/ 56 w 159"/>
                <a:gd name="T37" fmla="*/ 10 h 11"/>
                <a:gd name="T38" fmla="*/ 56 w 159"/>
                <a:gd name="T39" fmla="*/ 9 h 11"/>
                <a:gd name="T40" fmla="*/ 50 w 159"/>
                <a:gd name="T41" fmla="*/ 8 h 11"/>
                <a:gd name="T42" fmla="*/ 41 w 159"/>
                <a:gd name="T43" fmla="*/ 10 h 11"/>
                <a:gd name="T44" fmla="*/ 34 w 159"/>
                <a:gd name="T45" fmla="*/ 9 h 11"/>
                <a:gd name="T46" fmla="*/ 31 w 159"/>
                <a:gd name="T47" fmla="*/ 9 h 11"/>
                <a:gd name="T48" fmla="*/ 5 w 159"/>
                <a:gd name="T49" fmla="*/ 9 h 11"/>
                <a:gd name="T50" fmla="*/ 4 w 159"/>
                <a:gd name="T51" fmla="*/ 9 h 11"/>
                <a:gd name="T52" fmla="*/ 6 w 159"/>
                <a:gd name="T53" fmla="*/ 8 h 11"/>
                <a:gd name="T54" fmla="*/ 10 w 159"/>
                <a:gd name="T55" fmla="*/ 8 h 11"/>
                <a:gd name="T56" fmla="*/ 12 w 159"/>
                <a:gd name="T57" fmla="*/ 8 h 11"/>
                <a:gd name="T58" fmla="*/ 19 w 159"/>
                <a:gd name="T59" fmla="*/ 7 h 11"/>
                <a:gd name="T60" fmla="*/ 20 w 159"/>
                <a:gd name="T61" fmla="*/ 8 h 11"/>
                <a:gd name="T62" fmla="*/ 23 w 159"/>
                <a:gd name="T63" fmla="*/ 7 h 11"/>
                <a:gd name="T64" fmla="*/ 24 w 159"/>
                <a:gd name="T65" fmla="*/ 8 h 11"/>
                <a:gd name="T66" fmla="*/ 27 w 159"/>
                <a:gd name="T67" fmla="*/ 8 h 11"/>
                <a:gd name="T68" fmla="*/ 28 w 159"/>
                <a:gd name="T69" fmla="*/ 8 h 11"/>
                <a:gd name="T70" fmla="*/ 29 w 159"/>
                <a:gd name="T71" fmla="*/ 6 h 11"/>
                <a:gd name="T72" fmla="*/ 38 w 159"/>
                <a:gd name="T73" fmla="*/ 7 h 11"/>
                <a:gd name="T74" fmla="*/ 39 w 159"/>
                <a:gd name="T75" fmla="*/ 8 h 11"/>
                <a:gd name="T76" fmla="*/ 47 w 159"/>
                <a:gd name="T77" fmla="*/ 6 h 11"/>
                <a:gd name="T78" fmla="*/ 47 w 159"/>
                <a:gd name="T79" fmla="*/ 7 h 11"/>
                <a:gd name="T80" fmla="*/ 48 w 159"/>
                <a:gd name="T81" fmla="*/ 7 h 11"/>
                <a:gd name="T82" fmla="*/ 49 w 159"/>
                <a:gd name="T83" fmla="*/ 6 h 11"/>
                <a:gd name="T84" fmla="*/ 51 w 159"/>
                <a:gd name="T85" fmla="*/ 6 h 11"/>
                <a:gd name="T86" fmla="*/ 57 w 159"/>
                <a:gd name="T87" fmla="*/ 5 h 11"/>
                <a:gd name="T88" fmla="*/ 54 w 159"/>
                <a:gd name="T89" fmla="*/ 6 h 11"/>
                <a:gd name="T90" fmla="*/ 65 w 159"/>
                <a:gd name="T91" fmla="*/ 6 h 11"/>
                <a:gd name="T92" fmla="*/ 65 w 159"/>
                <a:gd name="T93" fmla="*/ 5 h 11"/>
                <a:gd name="T94" fmla="*/ 73 w 159"/>
                <a:gd name="T95" fmla="*/ 5 h 11"/>
                <a:gd name="T96" fmla="*/ 113 w 159"/>
                <a:gd name="T97" fmla="*/ 2 h 11"/>
                <a:gd name="T98" fmla="*/ 120 w 159"/>
                <a:gd name="T99" fmla="*/ 1 h 11"/>
                <a:gd name="T100" fmla="*/ 121 w 159"/>
                <a:gd name="T101" fmla="*/ 0 h 11"/>
                <a:gd name="T102" fmla="*/ 124 w 159"/>
                <a:gd name="T103" fmla="*/ 1 h 11"/>
                <a:gd name="T104" fmla="*/ 129 w 159"/>
                <a:gd name="T105" fmla="*/ 3 h 11"/>
                <a:gd name="T106" fmla="*/ 137 w 159"/>
                <a:gd name="T107" fmla="*/ 3 h 11"/>
                <a:gd name="T108" fmla="*/ 149 w 159"/>
                <a:gd name="T109" fmla="*/ 4 h 11"/>
                <a:gd name="T110" fmla="*/ 151 w 159"/>
                <a:gd name="T111" fmla="*/ 4 h 11"/>
                <a:gd name="T112" fmla="*/ 151 w 159"/>
                <a:gd name="T113" fmla="*/ 4 h 11"/>
                <a:gd name="T114" fmla="*/ 159 w 159"/>
                <a:gd name="T11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9" h="11">
                  <a:moveTo>
                    <a:pt x="155" y="6"/>
                  </a:moveTo>
                  <a:cubicBezTo>
                    <a:pt x="154" y="5"/>
                    <a:pt x="154" y="5"/>
                    <a:pt x="154" y="5"/>
                  </a:cubicBezTo>
                  <a:cubicBezTo>
                    <a:pt x="154" y="5"/>
                    <a:pt x="154" y="6"/>
                    <a:pt x="155" y="5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55" y="4"/>
                    <a:pt x="154" y="4"/>
                    <a:pt x="153" y="4"/>
                  </a:cubicBezTo>
                  <a:cubicBezTo>
                    <a:pt x="152" y="7"/>
                    <a:pt x="149" y="4"/>
                    <a:pt x="147" y="6"/>
                  </a:cubicBezTo>
                  <a:cubicBezTo>
                    <a:pt x="147" y="5"/>
                    <a:pt x="146" y="5"/>
                    <a:pt x="145" y="5"/>
                  </a:cubicBezTo>
                  <a:cubicBezTo>
                    <a:pt x="142" y="7"/>
                    <a:pt x="138" y="6"/>
                    <a:pt x="134" y="7"/>
                  </a:cubicBezTo>
                  <a:cubicBezTo>
                    <a:pt x="131" y="7"/>
                    <a:pt x="128" y="6"/>
                    <a:pt x="125" y="7"/>
                  </a:cubicBezTo>
                  <a:cubicBezTo>
                    <a:pt x="125" y="7"/>
                    <a:pt x="125" y="7"/>
                    <a:pt x="125" y="7"/>
                  </a:cubicBezTo>
                  <a:cubicBezTo>
                    <a:pt x="118" y="7"/>
                    <a:pt x="113" y="7"/>
                    <a:pt x="106" y="7"/>
                  </a:cubicBezTo>
                  <a:cubicBezTo>
                    <a:pt x="105" y="8"/>
                    <a:pt x="105" y="9"/>
                    <a:pt x="106" y="9"/>
                  </a:cubicBezTo>
                  <a:cubicBezTo>
                    <a:pt x="106" y="6"/>
                    <a:pt x="103" y="8"/>
                    <a:pt x="101" y="8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94" y="9"/>
                    <a:pt x="89" y="8"/>
                    <a:pt x="84" y="9"/>
                  </a:cubicBezTo>
                  <a:cubicBezTo>
                    <a:pt x="84" y="8"/>
                    <a:pt x="84" y="8"/>
                    <a:pt x="84" y="8"/>
                  </a:cubicBezTo>
                  <a:cubicBezTo>
                    <a:pt x="84" y="8"/>
                    <a:pt x="85" y="9"/>
                    <a:pt x="86" y="8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90" y="10"/>
                    <a:pt x="97" y="6"/>
                    <a:pt x="100" y="7"/>
                  </a:cubicBezTo>
                  <a:cubicBezTo>
                    <a:pt x="104" y="7"/>
                    <a:pt x="109" y="5"/>
                    <a:pt x="113" y="6"/>
                  </a:cubicBezTo>
                  <a:cubicBezTo>
                    <a:pt x="113" y="6"/>
                    <a:pt x="114" y="6"/>
                    <a:pt x="113" y="5"/>
                  </a:cubicBezTo>
                  <a:cubicBezTo>
                    <a:pt x="106" y="4"/>
                    <a:pt x="98" y="4"/>
                    <a:pt x="90" y="7"/>
                  </a:cubicBezTo>
                  <a:cubicBezTo>
                    <a:pt x="90" y="8"/>
                    <a:pt x="90" y="7"/>
                    <a:pt x="91" y="7"/>
                  </a:cubicBezTo>
                  <a:cubicBezTo>
                    <a:pt x="87" y="5"/>
                    <a:pt x="82" y="6"/>
                    <a:pt x="78" y="6"/>
                  </a:cubicBezTo>
                  <a:cubicBezTo>
                    <a:pt x="76" y="8"/>
                    <a:pt x="72" y="5"/>
                    <a:pt x="70" y="8"/>
                  </a:cubicBezTo>
                  <a:cubicBezTo>
                    <a:pt x="71" y="8"/>
                    <a:pt x="71" y="9"/>
                    <a:pt x="71" y="9"/>
                  </a:cubicBezTo>
                  <a:cubicBezTo>
                    <a:pt x="69" y="8"/>
                    <a:pt x="68" y="11"/>
                    <a:pt x="66" y="10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5" y="8"/>
                    <a:pt x="63" y="8"/>
                    <a:pt x="61" y="9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60" y="8"/>
                    <a:pt x="61" y="9"/>
                    <a:pt x="61" y="8"/>
                  </a:cubicBezTo>
                  <a:cubicBezTo>
                    <a:pt x="60" y="7"/>
                    <a:pt x="58" y="8"/>
                    <a:pt x="57" y="8"/>
                  </a:cubicBezTo>
                  <a:cubicBezTo>
                    <a:pt x="57" y="8"/>
                    <a:pt x="58" y="9"/>
                    <a:pt x="58" y="9"/>
                  </a:cubicBezTo>
                  <a:cubicBezTo>
                    <a:pt x="58" y="9"/>
                    <a:pt x="57" y="9"/>
                    <a:pt x="57" y="9"/>
                  </a:cubicBezTo>
                  <a:cubicBezTo>
                    <a:pt x="57" y="11"/>
                    <a:pt x="58" y="10"/>
                    <a:pt x="59" y="11"/>
                  </a:cubicBezTo>
                  <a:cubicBezTo>
                    <a:pt x="59" y="11"/>
                    <a:pt x="58" y="11"/>
                    <a:pt x="57" y="11"/>
                  </a:cubicBezTo>
                  <a:cubicBezTo>
                    <a:pt x="57" y="11"/>
                    <a:pt x="57" y="10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6" y="11"/>
                    <a:pt x="55" y="9"/>
                    <a:pt x="56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0" y="8"/>
                    <a:pt x="50" y="8"/>
                  </a:cubicBezTo>
                  <a:cubicBezTo>
                    <a:pt x="49" y="8"/>
                    <a:pt x="49" y="8"/>
                    <a:pt x="49" y="9"/>
                  </a:cubicBezTo>
                  <a:cubicBezTo>
                    <a:pt x="46" y="7"/>
                    <a:pt x="44" y="10"/>
                    <a:pt x="41" y="10"/>
                  </a:cubicBezTo>
                  <a:cubicBezTo>
                    <a:pt x="41" y="9"/>
                    <a:pt x="44" y="10"/>
                    <a:pt x="43" y="8"/>
                  </a:cubicBezTo>
                  <a:cubicBezTo>
                    <a:pt x="39" y="8"/>
                    <a:pt x="38" y="11"/>
                    <a:pt x="34" y="9"/>
                  </a:cubicBezTo>
                  <a:cubicBezTo>
                    <a:pt x="34" y="10"/>
                    <a:pt x="31" y="10"/>
                    <a:pt x="30" y="10"/>
                  </a:cubicBezTo>
                  <a:cubicBezTo>
                    <a:pt x="29" y="10"/>
                    <a:pt x="31" y="9"/>
                    <a:pt x="31" y="9"/>
                  </a:cubicBezTo>
                  <a:cubicBezTo>
                    <a:pt x="24" y="10"/>
                    <a:pt x="14" y="8"/>
                    <a:pt x="6" y="10"/>
                  </a:cubicBezTo>
                  <a:cubicBezTo>
                    <a:pt x="6" y="10"/>
                    <a:pt x="5" y="10"/>
                    <a:pt x="5" y="9"/>
                  </a:cubicBezTo>
                  <a:cubicBezTo>
                    <a:pt x="5" y="10"/>
                    <a:pt x="4" y="10"/>
                    <a:pt x="3" y="1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4" y="9"/>
                    <a:pt x="3" y="7"/>
                    <a:pt x="6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8"/>
                    <a:pt x="10" y="8"/>
                    <a:pt x="10" y="8"/>
                  </a:cubicBezTo>
                  <a:cubicBezTo>
                    <a:pt x="10" y="7"/>
                    <a:pt x="12" y="8"/>
                    <a:pt x="13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9"/>
                    <a:pt x="14" y="8"/>
                    <a:pt x="14" y="9"/>
                  </a:cubicBezTo>
                  <a:cubicBezTo>
                    <a:pt x="13" y="7"/>
                    <a:pt x="17" y="8"/>
                    <a:pt x="19" y="7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9" y="8"/>
                    <a:pt x="20" y="8"/>
                    <a:pt x="20" y="8"/>
                  </a:cubicBezTo>
                  <a:cubicBezTo>
                    <a:pt x="21" y="8"/>
                    <a:pt x="21" y="7"/>
                    <a:pt x="21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2" y="8"/>
                  </a:cubicBezTo>
                  <a:cubicBezTo>
                    <a:pt x="23" y="8"/>
                    <a:pt x="23" y="8"/>
                    <a:pt x="24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3" y="8"/>
                    <a:pt x="26" y="8"/>
                    <a:pt x="27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32" y="8"/>
                    <a:pt x="35" y="8"/>
                    <a:pt x="38" y="7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0" y="7"/>
                    <a:pt x="41" y="8"/>
                    <a:pt x="40" y="6"/>
                  </a:cubicBezTo>
                  <a:cubicBezTo>
                    <a:pt x="43" y="6"/>
                    <a:pt x="45" y="4"/>
                    <a:pt x="47" y="6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9" y="7"/>
                    <a:pt x="49" y="7"/>
                    <a:pt x="49" y="6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51" y="7"/>
                    <a:pt x="51" y="4"/>
                    <a:pt x="53" y="5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2" y="7"/>
                    <a:pt x="53" y="6"/>
                    <a:pt x="54" y="6"/>
                  </a:cubicBezTo>
                  <a:cubicBezTo>
                    <a:pt x="53" y="5"/>
                    <a:pt x="56" y="4"/>
                    <a:pt x="57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7" y="7"/>
                    <a:pt x="59" y="6"/>
                    <a:pt x="62" y="6"/>
                  </a:cubicBezTo>
                  <a:cubicBezTo>
                    <a:pt x="62" y="7"/>
                    <a:pt x="64" y="6"/>
                    <a:pt x="65" y="6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6" y="5"/>
                    <a:pt x="70" y="5"/>
                    <a:pt x="72" y="4"/>
                  </a:cubicBezTo>
                  <a:cubicBezTo>
                    <a:pt x="72" y="5"/>
                    <a:pt x="73" y="5"/>
                    <a:pt x="73" y="5"/>
                  </a:cubicBezTo>
                  <a:cubicBezTo>
                    <a:pt x="80" y="6"/>
                    <a:pt x="87" y="3"/>
                    <a:pt x="93" y="5"/>
                  </a:cubicBezTo>
                  <a:cubicBezTo>
                    <a:pt x="98" y="4"/>
                    <a:pt x="107" y="3"/>
                    <a:pt x="113" y="2"/>
                  </a:cubicBezTo>
                  <a:cubicBezTo>
                    <a:pt x="113" y="2"/>
                    <a:pt x="113" y="2"/>
                    <a:pt x="113" y="2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0" y="1"/>
                    <a:pt x="122" y="1"/>
                    <a:pt x="122" y="1"/>
                  </a:cubicBezTo>
                  <a:cubicBezTo>
                    <a:pt x="124" y="1"/>
                    <a:pt x="124" y="1"/>
                    <a:pt x="124" y="1"/>
                  </a:cubicBezTo>
                  <a:cubicBezTo>
                    <a:pt x="121" y="2"/>
                    <a:pt x="121" y="2"/>
                    <a:pt x="121" y="2"/>
                  </a:cubicBezTo>
                  <a:cubicBezTo>
                    <a:pt x="124" y="3"/>
                    <a:pt x="127" y="2"/>
                    <a:pt x="129" y="3"/>
                  </a:cubicBezTo>
                  <a:cubicBezTo>
                    <a:pt x="131" y="3"/>
                    <a:pt x="134" y="4"/>
                    <a:pt x="136" y="2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40" y="2"/>
                    <a:pt x="145" y="3"/>
                    <a:pt x="148" y="3"/>
                  </a:cubicBezTo>
                  <a:cubicBezTo>
                    <a:pt x="148" y="3"/>
                    <a:pt x="149" y="3"/>
                    <a:pt x="149" y="4"/>
                  </a:cubicBezTo>
                  <a:cubicBezTo>
                    <a:pt x="150" y="3"/>
                    <a:pt x="150" y="3"/>
                    <a:pt x="150" y="3"/>
                  </a:cubicBezTo>
                  <a:cubicBezTo>
                    <a:pt x="150" y="4"/>
                    <a:pt x="151" y="4"/>
                    <a:pt x="151" y="4"/>
                  </a:cubicBezTo>
                  <a:cubicBezTo>
                    <a:pt x="151" y="3"/>
                    <a:pt x="151" y="3"/>
                    <a:pt x="151" y="3"/>
                  </a:cubicBezTo>
                  <a:cubicBezTo>
                    <a:pt x="151" y="4"/>
                    <a:pt x="151" y="4"/>
                    <a:pt x="151" y="4"/>
                  </a:cubicBezTo>
                  <a:cubicBezTo>
                    <a:pt x="154" y="5"/>
                    <a:pt x="156" y="3"/>
                    <a:pt x="158" y="5"/>
                  </a:cubicBezTo>
                  <a:cubicBezTo>
                    <a:pt x="158" y="5"/>
                    <a:pt x="158" y="5"/>
                    <a:pt x="159" y="5"/>
                  </a:cubicBezTo>
                  <a:cubicBezTo>
                    <a:pt x="158" y="7"/>
                    <a:pt x="156" y="6"/>
                    <a:pt x="155" y="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999E8675-E1EC-E060-53F7-E5FF2B9ADF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3001" y="3423060"/>
              <a:ext cx="24553" cy="0"/>
            </a:xfrm>
            <a:custGeom>
              <a:avLst/>
              <a:gdLst>
                <a:gd name="T0" fmla="*/ 31 w 31"/>
                <a:gd name="T1" fmla="*/ 31 w 31"/>
                <a:gd name="T2" fmla="*/ 15 w 31"/>
                <a:gd name="T3" fmla="*/ 0 w 31"/>
                <a:gd name="T4" fmla="*/ 31 w 3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31">
                  <a:moveTo>
                    <a:pt x="31" y="0"/>
                  </a:moveTo>
                  <a:lnTo>
                    <a:pt x="31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2DDAAEEF-2251-7CED-E9D6-C6C5469D1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4491" y="2632605"/>
              <a:ext cx="12673" cy="1267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0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B46089F9-E994-F2E7-455D-ACE7DD066FE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7359" y="3362073"/>
              <a:ext cx="11881" cy="0"/>
            </a:xfrm>
            <a:custGeom>
              <a:avLst/>
              <a:gdLst>
                <a:gd name="T0" fmla="*/ 0 w 15"/>
                <a:gd name="T1" fmla="*/ 15 w 15"/>
                <a:gd name="T2" fmla="*/ 0 w 15"/>
                <a:gd name="T3" fmla="*/ 0 w 1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5">
                  <a:moveTo>
                    <a:pt x="0" y="0"/>
                  </a:moveTo>
                  <a:lnTo>
                    <a:pt x="1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D43F3F2A-6FF5-9088-CFDE-11EE38EE8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0340" y="2547856"/>
              <a:ext cx="96629" cy="24553"/>
            </a:xfrm>
            <a:custGeom>
              <a:avLst/>
              <a:gdLst>
                <a:gd name="T0" fmla="*/ 8 w 8"/>
                <a:gd name="T1" fmla="*/ 1 h 2"/>
                <a:gd name="T2" fmla="*/ 4 w 8"/>
                <a:gd name="T3" fmla="*/ 1 h 2"/>
                <a:gd name="T4" fmla="*/ 4 w 8"/>
                <a:gd name="T5" fmla="*/ 1 h 2"/>
                <a:gd name="T6" fmla="*/ 0 w 8"/>
                <a:gd name="T7" fmla="*/ 0 h 2"/>
                <a:gd name="T8" fmla="*/ 1 w 8"/>
                <a:gd name="T9" fmla="*/ 0 h 2"/>
                <a:gd name="T10" fmla="*/ 8 w 8"/>
                <a:gd name="T11" fmla="*/ 0 h 2"/>
                <a:gd name="T12" fmla="*/ 8 w 8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8" y="1"/>
                  </a:moveTo>
                  <a:cubicBezTo>
                    <a:pt x="7" y="0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1"/>
                    <a:pt x="0" y="1"/>
                    <a:pt x="0" y="0"/>
                  </a:cubicBezTo>
                  <a:cubicBezTo>
                    <a:pt x="0" y="2"/>
                    <a:pt x="1" y="0"/>
                    <a:pt x="1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0" name="Freeform 12">
              <a:extLst>
                <a:ext uri="{FF2B5EF4-FFF2-40B4-BE49-F238E27FC236}">
                  <a16:creationId xmlns:a16="http://schemas.microsoft.com/office/drawing/2014/main" id="{35B50A62-4B21-FDF3-FD49-FF67B64715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2221" y="2608843"/>
              <a:ext cx="11881" cy="11881"/>
            </a:xfrm>
            <a:custGeom>
              <a:avLst/>
              <a:gdLst>
                <a:gd name="T0" fmla="*/ 15 w 15"/>
                <a:gd name="T1" fmla="*/ 0 h 15"/>
                <a:gd name="T2" fmla="*/ 15 w 15"/>
                <a:gd name="T3" fmla="*/ 15 h 15"/>
                <a:gd name="T4" fmla="*/ 0 w 15"/>
                <a:gd name="T5" fmla="*/ 15 h 15"/>
                <a:gd name="T6" fmla="*/ 0 w 15"/>
                <a:gd name="T7" fmla="*/ 15 h 15"/>
                <a:gd name="T8" fmla="*/ 15 w 1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0"/>
                  </a:moveTo>
                  <a:lnTo>
                    <a:pt x="15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E12BA1C2-B5C1-2334-5BD5-1611C4E3D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8460" y="2766459"/>
              <a:ext cx="23761" cy="12673"/>
            </a:xfrm>
            <a:custGeom>
              <a:avLst/>
              <a:gdLst>
                <a:gd name="T0" fmla="*/ 1 w 2"/>
                <a:gd name="T1" fmla="*/ 1 h 1"/>
                <a:gd name="T2" fmla="*/ 0 w 2"/>
                <a:gd name="T3" fmla="*/ 1 h 1"/>
                <a:gd name="T4" fmla="*/ 2 w 2"/>
                <a:gd name="T5" fmla="*/ 0 h 1"/>
                <a:gd name="T6" fmla="*/ 1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1" y="1"/>
                    <a:pt x="0" y="1"/>
                    <a:pt x="0" y="1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id="{38529362-49F6-016E-0BF8-3CD2E18A7B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0100" y="2316581"/>
              <a:ext cx="5090435" cy="2224838"/>
            </a:xfrm>
            <a:custGeom>
              <a:avLst/>
              <a:gdLst>
                <a:gd name="T0" fmla="*/ 354 w 423"/>
                <a:gd name="T1" fmla="*/ 77 h 183"/>
                <a:gd name="T2" fmla="*/ 334 w 423"/>
                <a:gd name="T3" fmla="*/ 81 h 183"/>
                <a:gd name="T4" fmla="*/ 347 w 423"/>
                <a:gd name="T5" fmla="*/ 84 h 183"/>
                <a:gd name="T6" fmla="*/ 359 w 423"/>
                <a:gd name="T7" fmla="*/ 88 h 183"/>
                <a:gd name="T8" fmla="*/ 385 w 423"/>
                <a:gd name="T9" fmla="*/ 86 h 183"/>
                <a:gd name="T10" fmla="*/ 331 w 423"/>
                <a:gd name="T11" fmla="*/ 109 h 183"/>
                <a:gd name="T12" fmla="*/ 308 w 423"/>
                <a:gd name="T13" fmla="*/ 118 h 183"/>
                <a:gd name="T14" fmla="*/ 315 w 423"/>
                <a:gd name="T15" fmla="*/ 123 h 183"/>
                <a:gd name="T16" fmla="*/ 312 w 423"/>
                <a:gd name="T17" fmla="*/ 129 h 183"/>
                <a:gd name="T18" fmla="*/ 273 w 423"/>
                <a:gd name="T19" fmla="*/ 138 h 183"/>
                <a:gd name="T20" fmla="*/ 282 w 423"/>
                <a:gd name="T21" fmla="*/ 139 h 183"/>
                <a:gd name="T22" fmla="*/ 284 w 423"/>
                <a:gd name="T23" fmla="*/ 143 h 183"/>
                <a:gd name="T24" fmla="*/ 266 w 423"/>
                <a:gd name="T25" fmla="*/ 153 h 183"/>
                <a:gd name="T26" fmla="*/ 250 w 423"/>
                <a:gd name="T27" fmla="*/ 161 h 183"/>
                <a:gd name="T28" fmla="*/ 244 w 423"/>
                <a:gd name="T29" fmla="*/ 171 h 183"/>
                <a:gd name="T30" fmla="*/ 212 w 423"/>
                <a:gd name="T31" fmla="*/ 176 h 183"/>
                <a:gd name="T32" fmla="*/ 196 w 423"/>
                <a:gd name="T33" fmla="*/ 178 h 183"/>
                <a:gd name="T34" fmla="*/ 117 w 423"/>
                <a:gd name="T35" fmla="*/ 177 h 183"/>
                <a:gd name="T36" fmla="*/ 50 w 423"/>
                <a:gd name="T37" fmla="*/ 181 h 183"/>
                <a:gd name="T38" fmla="*/ 13 w 423"/>
                <a:gd name="T39" fmla="*/ 151 h 183"/>
                <a:gd name="T40" fmla="*/ 14 w 423"/>
                <a:gd name="T41" fmla="*/ 125 h 183"/>
                <a:gd name="T42" fmla="*/ 40 w 423"/>
                <a:gd name="T43" fmla="*/ 51 h 183"/>
                <a:gd name="T44" fmla="*/ 99 w 423"/>
                <a:gd name="T45" fmla="*/ 9 h 183"/>
                <a:gd name="T46" fmla="*/ 163 w 423"/>
                <a:gd name="T47" fmla="*/ 41 h 183"/>
                <a:gd name="T48" fmla="*/ 181 w 423"/>
                <a:gd name="T49" fmla="*/ 34 h 183"/>
                <a:gd name="T50" fmla="*/ 195 w 423"/>
                <a:gd name="T51" fmla="*/ 38 h 183"/>
                <a:gd name="T52" fmla="*/ 204 w 423"/>
                <a:gd name="T53" fmla="*/ 36 h 183"/>
                <a:gd name="T54" fmla="*/ 197 w 423"/>
                <a:gd name="T55" fmla="*/ 42 h 183"/>
                <a:gd name="T56" fmla="*/ 185 w 423"/>
                <a:gd name="T57" fmla="*/ 47 h 183"/>
                <a:gd name="T58" fmla="*/ 227 w 423"/>
                <a:gd name="T59" fmla="*/ 43 h 183"/>
                <a:gd name="T60" fmla="*/ 243 w 423"/>
                <a:gd name="T61" fmla="*/ 40 h 183"/>
                <a:gd name="T62" fmla="*/ 234 w 423"/>
                <a:gd name="T63" fmla="*/ 43 h 183"/>
                <a:gd name="T64" fmla="*/ 228 w 423"/>
                <a:gd name="T65" fmla="*/ 48 h 183"/>
                <a:gd name="T66" fmla="*/ 240 w 423"/>
                <a:gd name="T67" fmla="*/ 49 h 183"/>
                <a:gd name="T68" fmla="*/ 249 w 423"/>
                <a:gd name="T69" fmla="*/ 47 h 183"/>
                <a:gd name="T70" fmla="*/ 216 w 423"/>
                <a:gd name="T71" fmla="*/ 62 h 183"/>
                <a:gd name="T72" fmla="*/ 273 w 423"/>
                <a:gd name="T73" fmla="*/ 60 h 183"/>
                <a:gd name="T74" fmla="*/ 275 w 423"/>
                <a:gd name="T75" fmla="*/ 48 h 183"/>
                <a:gd name="T76" fmla="*/ 271 w 423"/>
                <a:gd name="T77" fmla="*/ 46 h 183"/>
                <a:gd name="T78" fmla="*/ 297 w 423"/>
                <a:gd name="T79" fmla="*/ 40 h 183"/>
                <a:gd name="T80" fmla="*/ 374 w 423"/>
                <a:gd name="T81" fmla="*/ 38 h 183"/>
                <a:gd name="T82" fmla="*/ 409 w 423"/>
                <a:gd name="T83" fmla="*/ 38 h 183"/>
                <a:gd name="T84" fmla="*/ 402 w 423"/>
                <a:gd name="T85" fmla="*/ 47 h 183"/>
                <a:gd name="T86" fmla="*/ 391 w 423"/>
                <a:gd name="T87" fmla="*/ 47 h 183"/>
                <a:gd name="T88" fmla="*/ 347 w 423"/>
                <a:gd name="T89" fmla="*/ 55 h 183"/>
                <a:gd name="T90" fmla="*/ 362 w 423"/>
                <a:gd name="T91" fmla="*/ 50 h 183"/>
                <a:gd name="T92" fmla="*/ 369 w 423"/>
                <a:gd name="T93" fmla="*/ 45 h 183"/>
                <a:gd name="T94" fmla="*/ 332 w 423"/>
                <a:gd name="T95" fmla="*/ 52 h 183"/>
                <a:gd name="T96" fmla="*/ 325 w 423"/>
                <a:gd name="T97" fmla="*/ 52 h 183"/>
                <a:gd name="T98" fmla="*/ 343 w 423"/>
                <a:gd name="T99" fmla="*/ 48 h 183"/>
                <a:gd name="T100" fmla="*/ 365 w 423"/>
                <a:gd name="T101" fmla="*/ 45 h 183"/>
                <a:gd name="T102" fmla="*/ 390 w 423"/>
                <a:gd name="T103" fmla="*/ 38 h 183"/>
                <a:gd name="T104" fmla="*/ 336 w 423"/>
                <a:gd name="T105" fmla="*/ 41 h 183"/>
                <a:gd name="T106" fmla="*/ 314 w 423"/>
                <a:gd name="T107" fmla="*/ 42 h 183"/>
                <a:gd name="T108" fmla="*/ 301 w 423"/>
                <a:gd name="T109" fmla="*/ 46 h 183"/>
                <a:gd name="T110" fmla="*/ 287 w 423"/>
                <a:gd name="T111" fmla="*/ 51 h 183"/>
                <a:gd name="T112" fmla="*/ 291 w 423"/>
                <a:gd name="T113" fmla="*/ 55 h 183"/>
                <a:gd name="T114" fmla="*/ 294 w 423"/>
                <a:gd name="T115" fmla="*/ 60 h 183"/>
                <a:gd name="T116" fmla="*/ 283 w 423"/>
                <a:gd name="T117" fmla="*/ 69 h 183"/>
                <a:gd name="T118" fmla="*/ 339 w 423"/>
                <a:gd name="T119" fmla="*/ 70 h 183"/>
                <a:gd name="T120" fmla="*/ 393 w 423"/>
                <a:gd name="T121" fmla="*/ 8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3" h="183">
                  <a:moveTo>
                    <a:pt x="411" y="85"/>
                  </a:moveTo>
                  <a:cubicBezTo>
                    <a:pt x="412" y="85"/>
                    <a:pt x="412" y="85"/>
                    <a:pt x="412" y="85"/>
                  </a:cubicBezTo>
                  <a:cubicBezTo>
                    <a:pt x="412" y="86"/>
                    <a:pt x="410" y="86"/>
                    <a:pt x="409" y="86"/>
                  </a:cubicBezTo>
                  <a:cubicBezTo>
                    <a:pt x="406" y="84"/>
                    <a:pt x="402" y="84"/>
                    <a:pt x="399" y="83"/>
                  </a:cubicBezTo>
                  <a:cubicBezTo>
                    <a:pt x="397" y="84"/>
                    <a:pt x="397" y="84"/>
                    <a:pt x="397" y="84"/>
                  </a:cubicBezTo>
                  <a:cubicBezTo>
                    <a:pt x="398" y="82"/>
                    <a:pt x="395" y="83"/>
                    <a:pt x="394" y="82"/>
                  </a:cubicBezTo>
                  <a:cubicBezTo>
                    <a:pt x="392" y="82"/>
                    <a:pt x="391" y="82"/>
                    <a:pt x="390" y="81"/>
                  </a:cubicBezTo>
                  <a:cubicBezTo>
                    <a:pt x="384" y="82"/>
                    <a:pt x="380" y="78"/>
                    <a:pt x="374" y="79"/>
                  </a:cubicBezTo>
                  <a:cubicBezTo>
                    <a:pt x="372" y="78"/>
                    <a:pt x="369" y="78"/>
                    <a:pt x="366" y="77"/>
                  </a:cubicBezTo>
                  <a:cubicBezTo>
                    <a:pt x="365" y="79"/>
                    <a:pt x="364" y="77"/>
                    <a:pt x="363" y="77"/>
                  </a:cubicBezTo>
                  <a:cubicBezTo>
                    <a:pt x="363" y="77"/>
                    <a:pt x="363" y="77"/>
                    <a:pt x="363" y="77"/>
                  </a:cubicBezTo>
                  <a:cubicBezTo>
                    <a:pt x="360" y="76"/>
                    <a:pt x="357" y="77"/>
                    <a:pt x="354" y="76"/>
                  </a:cubicBezTo>
                  <a:cubicBezTo>
                    <a:pt x="354" y="76"/>
                    <a:pt x="354" y="76"/>
                    <a:pt x="354" y="77"/>
                  </a:cubicBezTo>
                  <a:cubicBezTo>
                    <a:pt x="353" y="76"/>
                    <a:pt x="353" y="76"/>
                    <a:pt x="353" y="76"/>
                  </a:cubicBezTo>
                  <a:cubicBezTo>
                    <a:pt x="353" y="76"/>
                    <a:pt x="352" y="76"/>
                    <a:pt x="353" y="76"/>
                  </a:cubicBezTo>
                  <a:cubicBezTo>
                    <a:pt x="350" y="75"/>
                    <a:pt x="347" y="77"/>
                    <a:pt x="345" y="76"/>
                  </a:cubicBezTo>
                  <a:cubicBezTo>
                    <a:pt x="344" y="76"/>
                    <a:pt x="344" y="76"/>
                    <a:pt x="344" y="76"/>
                  </a:cubicBezTo>
                  <a:cubicBezTo>
                    <a:pt x="344" y="76"/>
                    <a:pt x="345" y="75"/>
                    <a:pt x="344" y="75"/>
                  </a:cubicBezTo>
                  <a:cubicBezTo>
                    <a:pt x="343" y="76"/>
                    <a:pt x="343" y="77"/>
                    <a:pt x="341" y="78"/>
                  </a:cubicBezTo>
                  <a:cubicBezTo>
                    <a:pt x="343" y="79"/>
                    <a:pt x="343" y="79"/>
                    <a:pt x="343" y="79"/>
                  </a:cubicBezTo>
                  <a:cubicBezTo>
                    <a:pt x="342" y="79"/>
                    <a:pt x="339" y="80"/>
                    <a:pt x="339" y="78"/>
                  </a:cubicBezTo>
                  <a:cubicBezTo>
                    <a:pt x="338" y="79"/>
                    <a:pt x="338" y="79"/>
                    <a:pt x="338" y="79"/>
                  </a:cubicBezTo>
                  <a:cubicBezTo>
                    <a:pt x="335" y="78"/>
                    <a:pt x="334" y="79"/>
                    <a:pt x="331" y="80"/>
                  </a:cubicBezTo>
                  <a:cubicBezTo>
                    <a:pt x="333" y="80"/>
                    <a:pt x="333" y="80"/>
                    <a:pt x="333" y="80"/>
                  </a:cubicBezTo>
                  <a:cubicBezTo>
                    <a:pt x="333" y="80"/>
                    <a:pt x="332" y="81"/>
                    <a:pt x="332" y="81"/>
                  </a:cubicBezTo>
                  <a:cubicBezTo>
                    <a:pt x="333" y="82"/>
                    <a:pt x="333" y="81"/>
                    <a:pt x="334" y="81"/>
                  </a:cubicBezTo>
                  <a:cubicBezTo>
                    <a:pt x="334" y="82"/>
                    <a:pt x="334" y="82"/>
                    <a:pt x="334" y="82"/>
                  </a:cubicBezTo>
                  <a:cubicBezTo>
                    <a:pt x="335" y="82"/>
                    <a:pt x="337" y="83"/>
                    <a:pt x="338" y="82"/>
                  </a:cubicBezTo>
                  <a:cubicBezTo>
                    <a:pt x="338" y="83"/>
                    <a:pt x="338" y="83"/>
                    <a:pt x="338" y="83"/>
                  </a:cubicBezTo>
                  <a:cubicBezTo>
                    <a:pt x="337" y="83"/>
                    <a:pt x="337" y="84"/>
                    <a:pt x="336" y="83"/>
                  </a:cubicBezTo>
                  <a:cubicBezTo>
                    <a:pt x="336" y="84"/>
                    <a:pt x="336" y="86"/>
                    <a:pt x="335" y="86"/>
                  </a:cubicBezTo>
                  <a:cubicBezTo>
                    <a:pt x="335" y="87"/>
                    <a:pt x="336" y="88"/>
                    <a:pt x="337" y="87"/>
                  </a:cubicBezTo>
                  <a:cubicBezTo>
                    <a:pt x="337" y="87"/>
                    <a:pt x="337" y="86"/>
                    <a:pt x="337" y="86"/>
                  </a:cubicBezTo>
                  <a:cubicBezTo>
                    <a:pt x="340" y="85"/>
                    <a:pt x="342" y="86"/>
                    <a:pt x="345" y="85"/>
                  </a:cubicBezTo>
                  <a:cubicBezTo>
                    <a:pt x="346" y="84"/>
                    <a:pt x="345" y="84"/>
                    <a:pt x="345" y="83"/>
                  </a:cubicBezTo>
                  <a:cubicBezTo>
                    <a:pt x="347" y="83"/>
                    <a:pt x="347" y="83"/>
                    <a:pt x="347" y="83"/>
                  </a:cubicBezTo>
                  <a:cubicBezTo>
                    <a:pt x="347" y="84"/>
                    <a:pt x="347" y="84"/>
                    <a:pt x="347" y="84"/>
                  </a:cubicBezTo>
                  <a:cubicBezTo>
                    <a:pt x="350" y="84"/>
                    <a:pt x="350" y="84"/>
                    <a:pt x="350" y="84"/>
                  </a:cubicBezTo>
                  <a:cubicBezTo>
                    <a:pt x="349" y="84"/>
                    <a:pt x="348" y="85"/>
                    <a:pt x="347" y="84"/>
                  </a:cubicBezTo>
                  <a:cubicBezTo>
                    <a:pt x="347" y="84"/>
                    <a:pt x="346" y="84"/>
                    <a:pt x="346" y="84"/>
                  </a:cubicBezTo>
                  <a:cubicBezTo>
                    <a:pt x="345" y="84"/>
                    <a:pt x="346" y="85"/>
                    <a:pt x="346" y="86"/>
                  </a:cubicBezTo>
                  <a:cubicBezTo>
                    <a:pt x="345" y="84"/>
                    <a:pt x="340" y="86"/>
                    <a:pt x="338" y="87"/>
                  </a:cubicBezTo>
                  <a:cubicBezTo>
                    <a:pt x="337" y="87"/>
                    <a:pt x="337" y="87"/>
                    <a:pt x="337" y="87"/>
                  </a:cubicBezTo>
                  <a:cubicBezTo>
                    <a:pt x="339" y="88"/>
                    <a:pt x="342" y="87"/>
                    <a:pt x="344" y="87"/>
                  </a:cubicBezTo>
                  <a:cubicBezTo>
                    <a:pt x="346" y="89"/>
                    <a:pt x="350" y="84"/>
                    <a:pt x="350" y="87"/>
                  </a:cubicBezTo>
                  <a:cubicBezTo>
                    <a:pt x="351" y="88"/>
                    <a:pt x="352" y="88"/>
                    <a:pt x="353" y="88"/>
                  </a:cubicBezTo>
                  <a:cubicBezTo>
                    <a:pt x="353" y="87"/>
                    <a:pt x="354" y="86"/>
                    <a:pt x="355" y="86"/>
                  </a:cubicBezTo>
                  <a:cubicBezTo>
                    <a:pt x="356" y="87"/>
                    <a:pt x="356" y="87"/>
                    <a:pt x="356" y="87"/>
                  </a:cubicBezTo>
                  <a:cubicBezTo>
                    <a:pt x="357" y="86"/>
                    <a:pt x="357" y="86"/>
                    <a:pt x="357" y="86"/>
                  </a:cubicBezTo>
                  <a:cubicBezTo>
                    <a:pt x="357" y="86"/>
                    <a:pt x="357" y="86"/>
                    <a:pt x="357" y="87"/>
                  </a:cubicBezTo>
                  <a:cubicBezTo>
                    <a:pt x="357" y="87"/>
                    <a:pt x="358" y="87"/>
                    <a:pt x="359" y="87"/>
                  </a:cubicBezTo>
                  <a:cubicBezTo>
                    <a:pt x="359" y="88"/>
                    <a:pt x="359" y="88"/>
                    <a:pt x="359" y="88"/>
                  </a:cubicBezTo>
                  <a:cubicBezTo>
                    <a:pt x="358" y="88"/>
                    <a:pt x="358" y="88"/>
                    <a:pt x="358" y="88"/>
                  </a:cubicBezTo>
                  <a:cubicBezTo>
                    <a:pt x="360" y="89"/>
                    <a:pt x="363" y="87"/>
                    <a:pt x="365" y="87"/>
                  </a:cubicBezTo>
                  <a:cubicBezTo>
                    <a:pt x="364" y="86"/>
                    <a:pt x="363" y="87"/>
                    <a:pt x="363" y="86"/>
                  </a:cubicBezTo>
                  <a:cubicBezTo>
                    <a:pt x="363" y="85"/>
                    <a:pt x="364" y="87"/>
                    <a:pt x="365" y="86"/>
                  </a:cubicBezTo>
                  <a:cubicBezTo>
                    <a:pt x="366" y="86"/>
                    <a:pt x="366" y="86"/>
                    <a:pt x="366" y="86"/>
                  </a:cubicBezTo>
                  <a:cubicBezTo>
                    <a:pt x="364" y="85"/>
                    <a:pt x="364" y="85"/>
                    <a:pt x="364" y="85"/>
                  </a:cubicBezTo>
                  <a:cubicBezTo>
                    <a:pt x="364" y="84"/>
                    <a:pt x="367" y="86"/>
                    <a:pt x="367" y="84"/>
                  </a:cubicBezTo>
                  <a:cubicBezTo>
                    <a:pt x="367" y="84"/>
                    <a:pt x="367" y="84"/>
                    <a:pt x="367" y="84"/>
                  </a:cubicBezTo>
                  <a:cubicBezTo>
                    <a:pt x="367" y="85"/>
                    <a:pt x="367" y="85"/>
                    <a:pt x="367" y="85"/>
                  </a:cubicBezTo>
                  <a:cubicBezTo>
                    <a:pt x="368" y="87"/>
                    <a:pt x="370" y="86"/>
                    <a:pt x="371" y="85"/>
                  </a:cubicBezTo>
                  <a:cubicBezTo>
                    <a:pt x="378" y="85"/>
                    <a:pt x="378" y="85"/>
                    <a:pt x="378" y="85"/>
                  </a:cubicBezTo>
                  <a:cubicBezTo>
                    <a:pt x="378" y="86"/>
                    <a:pt x="378" y="86"/>
                    <a:pt x="378" y="86"/>
                  </a:cubicBezTo>
                  <a:cubicBezTo>
                    <a:pt x="380" y="85"/>
                    <a:pt x="383" y="85"/>
                    <a:pt x="385" y="86"/>
                  </a:cubicBezTo>
                  <a:cubicBezTo>
                    <a:pt x="385" y="86"/>
                    <a:pt x="384" y="86"/>
                    <a:pt x="384" y="86"/>
                  </a:cubicBezTo>
                  <a:cubicBezTo>
                    <a:pt x="383" y="85"/>
                    <a:pt x="383" y="85"/>
                    <a:pt x="383" y="85"/>
                  </a:cubicBezTo>
                  <a:cubicBezTo>
                    <a:pt x="382" y="85"/>
                    <a:pt x="380" y="88"/>
                    <a:pt x="379" y="86"/>
                  </a:cubicBezTo>
                  <a:cubicBezTo>
                    <a:pt x="378" y="88"/>
                    <a:pt x="377" y="87"/>
                    <a:pt x="377" y="87"/>
                  </a:cubicBezTo>
                  <a:cubicBezTo>
                    <a:pt x="376" y="88"/>
                    <a:pt x="374" y="86"/>
                    <a:pt x="373" y="88"/>
                  </a:cubicBezTo>
                  <a:cubicBezTo>
                    <a:pt x="375" y="88"/>
                    <a:pt x="376" y="88"/>
                    <a:pt x="378" y="88"/>
                  </a:cubicBezTo>
                  <a:cubicBezTo>
                    <a:pt x="377" y="90"/>
                    <a:pt x="376" y="87"/>
                    <a:pt x="376" y="89"/>
                  </a:cubicBezTo>
                  <a:cubicBezTo>
                    <a:pt x="382" y="90"/>
                    <a:pt x="382" y="90"/>
                    <a:pt x="382" y="90"/>
                  </a:cubicBezTo>
                  <a:cubicBezTo>
                    <a:pt x="382" y="90"/>
                    <a:pt x="381" y="91"/>
                    <a:pt x="381" y="91"/>
                  </a:cubicBezTo>
                  <a:cubicBezTo>
                    <a:pt x="379" y="91"/>
                    <a:pt x="377" y="92"/>
                    <a:pt x="376" y="93"/>
                  </a:cubicBezTo>
                  <a:cubicBezTo>
                    <a:pt x="375" y="93"/>
                    <a:pt x="374" y="95"/>
                    <a:pt x="373" y="95"/>
                  </a:cubicBezTo>
                  <a:cubicBezTo>
                    <a:pt x="359" y="99"/>
                    <a:pt x="344" y="104"/>
                    <a:pt x="331" y="109"/>
                  </a:cubicBezTo>
                  <a:cubicBezTo>
                    <a:pt x="331" y="109"/>
                    <a:pt x="331" y="109"/>
                    <a:pt x="331" y="109"/>
                  </a:cubicBezTo>
                  <a:cubicBezTo>
                    <a:pt x="329" y="110"/>
                    <a:pt x="326" y="109"/>
                    <a:pt x="324" y="111"/>
                  </a:cubicBezTo>
                  <a:cubicBezTo>
                    <a:pt x="325" y="112"/>
                    <a:pt x="325" y="112"/>
                    <a:pt x="325" y="112"/>
                  </a:cubicBezTo>
                  <a:cubicBezTo>
                    <a:pt x="323" y="112"/>
                    <a:pt x="323" y="112"/>
                    <a:pt x="323" y="112"/>
                  </a:cubicBezTo>
                  <a:cubicBezTo>
                    <a:pt x="323" y="111"/>
                    <a:pt x="323" y="111"/>
                    <a:pt x="323" y="111"/>
                  </a:cubicBezTo>
                  <a:cubicBezTo>
                    <a:pt x="322" y="111"/>
                    <a:pt x="321" y="112"/>
                    <a:pt x="321" y="112"/>
                  </a:cubicBezTo>
                  <a:cubicBezTo>
                    <a:pt x="321" y="113"/>
                    <a:pt x="321" y="113"/>
                    <a:pt x="321" y="113"/>
                  </a:cubicBezTo>
                  <a:cubicBezTo>
                    <a:pt x="320" y="112"/>
                    <a:pt x="317" y="113"/>
                    <a:pt x="316" y="114"/>
                  </a:cubicBezTo>
                  <a:cubicBezTo>
                    <a:pt x="317" y="114"/>
                    <a:pt x="317" y="114"/>
                    <a:pt x="317" y="114"/>
                  </a:cubicBezTo>
                  <a:cubicBezTo>
                    <a:pt x="316" y="115"/>
                    <a:pt x="314" y="114"/>
                    <a:pt x="313" y="116"/>
                  </a:cubicBezTo>
                  <a:cubicBezTo>
                    <a:pt x="319" y="116"/>
                    <a:pt x="319" y="116"/>
                    <a:pt x="319" y="116"/>
                  </a:cubicBezTo>
                  <a:cubicBezTo>
                    <a:pt x="317" y="117"/>
                    <a:pt x="313" y="116"/>
                    <a:pt x="311" y="118"/>
                  </a:cubicBezTo>
                  <a:cubicBezTo>
                    <a:pt x="310" y="117"/>
                    <a:pt x="309" y="118"/>
                    <a:pt x="308" y="117"/>
                  </a:cubicBezTo>
                  <a:cubicBezTo>
                    <a:pt x="308" y="117"/>
                    <a:pt x="308" y="118"/>
                    <a:pt x="308" y="118"/>
                  </a:cubicBezTo>
                  <a:cubicBezTo>
                    <a:pt x="308" y="118"/>
                    <a:pt x="309" y="119"/>
                    <a:pt x="309" y="119"/>
                  </a:cubicBezTo>
                  <a:cubicBezTo>
                    <a:pt x="308" y="120"/>
                    <a:pt x="307" y="119"/>
                    <a:pt x="305" y="119"/>
                  </a:cubicBezTo>
                  <a:cubicBezTo>
                    <a:pt x="305" y="119"/>
                    <a:pt x="305" y="119"/>
                    <a:pt x="305" y="120"/>
                  </a:cubicBezTo>
                  <a:cubicBezTo>
                    <a:pt x="305" y="120"/>
                    <a:pt x="307" y="119"/>
                    <a:pt x="306" y="121"/>
                  </a:cubicBezTo>
                  <a:cubicBezTo>
                    <a:pt x="310" y="122"/>
                    <a:pt x="313" y="120"/>
                    <a:pt x="317" y="119"/>
                  </a:cubicBezTo>
                  <a:cubicBezTo>
                    <a:pt x="316" y="119"/>
                    <a:pt x="316" y="119"/>
                    <a:pt x="316" y="119"/>
                  </a:cubicBezTo>
                  <a:cubicBezTo>
                    <a:pt x="317" y="118"/>
                    <a:pt x="317" y="118"/>
                    <a:pt x="317" y="118"/>
                  </a:cubicBezTo>
                  <a:cubicBezTo>
                    <a:pt x="317" y="119"/>
                    <a:pt x="317" y="119"/>
                    <a:pt x="318" y="119"/>
                  </a:cubicBezTo>
                  <a:cubicBezTo>
                    <a:pt x="318" y="118"/>
                    <a:pt x="319" y="118"/>
                    <a:pt x="319" y="11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18" y="119"/>
                    <a:pt x="318" y="121"/>
                    <a:pt x="316" y="121"/>
                  </a:cubicBezTo>
                  <a:cubicBezTo>
                    <a:pt x="316" y="122"/>
                    <a:pt x="316" y="121"/>
                    <a:pt x="316" y="121"/>
                  </a:cubicBezTo>
                  <a:cubicBezTo>
                    <a:pt x="317" y="122"/>
                    <a:pt x="316" y="123"/>
                    <a:pt x="315" y="123"/>
                  </a:cubicBezTo>
                  <a:cubicBezTo>
                    <a:pt x="316" y="121"/>
                    <a:pt x="316" y="121"/>
                    <a:pt x="316" y="121"/>
                  </a:cubicBezTo>
                  <a:cubicBezTo>
                    <a:pt x="315" y="121"/>
                    <a:pt x="315" y="121"/>
                    <a:pt x="315" y="121"/>
                  </a:cubicBezTo>
                  <a:cubicBezTo>
                    <a:pt x="310" y="122"/>
                    <a:pt x="305" y="122"/>
                    <a:pt x="301" y="124"/>
                  </a:cubicBezTo>
                  <a:cubicBezTo>
                    <a:pt x="305" y="126"/>
                    <a:pt x="305" y="126"/>
                    <a:pt x="305" y="126"/>
                  </a:cubicBezTo>
                  <a:cubicBezTo>
                    <a:pt x="303" y="126"/>
                    <a:pt x="303" y="126"/>
                    <a:pt x="303" y="126"/>
                  </a:cubicBezTo>
                  <a:cubicBezTo>
                    <a:pt x="303" y="126"/>
                    <a:pt x="303" y="126"/>
                    <a:pt x="303" y="126"/>
                  </a:cubicBezTo>
                  <a:cubicBezTo>
                    <a:pt x="300" y="125"/>
                    <a:pt x="298" y="127"/>
                    <a:pt x="296" y="128"/>
                  </a:cubicBezTo>
                  <a:cubicBezTo>
                    <a:pt x="297" y="128"/>
                    <a:pt x="300" y="129"/>
                    <a:pt x="300" y="128"/>
                  </a:cubicBezTo>
                  <a:cubicBezTo>
                    <a:pt x="301" y="126"/>
                    <a:pt x="300" y="129"/>
                    <a:pt x="302" y="128"/>
                  </a:cubicBezTo>
                  <a:cubicBezTo>
                    <a:pt x="304" y="128"/>
                    <a:pt x="304" y="128"/>
                    <a:pt x="304" y="128"/>
                  </a:cubicBezTo>
                  <a:cubicBezTo>
                    <a:pt x="305" y="129"/>
                    <a:pt x="307" y="128"/>
                    <a:pt x="308" y="129"/>
                  </a:cubicBezTo>
                  <a:cubicBezTo>
                    <a:pt x="309" y="127"/>
                    <a:pt x="311" y="129"/>
                    <a:pt x="312" y="128"/>
                  </a:cubicBezTo>
                  <a:cubicBezTo>
                    <a:pt x="312" y="128"/>
                    <a:pt x="311" y="128"/>
                    <a:pt x="312" y="129"/>
                  </a:cubicBezTo>
                  <a:cubicBezTo>
                    <a:pt x="312" y="129"/>
                    <a:pt x="312" y="129"/>
                    <a:pt x="312" y="129"/>
                  </a:cubicBezTo>
                  <a:cubicBezTo>
                    <a:pt x="310" y="130"/>
                    <a:pt x="305" y="128"/>
                    <a:pt x="304" y="131"/>
                  </a:cubicBezTo>
                  <a:cubicBezTo>
                    <a:pt x="303" y="132"/>
                    <a:pt x="302" y="133"/>
                    <a:pt x="301" y="133"/>
                  </a:cubicBezTo>
                  <a:cubicBezTo>
                    <a:pt x="301" y="133"/>
                    <a:pt x="301" y="134"/>
                    <a:pt x="300" y="134"/>
                  </a:cubicBezTo>
                  <a:cubicBezTo>
                    <a:pt x="300" y="134"/>
                    <a:pt x="300" y="134"/>
                    <a:pt x="300" y="134"/>
                  </a:cubicBezTo>
                  <a:cubicBezTo>
                    <a:pt x="299" y="137"/>
                    <a:pt x="297" y="136"/>
                    <a:pt x="295" y="137"/>
                  </a:cubicBezTo>
                  <a:cubicBezTo>
                    <a:pt x="294" y="136"/>
                    <a:pt x="293" y="138"/>
                    <a:pt x="291" y="136"/>
                  </a:cubicBezTo>
                  <a:cubicBezTo>
                    <a:pt x="290" y="139"/>
                    <a:pt x="287" y="137"/>
                    <a:pt x="285" y="137"/>
                  </a:cubicBezTo>
                  <a:cubicBezTo>
                    <a:pt x="284" y="137"/>
                    <a:pt x="283" y="136"/>
                    <a:pt x="282" y="137"/>
                  </a:cubicBezTo>
                  <a:cubicBezTo>
                    <a:pt x="283" y="136"/>
                    <a:pt x="283" y="136"/>
                    <a:pt x="283" y="136"/>
                  </a:cubicBezTo>
                  <a:cubicBezTo>
                    <a:pt x="280" y="135"/>
                    <a:pt x="278" y="136"/>
                    <a:pt x="275" y="137"/>
                  </a:cubicBezTo>
                  <a:cubicBezTo>
                    <a:pt x="275" y="137"/>
                    <a:pt x="275" y="137"/>
                    <a:pt x="275" y="137"/>
                  </a:cubicBezTo>
                  <a:cubicBezTo>
                    <a:pt x="274" y="138"/>
                    <a:pt x="273" y="136"/>
                    <a:pt x="273" y="138"/>
                  </a:cubicBezTo>
                  <a:cubicBezTo>
                    <a:pt x="274" y="140"/>
                    <a:pt x="276" y="138"/>
                    <a:pt x="278" y="138"/>
                  </a:cubicBezTo>
                  <a:cubicBezTo>
                    <a:pt x="278" y="138"/>
                    <a:pt x="278" y="138"/>
                    <a:pt x="278" y="138"/>
                  </a:cubicBezTo>
                  <a:cubicBezTo>
                    <a:pt x="279" y="138"/>
                    <a:pt x="279" y="138"/>
                    <a:pt x="279" y="138"/>
                  </a:cubicBezTo>
                  <a:cubicBezTo>
                    <a:pt x="279" y="138"/>
                    <a:pt x="282" y="139"/>
                    <a:pt x="280" y="140"/>
                  </a:cubicBezTo>
                  <a:cubicBezTo>
                    <a:pt x="281" y="141"/>
                    <a:pt x="282" y="139"/>
                    <a:pt x="282" y="138"/>
                  </a:cubicBezTo>
                  <a:cubicBezTo>
                    <a:pt x="283" y="138"/>
                    <a:pt x="283" y="138"/>
                    <a:pt x="283" y="138"/>
                  </a:cubicBezTo>
                  <a:cubicBezTo>
                    <a:pt x="282" y="139"/>
                    <a:pt x="282" y="139"/>
                    <a:pt x="282" y="139"/>
                  </a:cubicBezTo>
                  <a:cubicBezTo>
                    <a:pt x="284" y="140"/>
                    <a:pt x="284" y="140"/>
                    <a:pt x="284" y="140"/>
                  </a:cubicBezTo>
                  <a:cubicBezTo>
                    <a:pt x="284" y="140"/>
                    <a:pt x="284" y="139"/>
                    <a:pt x="284" y="139"/>
                  </a:cubicBezTo>
                  <a:cubicBezTo>
                    <a:pt x="284" y="139"/>
                    <a:pt x="284" y="139"/>
                    <a:pt x="284" y="139"/>
                  </a:cubicBezTo>
                  <a:cubicBezTo>
                    <a:pt x="284" y="140"/>
                    <a:pt x="284" y="140"/>
                    <a:pt x="284" y="140"/>
                  </a:cubicBezTo>
                  <a:cubicBezTo>
                    <a:pt x="282" y="140"/>
                    <a:pt x="282" y="140"/>
                    <a:pt x="282" y="140"/>
                  </a:cubicBezTo>
                  <a:cubicBezTo>
                    <a:pt x="283" y="140"/>
                    <a:pt x="282" y="139"/>
                    <a:pt x="282" y="139"/>
                  </a:cubicBezTo>
                  <a:cubicBezTo>
                    <a:pt x="282" y="141"/>
                    <a:pt x="282" y="142"/>
                    <a:pt x="281" y="143"/>
                  </a:cubicBezTo>
                  <a:cubicBezTo>
                    <a:pt x="282" y="144"/>
                    <a:pt x="282" y="144"/>
                    <a:pt x="282" y="144"/>
                  </a:cubicBezTo>
                  <a:cubicBezTo>
                    <a:pt x="282" y="143"/>
                    <a:pt x="282" y="143"/>
                    <a:pt x="282" y="143"/>
                  </a:cubicBezTo>
                  <a:cubicBezTo>
                    <a:pt x="283" y="143"/>
                    <a:pt x="286" y="144"/>
                    <a:pt x="287" y="143"/>
                  </a:cubicBezTo>
                  <a:cubicBezTo>
                    <a:pt x="287" y="143"/>
                    <a:pt x="287" y="143"/>
                    <a:pt x="287" y="143"/>
                  </a:cubicBezTo>
                  <a:cubicBezTo>
                    <a:pt x="288" y="144"/>
                    <a:pt x="288" y="144"/>
                    <a:pt x="288" y="144"/>
                  </a:cubicBezTo>
                  <a:cubicBezTo>
                    <a:pt x="288" y="145"/>
                    <a:pt x="284" y="144"/>
                    <a:pt x="286" y="146"/>
                  </a:cubicBezTo>
                  <a:cubicBezTo>
                    <a:pt x="287" y="146"/>
                    <a:pt x="287" y="146"/>
                    <a:pt x="287" y="146"/>
                  </a:cubicBezTo>
                  <a:cubicBezTo>
                    <a:pt x="287" y="146"/>
                    <a:pt x="286" y="146"/>
                    <a:pt x="285" y="146"/>
                  </a:cubicBezTo>
                  <a:cubicBezTo>
                    <a:pt x="285" y="146"/>
                    <a:pt x="285" y="146"/>
                    <a:pt x="284" y="146"/>
                  </a:cubicBezTo>
                  <a:cubicBezTo>
                    <a:pt x="284" y="147"/>
                    <a:pt x="282" y="147"/>
                    <a:pt x="281" y="147"/>
                  </a:cubicBezTo>
                  <a:cubicBezTo>
                    <a:pt x="282" y="146"/>
                    <a:pt x="285" y="147"/>
                    <a:pt x="285" y="144"/>
                  </a:cubicBezTo>
                  <a:cubicBezTo>
                    <a:pt x="284" y="143"/>
                    <a:pt x="284" y="143"/>
                    <a:pt x="284" y="143"/>
                  </a:cubicBezTo>
                  <a:cubicBezTo>
                    <a:pt x="284" y="145"/>
                    <a:pt x="281" y="143"/>
                    <a:pt x="279" y="144"/>
                  </a:cubicBezTo>
                  <a:cubicBezTo>
                    <a:pt x="280" y="145"/>
                    <a:pt x="280" y="145"/>
                    <a:pt x="280" y="145"/>
                  </a:cubicBezTo>
                  <a:cubicBezTo>
                    <a:pt x="279" y="144"/>
                    <a:pt x="277" y="147"/>
                    <a:pt x="276" y="146"/>
                  </a:cubicBezTo>
                  <a:cubicBezTo>
                    <a:pt x="277" y="147"/>
                    <a:pt x="278" y="147"/>
                    <a:pt x="279" y="147"/>
                  </a:cubicBezTo>
                  <a:cubicBezTo>
                    <a:pt x="275" y="148"/>
                    <a:pt x="275" y="148"/>
                    <a:pt x="275" y="148"/>
                  </a:cubicBezTo>
                  <a:cubicBezTo>
                    <a:pt x="275" y="148"/>
                    <a:pt x="275" y="147"/>
                    <a:pt x="275" y="148"/>
                  </a:cubicBezTo>
                  <a:cubicBezTo>
                    <a:pt x="274" y="148"/>
                    <a:pt x="274" y="148"/>
                    <a:pt x="274" y="149"/>
                  </a:cubicBezTo>
                  <a:cubicBezTo>
                    <a:pt x="275" y="150"/>
                    <a:pt x="276" y="149"/>
                    <a:pt x="277" y="149"/>
                  </a:cubicBezTo>
                  <a:cubicBezTo>
                    <a:pt x="274" y="150"/>
                    <a:pt x="274" y="150"/>
                    <a:pt x="274" y="150"/>
                  </a:cubicBezTo>
                  <a:cubicBezTo>
                    <a:pt x="274" y="151"/>
                    <a:pt x="275" y="150"/>
                    <a:pt x="276" y="150"/>
                  </a:cubicBezTo>
                  <a:cubicBezTo>
                    <a:pt x="274" y="151"/>
                    <a:pt x="271" y="151"/>
                    <a:pt x="268" y="151"/>
                  </a:cubicBezTo>
                  <a:cubicBezTo>
                    <a:pt x="267" y="152"/>
                    <a:pt x="264" y="149"/>
                    <a:pt x="263" y="152"/>
                  </a:cubicBezTo>
                  <a:cubicBezTo>
                    <a:pt x="266" y="153"/>
                    <a:pt x="266" y="153"/>
                    <a:pt x="266" y="153"/>
                  </a:cubicBezTo>
                  <a:cubicBezTo>
                    <a:pt x="265" y="153"/>
                    <a:pt x="264" y="153"/>
                    <a:pt x="264" y="152"/>
                  </a:cubicBezTo>
                  <a:cubicBezTo>
                    <a:pt x="263" y="152"/>
                    <a:pt x="262" y="153"/>
                    <a:pt x="261" y="153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61" y="155"/>
                    <a:pt x="261" y="153"/>
                    <a:pt x="259" y="154"/>
                  </a:cubicBezTo>
                  <a:cubicBezTo>
                    <a:pt x="259" y="154"/>
                    <a:pt x="259" y="154"/>
                    <a:pt x="259" y="154"/>
                  </a:cubicBezTo>
                  <a:cubicBezTo>
                    <a:pt x="259" y="154"/>
                    <a:pt x="257" y="154"/>
                    <a:pt x="256" y="154"/>
                  </a:cubicBezTo>
                  <a:cubicBezTo>
                    <a:pt x="257" y="155"/>
                    <a:pt x="257" y="155"/>
                    <a:pt x="257" y="155"/>
                  </a:cubicBezTo>
                  <a:cubicBezTo>
                    <a:pt x="255" y="156"/>
                    <a:pt x="252" y="156"/>
                    <a:pt x="251" y="156"/>
                  </a:cubicBezTo>
                  <a:cubicBezTo>
                    <a:pt x="250" y="158"/>
                    <a:pt x="251" y="157"/>
                    <a:pt x="252" y="158"/>
                  </a:cubicBezTo>
                  <a:cubicBezTo>
                    <a:pt x="253" y="157"/>
                    <a:pt x="253" y="157"/>
                    <a:pt x="253" y="157"/>
                  </a:cubicBezTo>
                  <a:cubicBezTo>
                    <a:pt x="254" y="158"/>
                    <a:pt x="256" y="156"/>
                    <a:pt x="258" y="158"/>
                  </a:cubicBezTo>
                  <a:cubicBezTo>
                    <a:pt x="257" y="159"/>
                    <a:pt x="253" y="158"/>
                    <a:pt x="254" y="160"/>
                  </a:cubicBezTo>
                  <a:cubicBezTo>
                    <a:pt x="250" y="161"/>
                    <a:pt x="250" y="161"/>
                    <a:pt x="250" y="161"/>
                  </a:cubicBezTo>
                  <a:cubicBezTo>
                    <a:pt x="252" y="160"/>
                    <a:pt x="252" y="163"/>
                    <a:pt x="255" y="162"/>
                  </a:cubicBezTo>
                  <a:cubicBezTo>
                    <a:pt x="256" y="163"/>
                    <a:pt x="256" y="163"/>
                    <a:pt x="256" y="163"/>
                  </a:cubicBezTo>
                  <a:cubicBezTo>
                    <a:pt x="254" y="162"/>
                    <a:pt x="252" y="163"/>
                    <a:pt x="250" y="163"/>
                  </a:cubicBezTo>
                  <a:cubicBezTo>
                    <a:pt x="252" y="165"/>
                    <a:pt x="252" y="165"/>
                    <a:pt x="252" y="165"/>
                  </a:cubicBezTo>
                  <a:cubicBezTo>
                    <a:pt x="252" y="164"/>
                    <a:pt x="252" y="165"/>
                    <a:pt x="251" y="165"/>
                  </a:cubicBezTo>
                  <a:cubicBezTo>
                    <a:pt x="251" y="165"/>
                    <a:pt x="251" y="165"/>
                    <a:pt x="251" y="165"/>
                  </a:cubicBezTo>
                  <a:cubicBezTo>
                    <a:pt x="253" y="167"/>
                    <a:pt x="253" y="167"/>
                    <a:pt x="253" y="167"/>
                  </a:cubicBezTo>
                  <a:cubicBezTo>
                    <a:pt x="259" y="167"/>
                    <a:pt x="264" y="167"/>
                    <a:pt x="270" y="167"/>
                  </a:cubicBezTo>
                  <a:cubicBezTo>
                    <a:pt x="263" y="168"/>
                    <a:pt x="256" y="166"/>
                    <a:pt x="250" y="169"/>
                  </a:cubicBezTo>
                  <a:cubicBezTo>
                    <a:pt x="251" y="170"/>
                    <a:pt x="251" y="170"/>
                    <a:pt x="251" y="170"/>
                  </a:cubicBezTo>
                  <a:cubicBezTo>
                    <a:pt x="251" y="170"/>
                    <a:pt x="250" y="170"/>
                    <a:pt x="250" y="170"/>
                  </a:cubicBezTo>
                  <a:cubicBezTo>
                    <a:pt x="250" y="171"/>
                    <a:pt x="250" y="171"/>
                    <a:pt x="250" y="171"/>
                  </a:cubicBezTo>
                  <a:cubicBezTo>
                    <a:pt x="248" y="171"/>
                    <a:pt x="248" y="172"/>
                    <a:pt x="244" y="171"/>
                  </a:cubicBezTo>
                  <a:cubicBezTo>
                    <a:pt x="242" y="171"/>
                    <a:pt x="241" y="173"/>
                    <a:pt x="241" y="174"/>
                  </a:cubicBezTo>
                  <a:cubicBezTo>
                    <a:pt x="239" y="172"/>
                    <a:pt x="235" y="173"/>
                    <a:pt x="232" y="173"/>
                  </a:cubicBezTo>
                  <a:cubicBezTo>
                    <a:pt x="231" y="173"/>
                    <a:pt x="231" y="173"/>
                    <a:pt x="231" y="173"/>
                  </a:cubicBezTo>
                  <a:cubicBezTo>
                    <a:pt x="229" y="173"/>
                    <a:pt x="231" y="174"/>
                    <a:pt x="231" y="173"/>
                  </a:cubicBezTo>
                  <a:cubicBezTo>
                    <a:pt x="229" y="172"/>
                    <a:pt x="226" y="173"/>
                    <a:pt x="224" y="172"/>
                  </a:cubicBezTo>
                  <a:cubicBezTo>
                    <a:pt x="223" y="175"/>
                    <a:pt x="219" y="173"/>
                    <a:pt x="219" y="175"/>
                  </a:cubicBezTo>
                  <a:cubicBezTo>
                    <a:pt x="216" y="174"/>
                    <a:pt x="216" y="174"/>
                    <a:pt x="216" y="174"/>
                  </a:cubicBezTo>
                  <a:cubicBezTo>
                    <a:pt x="217" y="174"/>
                    <a:pt x="218" y="175"/>
                    <a:pt x="218" y="174"/>
                  </a:cubicBezTo>
                  <a:cubicBezTo>
                    <a:pt x="218" y="172"/>
                    <a:pt x="216" y="173"/>
                    <a:pt x="216" y="172"/>
                  </a:cubicBezTo>
                  <a:cubicBezTo>
                    <a:pt x="214" y="174"/>
                    <a:pt x="214" y="174"/>
                    <a:pt x="214" y="174"/>
                  </a:cubicBezTo>
                  <a:cubicBezTo>
                    <a:pt x="214" y="174"/>
                    <a:pt x="215" y="175"/>
                    <a:pt x="215" y="174"/>
                  </a:cubicBezTo>
                  <a:cubicBezTo>
                    <a:pt x="214" y="175"/>
                    <a:pt x="215" y="176"/>
                    <a:pt x="215" y="177"/>
                  </a:cubicBezTo>
                  <a:cubicBezTo>
                    <a:pt x="214" y="178"/>
                    <a:pt x="212" y="177"/>
                    <a:pt x="212" y="176"/>
                  </a:cubicBezTo>
                  <a:cubicBezTo>
                    <a:pt x="213" y="175"/>
                    <a:pt x="213" y="175"/>
                    <a:pt x="213" y="175"/>
                  </a:cubicBezTo>
                  <a:cubicBezTo>
                    <a:pt x="213" y="174"/>
                    <a:pt x="212" y="174"/>
                    <a:pt x="212" y="174"/>
                  </a:cubicBezTo>
                  <a:cubicBezTo>
                    <a:pt x="211" y="176"/>
                    <a:pt x="212" y="176"/>
                    <a:pt x="211" y="177"/>
                  </a:cubicBezTo>
                  <a:cubicBezTo>
                    <a:pt x="211" y="177"/>
                    <a:pt x="211" y="177"/>
                    <a:pt x="211" y="177"/>
                  </a:cubicBezTo>
                  <a:cubicBezTo>
                    <a:pt x="211" y="176"/>
                    <a:pt x="211" y="176"/>
                    <a:pt x="211" y="176"/>
                  </a:cubicBezTo>
                  <a:cubicBezTo>
                    <a:pt x="210" y="176"/>
                    <a:pt x="210" y="174"/>
                    <a:pt x="209" y="175"/>
                  </a:cubicBezTo>
                  <a:cubicBezTo>
                    <a:pt x="207" y="177"/>
                    <a:pt x="207" y="177"/>
                    <a:pt x="207" y="177"/>
                  </a:cubicBezTo>
                  <a:cubicBezTo>
                    <a:pt x="208" y="177"/>
                    <a:pt x="208" y="177"/>
                    <a:pt x="208" y="177"/>
                  </a:cubicBezTo>
                  <a:cubicBezTo>
                    <a:pt x="207" y="177"/>
                    <a:pt x="206" y="176"/>
                    <a:pt x="205" y="176"/>
                  </a:cubicBezTo>
                  <a:cubicBezTo>
                    <a:pt x="205" y="177"/>
                    <a:pt x="205" y="177"/>
                    <a:pt x="205" y="177"/>
                  </a:cubicBezTo>
                  <a:cubicBezTo>
                    <a:pt x="203" y="177"/>
                    <a:pt x="201" y="176"/>
                    <a:pt x="199" y="178"/>
                  </a:cubicBezTo>
                  <a:cubicBezTo>
                    <a:pt x="200" y="178"/>
                    <a:pt x="200" y="178"/>
                    <a:pt x="200" y="178"/>
                  </a:cubicBezTo>
                  <a:cubicBezTo>
                    <a:pt x="200" y="178"/>
                    <a:pt x="198" y="179"/>
                    <a:pt x="196" y="178"/>
                  </a:cubicBezTo>
                  <a:cubicBezTo>
                    <a:pt x="195" y="179"/>
                    <a:pt x="196" y="180"/>
                    <a:pt x="194" y="179"/>
                  </a:cubicBezTo>
                  <a:cubicBezTo>
                    <a:pt x="195" y="179"/>
                    <a:pt x="195" y="179"/>
                    <a:pt x="195" y="178"/>
                  </a:cubicBezTo>
                  <a:cubicBezTo>
                    <a:pt x="193" y="178"/>
                    <a:pt x="192" y="177"/>
                    <a:pt x="190" y="178"/>
                  </a:cubicBezTo>
                  <a:cubicBezTo>
                    <a:pt x="171" y="176"/>
                    <a:pt x="150" y="176"/>
                    <a:pt x="131" y="175"/>
                  </a:cubicBezTo>
                  <a:cubicBezTo>
                    <a:pt x="130" y="176"/>
                    <a:pt x="130" y="176"/>
                    <a:pt x="130" y="176"/>
                  </a:cubicBezTo>
                  <a:cubicBezTo>
                    <a:pt x="129" y="175"/>
                    <a:pt x="126" y="175"/>
                    <a:pt x="125" y="175"/>
                  </a:cubicBezTo>
                  <a:cubicBezTo>
                    <a:pt x="123" y="176"/>
                    <a:pt x="122" y="176"/>
                    <a:pt x="120" y="177"/>
                  </a:cubicBezTo>
                  <a:cubicBezTo>
                    <a:pt x="120" y="178"/>
                    <a:pt x="118" y="179"/>
                    <a:pt x="117" y="178"/>
                  </a:cubicBezTo>
                  <a:cubicBezTo>
                    <a:pt x="117" y="177"/>
                    <a:pt x="119" y="177"/>
                    <a:pt x="120" y="176"/>
                  </a:cubicBezTo>
                  <a:cubicBezTo>
                    <a:pt x="119" y="176"/>
                    <a:pt x="119" y="175"/>
                    <a:pt x="118" y="175"/>
                  </a:cubicBezTo>
                  <a:cubicBezTo>
                    <a:pt x="117" y="176"/>
                    <a:pt x="117" y="176"/>
                    <a:pt x="117" y="176"/>
                  </a:cubicBezTo>
                  <a:cubicBezTo>
                    <a:pt x="119" y="176"/>
                    <a:pt x="119" y="176"/>
                    <a:pt x="119" y="176"/>
                  </a:cubicBezTo>
                  <a:cubicBezTo>
                    <a:pt x="117" y="177"/>
                    <a:pt x="117" y="177"/>
                    <a:pt x="117" y="177"/>
                  </a:cubicBezTo>
                  <a:cubicBezTo>
                    <a:pt x="117" y="174"/>
                    <a:pt x="114" y="176"/>
                    <a:pt x="113" y="175"/>
                  </a:cubicBezTo>
                  <a:cubicBezTo>
                    <a:pt x="112" y="177"/>
                    <a:pt x="108" y="174"/>
                    <a:pt x="110" y="177"/>
                  </a:cubicBezTo>
                  <a:cubicBezTo>
                    <a:pt x="109" y="177"/>
                    <a:pt x="106" y="174"/>
                    <a:pt x="105" y="177"/>
                  </a:cubicBezTo>
                  <a:cubicBezTo>
                    <a:pt x="103" y="178"/>
                    <a:pt x="100" y="175"/>
                    <a:pt x="97" y="176"/>
                  </a:cubicBezTo>
                  <a:cubicBezTo>
                    <a:pt x="97" y="177"/>
                    <a:pt x="97" y="177"/>
                    <a:pt x="97" y="177"/>
                  </a:cubicBezTo>
                  <a:cubicBezTo>
                    <a:pt x="95" y="176"/>
                    <a:pt x="94" y="177"/>
                    <a:pt x="92" y="177"/>
                  </a:cubicBezTo>
                  <a:cubicBezTo>
                    <a:pt x="91" y="178"/>
                    <a:pt x="91" y="178"/>
                    <a:pt x="91" y="178"/>
                  </a:cubicBezTo>
                  <a:cubicBezTo>
                    <a:pt x="91" y="178"/>
                    <a:pt x="91" y="178"/>
                    <a:pt x="91" y="178"/>
                  </a:cubicBezTo>
                  <a:cubicBezTo>
                    <a:pt x="91" y="177"/>
                    <a:pt x="91" y="177"/>
                    <a:pt x="91" y="177"/>
                  </a:cubicBezTo>
                  <a:cubicBezTo>
                    <a:pt x="91" y="177"/>
                    <a:pt x="90" y="177"/>
                    <a:pt x="90" y="177"/>
                  </a:cubicBezTo>
                  <a:cubicBezTo>
                    <a:pt x="88" y="178"/>
                    <a:pt x="84" y="177"/>
                    <a:pt x="81" y="178"/>
                  </a:cubicBezTo>
                  <a:cubicBezTo>
                    <a:pt x="77" y="180"/>
                    <a:pt x="71" y="178"/>
                    <a:pt x="67" y="180"/>
                  </a:cubicBezTo>
                  <a:cubicBezTo>
                    <a:pt x="61" y="182"/>
                    <a:pt x="55" y="180"/>
                    <a:pt x="50" y="181"/>
                  </a:cubicBezTo>
                  <a:cubicBezTo>
                    <a:pt x="52" y="182"/>
                    <a:pt x="54" y="182"/>
                    <a:pt x="56" y="182"/>
                  </a:cubicBezTo>
                  <a:cubicBezTo>
                    <a:pt x="56" y="183"/>
                    <a:pt x="57" y="182"/>
                    <a:pt x="58" y="182"/>
                  </a:cubicBezTo>
                  <a:cubicBezTo>
                    <a:pt x="53" y="183"/>
                    <a:pt x="47" y="181"/>
                    <a:pt x="42" y="182"/>
                  </a:cubicBezTo>
                  <a:cubicBezTo>
                    <a:pt x="39" y="176"/>
                    <a:pt x="32" y="180"/>
                    <a:pt x="29" y="175"/>
                  </a:cubicBezTo>
                  <a:cubicBezTo>
                    <a:pt x="26" y="172"/>
                    <a:pt x="24" y="168"/>
                    <a:pt x="24" y="163"/>
                  </a:cubicBezTo>
                  <a:cubicBezTo>
                    <a:pt x="24" y="163"/>
                    <a:pt x="24" y="163"/>
                    <a:pt x="24" y="163"/>
                  </a:cubicBezTo>
                  <a:cubicBezTo>
                    <a:pt x="22" y="165"/>
                    <a:pt x="22" y="165"/>
                    <a:pt x="22" y="165"/>
                  </a:cubicBezTo>
                  <a:cubicBezTo>
                    <a:pt x="21" y="164"/>
                    <a:pt x="20" y="162"/>
                    <a:pt x="19" y="162"/>
                  </a:cubicBezTo>
                  <a:cubicBezTo>
                    <a:pt x="20" y="161"/>
                    <a:pt x="20" y="159"/>
                    <a:pt x="20" y="158"/>
                  </a:cubicBezTo>
                  <a:cubicBezTo>
                    <a:pt x="19" y="156"/>
                    <a:pt x="17" y="161"/>
                    <a:pt x="17" y="158"/>
                  </a:cubicBezTo>
                  <a:cubicBezTo>
                    <a:pt x="16" y="157"/>
                    <a:pt x="16" y="157"/>
                    <a:pt x="16" y="157"/>
                  </a:cubicBezTo>
                  <a:cubicBezTo>
                    <a:pt x="17" y="156"/>
                    <a:pt x="15" y="154"/>
                    <a:pt x="16" y="153"/>
                  </a:cubicBezTo>
                  <a:cubicBezTo>
                    <a:pt x="17" y="151"/>
                    <a:pt x="13" y="151"/>
                    <a:pt x="13" y="151"/>
                  </a:cubicBezTo>
                  <a:cubicBezTo>
                    <a:pt x="15" y="151"/>
                    <a:pt x="15" y="149"/>
                    <a:pt x="16" y="148"/>
                  </a:cubicBezTo>
                  <a:cubicBezTo>
                    <a:pt x="13" y="148"/>
                    <a:pt x="13" y="148"/>
                    <a:pt x="13" y="148"/>
                  </a:cubicBezTo>
                  <a:cubicBezTo>
                    <a:pt x="13" y="146"/>
                    <a:pt x="12" y="147"/>
                    <a:pt x="11" y="147"/>
                  </a:cubicBezTo>
                  <a:cubicBezTo>
                    <a:pt x="13" y="144"/>
                    <a:pt x="11" y="142"/>
                    <a:pt x="14" y="140"/>
                  </a:cubicBezTo>
                  <a:cubicBezTo>
                    <a:pt x="13" y="139"/>
                    <a:pt x="13" y="139"/>
                    <a:pt x="13" y="139"/>
                  </a:cubicBezTo>
                  <a:cubicBezTo>
                    <a:pt x="14" y="138"/>
                    <a:pt x="15" y="138"/>
                    <a:pt x="15" y="137"/>
                  </a:cubicBezTo>
                  <a:cubicBezTo>
                    <a:pt x="12" y="137"/>
                    <a:pt x="12" y="137"/>
                    <a:pt x="12" y="137"/>
                  </a:cubicBezTo>
                  <a:cubicBezTo>
                    <a:pt x="10" y="135"/>
                    <a:pt x="18" y="130"/>
                    <a:pt x="12" y="131"/>
                  </a:cubicBezTo>
                  <a:cubicBezTo>
                    <a:pt x="12" y="130"/>
                    <a:pt x="14" y="129"/>
                    <a:pt x="12" y="128"/>
                  </a:cubicBezTo>
                  <a:cubicBezTo>
                    <a:pt x="12" y="128"/>
                    <a:pt x="12" y="129"/>
                    <a:pt x="11" y="129"/>
                  </a:cubicBezTo>
                  <a:cubicBezTo>
                    <a:pt x="12" y="128"/>
                    <a:pt x="12" y="126"/>
                    <a:pt x="13" y="125"/>
                  </a:cubicBezTo>
                  <a:cubicBezTo>
                    <a:pt x="9" y="125"/>
                    <a:pt x="4" y="124"/>
                    <a:pt x="0" y="125"/>
                  </a:cubicBezTo>
                  <a:cubicBezTo>
                    <a:pt x="4" y="124"/>
                    <a:pt x="9" y="124"/>
                    <a:pt x="14" y="125"/>
                  </a:cubicBezTo>
                  <a:cubicBezTo>
                    <a:pt x="14" y="123"/>
                    <a:pt x="14" y="121"/>
                    <a:pt x="16" y="120"/>
                  </a:cubicBezTo>
                  <a:cubicBezTo>
                    <a:pt x="16" y="120"/>
                    <a:pt x="17" y="120"/>
                    <a:pt x="17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7"/>
                    <a:pt x="18" y="116"/>
                    <a:pt x="18" y="114"/>
                  </a:cubicBezTo>
                  <a:cubicBezTo>
                    <a:pt x="18" y="113"/>
                    <a:pt x="18" y="113"/>
                    <a:pt x="18" y="113"/>
                  </a:cubicBezTo>
                  <a:cubicBezTo>
                    <a:pt x="18" y="110"/>
                    <a:pt x="20" y="107"/>
                    <a:pt x="21" y="104"/>
                  </a:cubicBezTo>
                  <a:cubicBezTo>
                    <a:pt x="19" y="102"/>
                    <a:pt x="23" y="100"/>
                    <a:pt x="21" y="97"/>
                  </a:cubicBezTo>
                  <a:cubicBezTo>
                    <a:pt x="18" y="97"/>
                    <a:pt x="15" y="96"/>
                    <a:pt x="12" y="97"/>
                  </a:cubicBezTo>
                  <a:cubicBezTo>
                    <a:pt x="14" y="96"/>
                    <a:pt x="18" y="96"/>
                    <a:pt x="21" y="96"/>
                  </a:cubicBezTo>
                  <a:cubicBezTo>
                    <a:pt x="24" y="88"/>
                    <a:pt x="20" y="79"/>
                    <a:pt x="27" y="72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9" y="66"/>
                    <a:pt x="35" y="60"/>
                    <a:pt x="39" y="53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0"/>
                    <a:pt x="39" y="50"/>
                    <a:pt x="38" y="49"/>
                  </a:cubicBezTo>
                  <a:cubicBezTo>
                    <a:pt x="34" y="54"/>
                    <a:pt x="31" y="60"/>
                    <a:pt x="29" y="66"/>
                  </a:cubicBezTo>
                  <a:cubicBezTo>
                    <a:pt x="30" y="61"/>
                    <a:pt x="33" y="56"/>
                    <a:pt x="36" y="50"/>
                  </a:cubicBezTo>
                  <a:cubicBezTo>
                    <a:pt x="43" y="41"/>
                    <a:pt x="54" y="33"/>
                    <a:pt x="60" y="22"/>
                  </a:cubicBezTo>
                  <a:cubicBezTo>
                    <a:pt x="62" y="20"/>
                    <a:pt x="66" y="18"/>
                    <a:pt x="64" y="14"/>
                  </a:cubicBezTo>
                  <a:cubicBezTo>
                    <a:pt x="68" y="12"/>
                    <a:pt x="69" y="8"/>
                    <a:pt x="71" y="5"/>
                  </a:cubicBezTo>
                  <a:cubicBezTo>
                    <a:pt x="75" y="4"/>
                    <a:pt x="77" y="0"/>
                    <a:pt x="81" y="2"/>
                  </a:cubicBezTo>
                  <a:cubicBezTo>
                    <a:pt x="82" y="1"/>
                    <a:pt x="83" y="4"/>
                    <a:pt x="84" y="4"/>
                  </a:cubicBezTo>
                  <a:cubicBezTo>
                    <a:pt x="87" y="2"/>
                    <a:pt x="89" y="5"/>
                    <a:pt x="91" y="4"/>
                  </a:cubicBezTo>
                  <a:cubicBezTo>
                    <a:pt x="95" y="7"/>
                    <a:pt x="101" y="4"/>
                    <a:pt x="104" y="8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3" y="11"/>
                    <a:pt x="101" y="7"/>
                    <a:pt x="99" y="9"/>
                  </a:cubicBezTo>
                  <a:cubicBezTo>
                    <a:pt x="100" y="10"/>
                    <a:pt x="103" y="9"/>
                    <a:pt x="102" y="12"/>
                  </a:cubicBezTo>
                  <a:cubicBezTo>
                    <a:pt x="109" y="17"/>
                    <a:pt x="116" y="19"/>
                    <a:pt x="121" y="26"/>
                  </a:cubicBezTo>
                  <a:cubicBezTo>
                    <a:pt x="124" y="27"/>
                    <a:pt x="127" y="29"/>
                    <a:pt x="127" y="32"/>
                  </a:cubicBezTo>
                  <a:cubicBezTo>
                    <a:pt x="128" y="33"/>
                    <a:pt x="129" y="34"/>
                    <a:pt x="131" y="35"/>
                  </a:cubicBezTo>
                  <a:cubicBezTo>
                    <a:pt x="131" y="35"/>
                    <a:pt x="131" y="35"/>
                    <a:pt x="131" y="34"/>
                  </a:cubicBezTo>
                  <a:cubicBezTo>
                    <a:pt x="131" y="36"/>
                    <a:pt x="134" y="37"/>
                    <a:pt x="136" y="39"/>
                  </a:cubicBezTo>
                  <a:cubicBezTo>
                    <a:pt x="136" y="39"/>
                    <a:pt x="137" y="38"/>
                    <a:pt x="138" y="39"/>
                  </a:cubicBezTo>
                  <a:cubicBezTo>
                    <a:pt x="137" y="40"/>
                    <a:pt x="137" y="40"/>
                    <a:pt x="137" y="40"/>
                  </a:cubicBezTo>
                  <a:cubicBezTo>
                    <a:pt x="139" y="41"/>
                    <a:pt x="141" y="39"/>
                    <a:pt x="143" y="41"/>
                  </a:cubicBezTo>
                  <a:cubicBezTo>
                    <a:pt x="143" y="41"/>
                    <a:pt x="142" y="41"/>
                    <a:pt x="142" y="41"/>
                  </a:cubicBezTo>
                  <a:cubicBezTo>
                    <a:pt x="146" y="42"/>
                    <a:pt x="150" y="43"/>
                    <a:pt x="155" y="42"/>
                  </a:cubicBezTo>
                  <a:cubicBezTo>
                    <a:pt x="155" y="42"/>
                    <a:pt x="155" y="42"/>
                    <a:pt x="155" y="42"/>
                  </a:cubicBezTo>
                  <a:cubicBezTo>
                    <a:pt x="158" y="42"/>
                    <a:pt x="161" y="41"/>
                    <a:pt x="163" y="41"/>
                  </a:cubicBezTo>
                  <a:cubicBezTo>
                    <a:pt x="164" y="40"/>
                    <a:pt x="164" y="40"/>
                    <a:pt x="164" y="40"/>
                  </a:cubicBezTo>
                  <a:cubicBezTo>
                    <a:pt x="166" y="42"/>
                    <a:pt x="168" y="40"/>
                    <a:pt x="169" y="40"/>
                  </a:cubicBezTo>
                  <a:cubicBezTo>
                    <a:pt x="170" y="41"/>
                    <a:pt x="170" y="42"/>
                    <a:pt x="169" y="42"/>
                  </a:cubicBezTo>
                  <a:cubicBezTo>
                    <a:pt x="167" y="41"/>
                    <a:pt x="165" y="41"/>
                    <a:pt x="163" y="43"/>
                  </a:cubicBezTo>
                  <a:cubicBezTo>
                    <a:pt x="163" y="43"/>
                    <a:pt x="163" y="43"/>
                    <a:pt x="163" y="43"/>
                  </a:cubicBezTo>
                  <a:cubicBezTo>
                    <a:pt x="165" y="44"/>
                    <a:pt x="169" y="43"/>
                    <a:pt x="171" y="42"/>
                  </a:cubicBezTo>
                  <a:cubicBezTo>
                    <a:pt x="171" y="41"/>
                    <a:pt x="171" y="41"/>
                    <a:pt x="171" y="41"/>
                  </a:cubicBezTo>
                  <a:cubicBezTo>
                    <a:pt x="171" y="41"/>
                    <a:pt x="171" y="41"/>
                    <a:pt x="171" y="41"/>
                  </a:cubicBezTo>
                  <a:cubicBezTo>
                    <a:pt x="172" y="39"/>
                    <a:pt x="174" y="42"/>
                    <a:pt x="174" y="40"/>
                  </a:cubicBezTo>
                  <a:cubicBezTo>
                    <a:pt x="176" y="40"/>
                    <a:pt x="177" y="38"/>
                    <a:pt x="178" y="36"/>
                  </a:cubicBezTo>
                  <a:cubicBezTo>
                    <a:pt x="179" y="32"/>
                    <a:pt x="183" y="29"/>
                    <a:pt x="184" y="24"/>
                  </a:cubicBezTo>
                  <a:cubicBezTo>
                    <a:pt x="186" y="24"/>
                    <a:pt x="186" y="24"/>
                    <a:pt x="186" y="24"/>
                  </a:cubicBezTo>
                  <a:cubicBezTo>
                    <a:pt x="185" y="28"/>
                    <a:pt x="182" y="30"/>
                    <a:pt x="181" y="34"/>
                  </a:cubicBezTo>
                  <a:cubicBezTo>
                    <a:pt x="180" y="35"/>
                    <a:pt x="182" y="36"/>
                    <a:pt x="181" y="37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79" y="37"/>
                    <a:pt x="178" y="38"/>
                    <a:pt x="178" y="40"/>
                  </a:cubicBezTo>
                  <a:cubicBezTo>
                    <a:pt x="179" y="39"/>
                    <a:pt x="181" y="40"/>
                    <a:pt x="181" y="39"/>
                  </a:cubicBezTo>
                  <a:cubicBezTo>
                    <a:pt x="181" y="38"/>
                    <a:pt x="180" y="39"/>
                    <a:pt x="179" y="39"/>
                  </a:cubicBezTo>
                  <a:cubicBezTo>
                    <a:pt x="179" y="38"/>
                    <a:pt x="180" y="38"/>
                    <a:pt x="181" y="38"/>
                  </a:cubicBezTo>
                  <a:cubicBezTo>
                    <a:pt x="181" y="39"/>
                    <a:pt x="182" y="39"/>
                    <a:pt x="182" y="40"/>
                  </a:cubicBezTo>
                  <a:cubicBezTo>
                    <a:pt x="180" y="40"/>
                    <a:pt x="178" y="41"/>
                    <a:pt x="176" y="41"/>
                  </a:cubicBezTo>
                  <a:cubicBezTo>
                    <a:pt x="177" y="42"/>
                    <a:pt x="177" y="42"/>
                    <a:pt x="177" y="42"/>
                  </a:cubicBezTo>
                  <a:cubicBezTo>
                    <a:pt x="201" y="39"/>
                    <a:pt x="201" y="39"/>
                    <a:pt x="201" y="39"/>
                  </a:cubicBezTo>
                  <a:cubicBezTo>
                    <a:pt x="202" y="38"/>
                    <a:pt x="202" y="38"/>
                    <a:pt x="202" y="38"/>
                  </a:cubicBezTo>
                  <a:cubicBezTo>
                    <a:pt x="201" y="37"/>
                    <a:pt x="200" y="38"/>
                    <a:pt x="200" y="38"/>
                  </a:cubicBezTo>
                  <a:cubicBezTo>
                    <a:pt x="198" y="38"/>
                    <a:pt x="196" y="39"/>
                    <a:pt x="195" y="38"/>
                  </a:cubicBezTo>
                  <a:cubicBezTo>
                    <a:pt x="197" y="37"/>
                    <a:pt x="199" y="38"/>
                    <a:pt x="201" y="38"/>
                  </a:cubicBezTo>
                  <a:cubicBezTo>
                    <a:pt x="201" y="38"/>
                    <a:pt x="202" y="38"/>
                    <a:pt x="203" y="38"/>
                  </a:cubicBezTo>
                  <a:cubicBezTo>
                    <a:pt x="203" y="37"/>
                    <a:pt x="203" y="37"/>
                    <a:pt x="203" y="36"/>
                  </a:cubicBezTo>
                  <a:cubicBezTo>
                    <a:pt x="204" y="36"/>
                    <a:pt x="204" y="36"/>
                    <a:pt x="204" y="36"/>
                  </a:cubicBezTo>
                  <a:cubicBezTo>
                    <a:pt x="202" y="36"/>
                    <a:pt x="204" y="34"/>
                    <a:pt x="202" y="34"/>
                  </a:cubicBezTo>
                  <a:cubicBezTo>
                    <a:pt x="201" y="34"/>
                    <a:pt x="201" y="34"/>
                    <a:pt x="201" y="34"/>
                  </a:cubicBezTo>
                  <a:cubicBezTo>
                    <a:pt x="202" y="35"/>
                    <a:pt x="202" y="35"/>
                    <a:pt x="202" y="35"/>
                  </a:cubicBezTo>
                  <a:cubicBezTo>
                    <a:pt x="201" y="34"/>
                    <a:pt x="201" y="34"/>
                    <a:pt x="201" y="34"/>
                  </a:cubicBezTo>
                  <a:cubicBezTo>
                    <a:pt x="201" y="36"/>
                    <a:pt x="199" y="34"/>
                    <a:pt x="198" y="35"/>
                  </a:cubicBezTo>
                  <a:cubicBezTo>
                    <a:pt x="198" y="34"/>
                    <a:pt x="198" y="34"/>
                    <a:pt x="198" y="34"/>
                  </a:cubicBezTo>
                  <a:cubicBezTo>
                    <a:pt x="205" y="33"/>
                    <a:pt x="205" y="33"/>
                    <a:pt x="205" y="33"/>
                  </a:cubicBezTo>
                  <a:cubicBezTo>
                    <a:pt x="204" y="34"/>
                    <a:pt x="203" y="33"/>
                    <a:pt x="203" y="34"/>
                  </a:cubicBezTo>
                  <a:cubicBezTo>
                    <a:pt x="204" y="36"/>
                    <a:pt x="204" y="36"/>
                    <a:pt x="204" y="36"/>
                  </a:cubicBezTo>
                  <a:cubicBezTo>
                    <a:pt x="204" y="36"/>
                    <a:pt x="204" y="36"/>
                    <a:pt x="204" y="36"/>
                  </a:cubicBezTo>
                  <a:cubicBezTo>
                    <a:pt x="204" y="37"/>
                    <a:pt x="204" y="37"/>
                    <a:pt x="204" y="37"/>
                  </a:cubicBezTo>
                  <a:cubicBezTo>
                    <a:pt x="206" y="36"/>
                    <a:pt x="207" y="38"/>
                    <a:pt x="209" y="36"/>
                  </a:cubicBezTo>
                  <a:cubicBezTo>
                    <a:pt x="210" y="37"/>
                    <a:pt x="212" y="35"/>
                    <a:pt x="214" y="35"/>
                  </a:cubicBezTo>
                  <a:cubicBezTo>
                    <a:pt x="214" y="36"/>
                    <a:pt x="214" y="36"/>
                    <a:pt x="214" y="36"/>
                  </a:cubicBezTo>
                  <a:cubicBezTo>
                    <a:pt x="210" y="37"/>
                    <a:pt x="207" y="37"/>
                    <a:pt x="204" y="39"/>
                  </a:cubicBezTo>
                  <a:cubicBezTo>
                    <a:pt x="180" y="43"/>
                    <a:pt x="180" y="43"/>
                    <a:pt x="180" y="43"/>
                  </a:cubicBezTo>
                  <a:cubicBezTo>
                    <a:pt x="179" y="44"/>
                    <a:pt x="179" y="44"/>
                    <a:pt x="179" y="44"/>
                  </a:cubicBezTo>
                  <a:cubicBezTo>
                    <a:pt x="182" y="44"/>
                    <a:pt x="185" y="43"/>
                    <a:pt x="188" y="43"/>
                  </a:cubicBezTo>
                  <a:cubicBezTo>
                    <a:pt x="187" y="43"/>
                    <a:pt x="187" y="43"/>
                    <a:pt x="187" y="43"/>
                  </a:cubicBezTo>
                  <a:cubicBezTo>
                    <a:pt x="189" y="45"/>
                    <a:pt x="190" y="42"/>
                    <a:pt x="192" y="42"/>
                  </a:cubicBezTo>
                  <a:cubicBezTo>
                    <a:pt x="192" y="43"/>
                    <a:pt x="192" y="43"/>
                    <a:pt x="192" y="43"/>
                  </a:cubicBezTo>
                  <a:cubicBezTo>
                    <a:pt x="193" y="43"/>
                    <a:pt x="197" y="43"/>
                    <a:pt x="197" y="42"/>
                  </a:cubicBezTo>
                  <a:cubicBezTo>
                    <a:pt x="199" y="43"/>
                    <a:pt x="203" y="42"/>
                    <a:pt x="206" y="41"/>
                  </a:cubicBezTo>
                  <a:cubicBezTo>
                    <a:pt x="206" y="41"/>
                    <a:pt x="206" y="41"/>
                    <a:pt x="205" y="42"/>
                  </a:cubicBezTo>
                  <a:cubicBezTo>
                    <a:pt x="207" y="43"/>
                    <a:pt x="207" y="43"/>
                    <a:pt x="207" y="43"/>
                  </a:cubicBezTo>
                  <a:cubicBezTo>
                    <a:pt x="207" y="42"/>
                    <a:pt x="207" y="42"/>
                    <a:pt x="207" y="41"/>
                  </a:cubicBezTo>
                  <a:cubicBezTo>
                    <a:pt x="210" y="41"/>
                    <a:pt x="210" y="41"/>
                    <a:pt x="210" y="41"/>
                  </a:cubicBezTo>
                  <a:cubicBezTo>
                    <a:pt x="207" y="41"/>
                    <a:pt x="204" y="45"/>
                    <a:pt x="201" y="43"/>
                  </a:cubicBezTo>
                  <a:cubicBezTo>
                    <a:pt x="199" y="42"/>
                    <a:pt x="198" y="46"/>
                    <a:pt x="196" y="44"/>
                  </a:cubicBezTo>
                  <a:cubicBezTo>
                    <a:pt x="196" y="43"/>
                    <a:pt x="196" y="43"/>
                    <a:pt x="196" y="43"/>
                  </a:cubicBezTo>
                  <a:cubicBezTo>
                    <a:pt x="196" y="44"/>
                    <a:pt x="196" y="44"/>
                    <a:pt x="196" y="44"/>
                  </a:cubicBezTo>
                  <a:cubicBezTo>
                    <a:pt x="193" y="44"/>
                    <a:pt x="192" y="44"/>
                    <a:pt x="190" y="45"/>
                  </a:cubicBezTo>
                  <a:cubicBezTo>
                    <a:pt x="190" y="44"/>
                    <a:pt x="190" y="44"/>
                    <a:pt x="190" y="44"/>
                  </a:cubicBezTo>
                  <a:cubicBezTo>
                    <a:pt x="190" y="44"/>
                    <a:pt x="190" y="44"/>
                    <a:pt x="190" y="44"/>
                  </a:cubicBezTo>
                  <a:cubicBezTo>
                    <a:pt x="189" y="46"/>
                    <a:pt x="186" y="45"/>
                    <a:pt x="185" y="47"/>
                  </a:cubicBezTo>
                  <a:cubicBezTo>
                    <a:pt x="185" y="46"/>
                    <a:pt x="185" y="46"/>
                    <a:pt x="184" y="46"/>
                  </a:cubicBezTo>
                  <a:cubicBezTo>
                    <a:pt x="183" y="46"/>
                    <a:pt x="183" y="46"/>
                    <a:pt x="183" y="46"/>
                  </a:cubicBezTo>
                  <a:cubicBezTo>
                    <a:pt x="183" y="47"/>
                    <a:pt x="183" y="47"/>
                    <a:pt x="183" y="47"/>
                  </a:cubicBezTo>
                  <a:cubicBezTo>
                    <a:pt x="192" y="47"/>
                    <a:pt x="200" y="45"/>
                    <a:pt x="207" y="45"/>
                  </a:cubicBezTo>
                  <a:cubicBezTo>
                    <a:pt x="207" y="43"/>
                    <a:pt x="207" y="43"/>
                    <a:pt x="207" y="43"/>
                  </a:cubicBezTo>
                  <a:cubicBezTo>
                    <a:pt x="209" y="44"/>
                    <a:pt x="213" y="44"/>
                    <a:pt x="215" y="42"/>
                  </a:cubicBezTo>
                  <a:cubicBezTo>
                    <a:pt x="215" y="42"/>
                    <a:pt x="215" y="42"/>
                    <a:pt x="215" y="42"/>
                  </a:cubicBezTo>
                  <a:cubicBezTo>
                    <a:pt x="216" y="43"/>
                    <a:pt x="216" y="43"/>
                    <a:pt x="216" y="43"/>
                  </a:cubicBezTo>
                  <a:cubicBezTo>
                    <a:pt x="216" y="42"/>
                    <a:pt x="216" y="42"/>
                    <a:pt x="217" y="42"/>
                  </a:cubicBezTo>
                  <a:cubicBezTo>
                    <a:pt x="218" y="42"/>
                    <a:pt x="218" y="42"/>
                    <a:pt x="218" y="42"/>
                  </a:cubicBezTo>
                  <a:cubicBezTo>
                    <a:pt x="218" y="43"/>
                    <a:pt x="220" y="42"/>
                    <a:pt x="221" y="43"/>
                  </a:cubicBezTo>
                  <a:cubicBezTo>
                    <a:pt x="223" y="43"/>
                    <a:pt x="227" y="41"/>
                    <a:pt x="227" y="43"/>
                  </a:cubicBezTo>
                  <a:cubicBezTo>
                    <a:pt x="227" y="43"/>
                    <a:pt x="227" y="43"/>
                    <a:pt x="227" y="43"/>
                  </a:cubicBezTo>
                  <a:cubicBezTo>
                    <a:pt x="227" y="41"/>
                    <a:pt x="227" y="41"/>
                    <a:pt x="227" y="41"/>
                  </a:cubicBezTo>
                  <a:cubicBezTo>
                    <a:pt x="229" y="42"/>
                    <a:pt x="230" y="43"/>
                    <a:pt x="230" y="41"/>
                  </a:cubicBezTo>
                  <a:cubicBezTo>
                    <a:pt x="230" y="41"/>
                    <a:pt x="230" y="42"/>
                    <a:pt x="231" y="42"/>
                  </a:cubicBezTo>
                  <a:cubicBezTo>
                    <a:pt x="231" y="42"/>
                    <a:pt x="231" y="41"/>
                    <a:pt x="231" y="41"/>
                  </a:cubicBezTo>
                  <a:cubicBezTo>
                    <a:pt x="232" y="41"/>
                    <a:pt x="232" y="41"/>
                    <a:pt x="232" y="41"/>
                  </a:cubicBezTo>
                  <a:cubicBezTo>
                    <a:pt x="232" y="41"/>
                    <a:pt x="232" y="41"/>
                    <a:pt x="232" y="42"/>
                  </a:cubicBezTo>
                  <a:cubicBezTo>
                    <a:pt x="233" y="41"/>
                    <a:pt x="233" y="41"/>
                    <a:pt x="233" y="41"/>
                  </a:cubicBezTo>
                  <a:cubicBezTo>
                    <a:pt x="233" y="41"/>
                    <a:pt x="234" y="42"/>
                    <a:pt x="235" y="41"/>
                  </a:cubicBezTo>
                  <a:cubicBezTo>
                    <a:pt x="235" y="41"/>
                    <a:pt x="235" y="41"/>
                    <a:pt x="235" y="40"/>
                  </a:cubicBezTo>
                  <a:cubicBezTo>
                    <a:pt x="238" y="43"/>
                    <a:pt x="240" y="39"/>
                    <a:pt x="241" y="40"/>
                  </a:cubicBezTo>
                  <a:cubicBezTo>
                    <a:pt x="241" y="42"/>
                    <a:pt x="240" y="40"/>
                    <a:pt x="239" y="42"/>
                  </a:cubicBezTo>
                  <a:cubicBezTo>
                    <a:pt x="240" y="43"/>
                    <a:pt x="242" y="41"/>
                    <a:pt x="243" y="41"/>
                  </a:cubicBezTo>
                  <a:cubicBezTo>
                    <a:pt x="243" y="40"/>
                    <a:pt x="243" y="40"/>
                    <a:pt x="243" y="40"/>
                  </a:cubicBezTo>
                  <a:cubicBezTo>
                    <a:pt x="243" y="40"/>
                    <a:pt x="243" y="40"/>
                    <a:pt x="243" y="40"/>
                  </a:cubicBezTo>
                  <a:cubicBezTo>
                    <a:pt x="243" y="41"/>
                    <a:pt x="243" y="41"/>
                    <a:pt x="243" y="41"/>
                  </a:cubicBezTo>
                  <a:cubicBezTo>
                    <a:pt x="244" y="41"/>
                    <a:pt x="245" y="41"/>
                    <a:pt x="245" y="41"/>
                  </a:cubicBezTo>
                  <a:cubicBezTo>
                    <a:pt x="246" y="41"/>
                    <a:pt x="246" y="41"/>
                    <a:pt x="246" y="41"/>
                  </a:cubicBezTo>
                  <a:cubicBezTo>
                    <a:pt x="245" y="42"/>
                    <a:pt x="245" y="42"/>
                    <a:pt x="245" y="42"/>
                  </a:cubicBezTo>
                  <a:cubicBezTo>
                    <a:pt x="246" y="43"/>
                    <a:pt x="246" y="43"/>
                    <a:pt x="246" y="43"/>
                  </a:cubicBezTo>
                  <a:cubicBezTo>
                    <a:pt x="245" y="44"/>
                    <a:pt x="245" y="44"/>
                    <a:pt x="245" y="44"/>
                  </a:cubicBezTo>
                  <a:cubicBezTo>
                    <a:pt x="244" y="43"/>
                    <a:pt x="244" y="43"/>
                    <a:pt x="244" y="43"/>
                  </a:cubicBezTo>
                  <a:cubicBezTo>
                    <a:pt x="243" y="43"/>
                    <a:pt x="244" y="44"/>
                    <a:pt x="244" y="44"/>
                  </a:cubicBezTo>
                  <a:cubicBezTo>
                    <a:pt x="244" y="45"/>
                    <a:pt x="242" y="44"/>
                    <a:pt x="243" y="43"/>
                  </a:cubicBezTo>
                  <a:cubicBezTo>
                    <a:pt x="237" y="43"/>
                    <a:pt x="237" y="43"/>
                    <a:pt x="237" y="43"/>
                  </a:cubicBezTo>
                  <a:cubicBezTo>
                    <a:pt x="238" y="43"/>
                    <a:pt x="238" y="42"/>
                    <a:pt x="238" y="42"/>
                  </a:cubicBezTo>
                  <a:cubicBezTo>
                    <a:pt x="237" y="41"/>
                    <a:pt x="236" y="45"/>
                    <a:pt x="234" y="43"/>
                  </a:cubicBezTo>
                  <a:cubicBezTo>
                    <a:pt x="234" y="43"/>
                    <a:pt x="234" y="43"/>
                    <a:pt x="234" y="43"/>
                  </a:cubicBezTo>
                  <a:cubicBezTo>
                    <a:pt x="233" y="43"/>
                    <a:pt x="232" y="43"/>
                    <a:pt x="232" y="43"/>
                  </a:cubicBezTo>
                  <a:cubicBezTo>
                    <a:pt x="232" y="43"/>
                    <a:pt x="232" y="43"/>
                    <a:pt x="232" y="43"/>
                  </a:cubicBezTo>
                  <a:cubicBezTo>
                    <a:pt x="231" y="43"/>
                    <a:pt x="228" y="45"/>
                    <a:pt x="225" y="45"/>
                  </a:cubicBezTo>
                  <a:cubicBezTo>
                    <a:pt x="225" y="44"/>
                    <a:pt x="225" y="44"/>
                    <a:pt x="225" y="44"/>
                  </a:cubicBezTo>
                  <a:cubicBezTo>
                    <a:pt x="224" y="45"/>
                    <a:pt x="220" y="44"/>
                    <a:pt x="219" y="46"/>
                  </a:cubicBezTo>
                  <a:cubicBezTo>
                    <a:pt x="215" y="47"/>
                    <a:pt x="210" y="48"/>
                    <a:pt x="205" y="48"/>
                  </a:cubicBezTo>
                  <a:cubicBezTo>
                    <a:pt x="204" y="49"/>
                    <a:pt x="204" y="49"/>
                    <a:pt x="204" y="49"/>
                  </a:cubicBezTo>
                  <a:cubicBezTo>
                    <a:pt x="213" y="48"/>
                    <a:pt x="222" y="49"/>
                    <a:pt x="230" y="46"/>
                  </a:cubicBezTo>
                  <a:cubicBezTo>
                    <a:pt x="231" y="47"/>
                    <a:pt x="232" y="46"/>
                    <a:pt x="232" y="46"/>
                  </a:cubicBezTo>
                  <a:cubicBezTo>
                    <a:pt x="233" y="47"/>
                    <a:pt x="232" y="47"/>
                    <a:pt x="231" y="47"/>
                  </a:cubicBezTo>
                  <a:cubicBezTo>
                    <a:pt x="230" y="47"/>
                    <a:pt x="230" y="47"/>
                    <a:pt x="230" y="47"/>
                  </a:cubicBezTo>
                  <a:cubicBezTo>
                    <a:pt x="230" y="49"/>
                    <a:pt x="229" y="47"/>
                    <a:pt x="228" y="48"/>
                  </a:cubicBezTo>
                  <a:cubicBezTo>
                    <a:pt x="226" y="48"/>
                    <a:pt x="224" y="49"/>
                    <a:pt x="222" y="50"/>
                  </a:cubicBezTo>
                  <a:cubicBezTo>
                    <a:pt x="231" y="49"/>
                    <a:pt x="231" y="49"/>
                    <a:pt x="231" y="49"/>
                  </a:cubicBezTo>
                  <a:cubicBezTo>
                    <a:pt x="230" y="49"/>
                    <a:pt x="229" y="51"/>
                    <a:pt x="229" y="49"/>
                  </a:cubicBezTo>
                  <a:cubicBezTo>
                    <a:pt x="224" y="51"/>
                    <a:pt x="221" y="50"/>
                    <a:pt x="217" y="53"/>
                  </a:cubicBezTo>
                  <a:cubicBezTo>
                    <a:pt x="220" y="54"/>
                    <a:pt x="223" y="53"/>
                    <a:pt x="225" y="54"/>
                  </a:cubicBezTo>
                  <a:cubicBezTo>
                    <a:pt x="226" y="53"/>
                    <a:pt x="226" y="53"/>
                    <a:pt x="226" y="53"/>
                  </a:cubicBezTo>
                  <a:cubicBezTo>
                    <a:pt x="226" y="53"/>
                    <a:pt x="226" y="53"/>
                    <a:pt x="227" y="53"/>
                  </a:cubicBezTo>
                  <a:cubicBezTo>
                    <a:pt x="230" y="54"/>
                    <a:pt x="226" y="51"/>
                    <a:pt x="229" y="51"/>
                  </a:cubicBezTo>
                  <a:cubicBezTo>
                    <a:pt x="228" y="53"/>
                    <a:pt x="228" y="53"/>
                    <a:pt x="228" y="53"/>
                  </a:cubicBezTo>
                  <a:cubicBezTo>
                    <a:pt x="233" y="53"/>
                    <a:pt x="238" y="51"/>
                    <a:pt x="243" y="51"/>
                  </a:cubicBezTo>
                  <a:cubicBezTo>
                    <a:pt x="240" y="49"/>
                    <a:pt x="239" y="51"/>
                    <a:pt x="237" y="49"/>
                  </a:cubicBezTo>
                  <a:cubicBezTo>
                    <a:pt x="241" y="48"/>
                    <a:pt x="241" y="48"/>
                    <a:pt x="241" y="48"/>
                  </a:cubicBezTo>
                  <a:cubicBezTo>
                    <a:pt x="241" y="49"/>
                    <a:pt x="240" y="49"/>
                    <a:pt x="240" y="49"/>
                  </a:cubicBezTo>
                  <a:cubicBezTo>
                    <a:pt x="241" y="49"/>
                    <a:pt x="242" y="50"/>
                    <a:pt x="243" y="50"/>
                  </a:cubicBezTo>
                  <a:cubicBezTo>
                    <a:pt x="243" y="50"/>
                    <a:pt x="243" y="49"/>
                    <a:pt x="243" y="49"/>
                  </a:cubicBezTo>
                  <a:cubicBezTo>
                    <a:pt x="243" y="49"/>
                    <a:pt x="243" y="49"/>
                    <a:pt x="243" y="49"/>
                  </a:cubicBezTo>
                  <a:cubicBezTo>
                    <a:pt x="243" y="50"/>
                    <a:pt x="243" y="50"/>
                    <a:pt x="243" y="50"/>
                  </a:cubicBezTo>
                  <a:cubicBezTo>
                    <a:pt x="244" y="51"/>
                    <a:pt x="244" y="51"/>
                    <a:pt x="245" y="50"/>
                  </a:cubicBezTo>
                  <a:cubicBezTo>
                    <a:pt x="246" y="50"/>
                    <a:pt x="245" y="49"/>
                    <a:pt x="245" y="49"/>
                  </a:cubicBezTo>
                  <a:cubicBezTo>
                    <a:pt x="246" y="47"/>
                    <a:pt x="246" y="47"/>
                    <a:pt x="246" y="47"/>
                  </a:cubicBezTo>
                  <a:cubicBezTo>
                    <a:pt x="245" y="49"/>
                    <a:pt x="245" y="49"/>
                    <a:pt x="245" y="49"/>
                  </a:cubicBezTo>
                  <a:cubicBezTo>
                    <a:pt x="246" y="49"/>
                    <a:pt x="246" y="50"/>
                    <a:pt x="247" y="49"/>
                  </a:cubicBezTo>
                  <a:cubicBezTo>
                    <a:pt x="248" y="50"/>
                    <a:pt x="248" y="50"/>
                    <a:pt x="248" y="50"/>
                  </a:cubicBezTo>
                  <a:cubicBezTo>
                    <a:pt x="249" y="48"/>
                    <a:pt x="249" y="48"/>
                    <a:pt x="249" y="48"/>
                  </a:cubicBezTo>
                  <a:cubicBezTo>
                    <a:pt x="249" y="48"/>
                    <a:pt x="248" y="48"/>
                    <a:pt x="248" y="48"/>
                  </a:cubicBezTo>
                  <a:cubicBezTo>
                    <a:pt x="249" y="47"/>
                    <a:pt x="249" y="47"/>
                    <a:pt x="249" y="47"/>
                  </a:cubicBezTo>
                  <a:cubicBezTo>
                    <a:pt x="250" y="47"/>
                    <a:pt x="250" y="48"/>
                    <a:pt x="250" y="48"/>
                  </a:cubicBezTo>
                  <a:cubicBezTo>
                    <a:pt x="249" y="48"/>
                    <a:pt x="249" y="48"/>
                    <a:pt x="249" y="49"/>
                  </a:cubicBezTo>
                  <a:cubicBezTo>
                    <a:pt x="251" y="47"/>
                    <a:pt x="254" y="51"/>
                    <a:pt x="256" y="49"/>
                  </a:cubicBezTo>
                  <a:cubicBezTo>
                    <a:pt x="256" y="49"/>
                    <a:pt x="256" y="49"/>
                    <a:pt x="256" y="49"/>
                  </a:cubicBezTo>
                  <a:cubicBezTo>
                    <a:pt x="256" y="49"/>
                    <a:pt x="256" y="49"/>
                    <a:pt x="256" y="49"/>
                  </a:cubicBezTo>
                  <a:cubicBezTo>
                    <a:pt x="246" y="50"/>
                    <a:pt x="235" y="54"/>
                    <a:pt x="224" y="55"/>
                  </a:cubicBezTo>
                  <a:cubicBezTo>
                    <a:pt x="223" y="56"/>
                    <a:pt x="223" y="56"/>
                    <a:pt x="223" y="57"/>
                  </a:cubicBezTo>
                  <a:cubicBezTo>
                    <a:pt x="225" y="57"/>
                    <a:pt x="225" y="57"/>
                    <a:pt x="225" y="57"/>
                  </a:cubicBezTo>
                  <a:cubicBezTo>
                    <a:pt x="222" y="59"/>
                    <a:pt x="222" y="56"/>
                    <a:pt x="219" y="57"/>
                  </a:cubicBezTo>
                  <a:cubicBezTo>
                    <a:pt x="217" y="58"/>
                    <a:pt x="214" y="59"/>
                    <a:pt x="212" y="60"/>
                  </a:cubicBezTo>
                  <a:cubicBezTo>
                    <a:pt x="212" y="61"/>
                    <a:pt x="212" y="61"/>
                    <a:pt x="212" y="61"/>
                  </a:cubicBezTo>
                  <a:cubicBezTo>
                    <a:pt x="216" y="61"/>
                    <a:pt x="219" y="59"/>
                    <a:pt x="223" y="60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15" y="64"/>
                    <a:pt x="219" y="63"/>
                    <a:pt x="219" y="63"/>
                  </a:cubicBezTo>
                  <a:cubicBezTo>
                    <a:pt x="219" y="64"/>
                    <a:pt x="219" y="64"/>
                    <a:pt x="219" y="64"/>
                  </a:cubicBezTo>
                  <a:cubicBezTo>
                    <a:pt x="220" y="65"/>
                    <a:pt x="221" y="64"/>
                    <a:pt x="222" y="64"/>
                  </a:cubicBezTo>
                  <a:cubicBezTo>
                    <a:pt x="223" y="65"/>
                    <a:pt x="225" y="65"/>
                    <a:pt x="227" y="65"/>
                  </a:cubicBezTo>
                  <a:cubicBezTo>
                    <a:pt x="237" y="65"/>
                    <a:pt x="248" y="63"/>
                    <a:pt x="258" y="62"/>
                  </a:cubicBezTo>
                  <a:cubicBezTo>
                    <a:pt x="257" y="63"/>
                    <a:pt x="257" y="63"/>
                    <a:pt x="257" y="63"/>
                  </a:cubicBezTo>
                  <a:cubicBezTo>
                    <a:pt x="252" y="65"/>
                    <a:pt x="246" y="65"/>
                    <a:pt x="242" y="66"/>
                  </a:cubicBezTo>
                  <a:cubicBezTo>
                    <a:pt x="245" y="66"/>
                    <a:pt x="249" y="67"/>
                    <a:pt x="252" y="67"/>
                  </a:cubicBezTo>
                  <a:cubicBezTo>
                    <a:pt x="254" y="68"/>
                    <a:pt x="260" y="66"/>
                    <a:pt x="263" y="67"/>
                  </a:cubicBezTo>
                  <a:cubicBezTo>
                    <a:pt x="264" y="64"/>
                    <a:pt x="268" y="65"/>
                    <a:pt x="270" y="63"/>
                  </a:cubicBezTo>
                  <a:cubicBezTo>
                    <a:pt x="271" y="64"/>
                    <a:pt x="272" y="62"/>
                    <a:pt x="272" y="62"/>
                  </a:cubicBezTo>
                  <a:cubicBezTo>
                    <a:pt x="271" y="61"/>
                    <a:pt x="271" y="61"/>
                    <a:pt x="271" y="61"/>
                  </a:cubicBezTo>
                  <a:cubicBezTo>
                    <a:pt x="273" y="60"/>
                    <a:pt x="273" y="60"/>
                    <a:pt x="273" y="60"/>
                  </a:cubicBezTo>
                  <a:cubicBezTo>
                    <a:pt x="272" y="60"/>
                    <a:pt x="273" y="58"/>
                    <a:pt x="271" y="58"/>
                  </a:cubicBezTo>
                  <a:cubicBezTo>
                    <a:pt x="271" y="58"/>
                    <a:pt x="271" y="58"/>
                    <a:pt x="271" y="59"/>
                  </a:cubicBezTo>
                  <a:cubicBezTo>
                    <a:pt x="270" y="59"/>
                    <a:pt x="270" y="59"/>
                    <a:pt x="270" y="59"/>
                  </a:cubicBezTo>
                  <a:cubicBezTo>
                    <a:pt x="271" y="58"/>
                    <a:pt x="271" y="57"/>
                    <a:pt x="272" y="57"/>
                  </a:cubicBezTo>
                  <a:cubicBezTo>
                    <a:pt x="273" y="57"/>
                    <a:pt x="273" y="57"/>
                    <a:pt x="273" y="57"/>
                  </a:cubicBezTo>
                  <a:cubicBezTo>
                    <a:pt x="273" y="56"/>
                    <a:pt x="272" y="56"/>
                    <a:pt x="271" y="56"/>
                  </a:cubicBezTo>
                  <a:cubicBezTo>
                    <a:pt x="271" y="56"/>
                    <a:pt x="271" y="56"/>
                    <a:pt x="271" y="56"/>
                  </a:cubicBezTo>
                  <a:cubicBezTo>
                    <a:pt x="270" y="56"/>
                    <a:pt x="270" y="56"/>
                    <a:pt x="270" y="56"/>
                  </a:cubicBezTo>
                  <a:cubicBezTo>
                    <a:pt x="271" y="53"/>
                    <a:pt x="274" y="57"/>
                    <a:pt x="275" y="54"/>
                  </a:cubicBezTo>
                  <a:cubicBezTo>
                    <a:pt x="275" y="54"/>
                    <a:pt x="275" y="54"/>
                    <a:pt x="276" y="54"/>
                  </a:cubicBezTo>
                  <a:cubicBezTo>
                    <a:pt x="276" y="54"/>
                    <a:pt x="276" y="54"/>
                    <a:pt x="276" y="54"/>
                  </a:cubicBezTo>
                  <a:cubicBezTo>
                    <a:pt x="275" y="52"/>
                    <a:pt x="274" y="51"/>
                    <a:pt x="271" y="52"/>
                  </a:cubicBezTo>
                  <a:cubicBezTo>
                    <a:pt x="272" y="50"/>
                    <a:pt x="276" y="51"/>
                    <a:pt x="275" y="48"/>
                  </a:cubicBezTo>
                  <a:cubicBezTo>
                    <a:pt x="275" y="50"/>
                    <a:pt x="272" y="48"/>
                    <a:pt x="271" y="50"/>
                  </a:cubicBezTo>
                  <a:cubicBezTo>
                    <a:pt x="271" y="48"/>
                    <a:pt x="270" y="51"/>
                    <a:pt x="269" y="49"/>
                  </a:cubicBezTo>
                  <a:cubicBezTo>
                    <a:pt x="270" y="49"/>
                    <a:pt x="270" y="49"/>
                    <a:pt x="270" y="48"/>
                  </a:cubicBezTo>
                  <a:cubicBezTo>
                    <a:pt x="270" y="48"/>
                    <a:pt x="269" y="48"/>
                    <a:pt x="269" y="48"/>
                  </a:cubicBezTo>
                  <a:cubicBezTo>
                    <a:pt x="269" y="50"/>
                    <a:pt x="267" y="48"/>
                    <a:pt x="266" y="50"/>
                  </a:cubicBezTo>
                  <a:cubicBezTo>
                    <a:pt x="266" y="50"/>
                    <a:pt x="264" y="50"/>
                    <a:pt x="263" y="50"/>
                  </a:cubicBezTo>
                  <a:cubicBezTo>
                    <a:pt x="263" y="49"/>
                    <a:pt x="265" y="49"/>
                    <a:pt x="265" y="47"/>
                  </a:cubicBezTo>
                  <a:cubicBezTo>
                    <a:pt x="264" y="48"/>
                    <a:pt x="264" y="48"/>
                    <a:pt x="264" y="48"/>
                  </a:cubicBezTo>
                  <a:cubicBezTo>
                    <a:pt x="265" y="45"/>
                    <a:pt x="267" y="48"/>
                    <a:pt x="269" y="46"/>
                  </a:cubicBezTo>
                  <a:cubicBezTo>
                    <a:pt x="268" y="45"/>
                    <a:pt x="267" y="46"/>
                    <a:pt x="266" y="46"/>
                  </a:cubicBezTo>
                  <a:cubicBezTo>
                    <a:pt x="267" y="45"/>
                    <a:pt x="268" y="45"/>
                    <a:pt x="269" y="45"/>
                  </a:cubicBezTo>
                  <a:cubicBezTo>
                    <a:pt x="269" y="46"/>
                    <a:pt x="269" y="46"/>
                    <a:pt x="269" y="46"/>
                  </a:cubicBezTo>
                  <a:cubicBezTo>
                    <a:pt x="270" y="47"/>
                    <a:pt x="270" y="46"/>
                    <a:pt x="271" y="46"/>
                  </a:cubicBezTo>
                  <a:cubicBezTo>
                    <a:pt x="271" y="45"/>
                    <a:pt x="271" y="45"/>
                    <a:pt x="271" y="45"/>
                  </a:cubicBezTo>
                  <a:cubicBezTo>
                    <a:pt x="273" y="44"/>
                    <a:pt x="272" y="46"/>
                    <a:pt x="273" y="47"/>
                  </a:cubicBezTo>
                  <a:cubicBezTo>
                    <a:pt x="273" y="45"/>
                    <a:pt x="275" y="46"/>
                    <a:pt x="275" y="44"/>
                  </a:cubicBezTo>
                  <a:cubicBezTo>
                    <a:pt x="274" y="43"/>
                    <a:pt x="273" y="44"/>
                    <a:pt x="273" y="44"/>
                  </a:cubicBezTo>
                  <a:cubicBezTo>
                    <a:pt x="273" y="43"/>
                    <a:pt x="273" y="43"/>
                    <a:pt x="273" y="43"/>
                  </a:cubicBezTo>
                  <a:cubicBezTo>
                    <a:pt x="278" y="42"/>
                    <a:pt x="283" y="43"/>
                    <a:pt x="288" y="41"/>
                  </a:cubicBezTo>
                  <a:cubicBezTo>
                    <a:pt x="288" y="40"/>
                    <a:pt x="288" y="40"/>
                    <a:pt x="288" y="40"/>
                  </a:cubicBezTo>
                  <a:cubicBezTo>
                    <a:pt x="290" y="42"/>
                    <a:pt x="293" y="40"/>
                    <a:pt x="294" y="41"/>
                  </a:cubicBezTo>
                  <a:cubicBezTo>
                    <a:pt x="294" y="42"/>
                    <a:pt x="294" y="42"/>
                    <a:pt x="294" y="42"/>
                  </a:cubicBezTo>
                  <a:cubicBezTo>
                    <a:pt x="295" y="42"/>
                    <a:pt x="296" y="42"/>
                    <a:pt x="297" y="42"/>
                  </a:cubicBezTo>
                  <a:cubicBezTo>
                    <a:pt x="297" y="41"/>
                    <a:pt x="297" y="41"/>
                    <a:pt x="297" y="40"/>
                  </a:cubicBezTo>
                  <a:cubicBezTo>
                    <a:pt x="296" y="39"/>
                    <a:pt x="296" y="41"/>
                    <a:pt x="295" y="41"/>
                  </a:cubicBezTo>
                  <a:cubicBezTo>
                    <a:pt x="296" y="41"/>
                    <a:pt x="296" y="39"/>
                    <a:pt x="297" y="40"/>
                  </a:cubicBezTo>
                  <a:cubicBezTo>
                    <a:pt x="297" y="40"/>
                    <a:pt x="297" y="40"/>
                    <a:pt x="297" y="40"/>
                  </a:cubicBezTo>
                  <a:cubicBezTo>
                    <a:pt x="298" y="40"/>
                    <a:pt x="298" y="41"/>
                    <a:pt x="299" y="41"/>
                  </a:cubicBezTo>
                  <a:cubicBezTo>
                    <a:pt x="308" y="41"/>
                    <a:pt x="308" y="41"/>
                    <a:pt x="308" y="41"/>
                  </a:cubicBezTo>
                  <a:cubicBezTo>
                    <a:pt x="308" y="41"/>
                    <a:pt x="308" y="41"/>
                    <a:pt x="308" y="41"/>
                  </a:cubicBezTo>
                  <a:cubicBezTo>
                    <a:pt x="319" y="40"/>
                    <a:pt x="329" y="40"/>
                    <a:pt x="339" y="38"/>
                  </a:cubicBezTo>
                  <a:cubicBezTo>
                    <a:pt x="340" y="39"/>
                    <a:pt x="340" y="39"/>
                    <a:pt x="340" y="39"/>
                  </a:cubicBezTo>
                  <a:cubicBezTo>
                    <a:pt x="349" y="37"/>
                    <a:pt x="361" y="38"/>
                    <a:pt x="371" y="35"/>
                  </a:cubicBezTo>
                  <a:cubicBezTo>
                    <a:pt x="370" y="34"/>
                    <a:pt x="370" y="34"/>
                    <a:pt x="370" y="34"/>
                  </a:cubicBezTo>
                  <a:cubicBezTo>
                    <a:pt x="371" y="34"/>
                    <a:pt x="371" y="34"/>
                    <a:pt x="371" y="34"/>
                  </a:cubicBezTo>
                  <a:cubicBezTo>
                    <a:pt x="371" y="35"/>
                    <a:pt x="372" y="35"/>
                    <a:pt x="373" y="35"/>
                  </a:cubicBezTo>
                  <a:cubicBezTo>
                    <a:pt x="373" y="36"/>
                    <a:pt x="371" y="35"/>
                    <a:pt x="370" y="37"/>
                  </a:cubicBezTo>
                  <a:cubicBezTo>
                    <a:pt x="371" y="38"/>
                    <a:pt x="373" y="38"/>
                    <a:pt x="374" y="37"/>
                  </a:cubicBezTo>
                  <a:cubicBezTo>
                    <a:pt x="375" y="37"/>
                    <a:pt x="374" y="38"/>
                    <a:pt x="374" y="38"/>
                  </a:cubicBezTo>
                  <a:cubicBezTo>
                    <a:pt x="376" y="38"/>
                    <a:pt x="378" y="38"/>
                    <a:pt x="380" y="37"/>
                  </a:cubicBezTo>
                  <a:cubicBezTo>
                    <a:pt x="380" y="38"/>
                    <a:pt x="380" y="38"/>
                    <a:pt x="380" y="38"/>
                  </a:cubicBezTo>
                  <a:cubicBezTo>
                    <a:pt x="385" y="38"/>
                    <a:pt x="390" y="35"/>
                    <a:pt x="394" y="37"/>
                  </a:cubicBezTo>
                  <a:cubicBezTo>
                    <a:pt x="395" y="34"/>
                    <a:pt x="396" y="38"/>
                    <a:pt x="397" y="36"/>
                  </a:cubicBezTo>
                  <a:cubicBezTo>
                    <a:pt x="397" y="35"/>
                    <a:pt x="398" y="36"/>
                    <a:pt x="398" y="36"/>
                  </a:cubicBezTo>
                  <a:cubicBezTo>
                    <a:pt x="398" y="35"/>
                    <a:pt x="398" y="35"/>
                    <a:pt x="398" y="35"/>
                  </a:cubicBezTo>
                  <a:cubicBezTo>
                    <a:pt x="398" y="35"/>
                    <a:pt x="400" y="35"/>
                    <a:pt x="401" y="34"/>
                  </a:cubicBezTo>
                  <a:cubicBezTo>
                    <a:pt x="403" y="35"/>
                    <a:pt x="404" y="33"/>
                    <a:pt x="407" y="33"/>
                  </a:cubicBezTo>
                  <a:cubicBezTo>
                    <a:pt x="407" y="35"/>
                    <a:pt x="407" y="35"/>
                    <a:pt x="407" y="35"/>
                  </a:cubicBezTo>
                  <a:cubicBezTo>
                    <a:pt x="406" y="34"/>
                    <a:pt x="406" y="34"/>
                    <a:pt x="406" y="34"/>
                  </a:cubicBezTo>
                  <a:cubicBezTo>
                    <a:pt x="406" y="36"/>
                    <a:pt x="404" y="37"/>
                    <a:pt x="406" y="39"/>
                  </a:cubicBezTo>
                  <a:cubicBezTo>
                    <a:pt x="408" y="39"/>
                    <a:pt x="406" y="36"/>
                    <a:pt x="408" y="36"/>
                  </a:cubicBezTo>
                  <a:cubicBezTo>
                    <a:pt x="408" y="37"/>
                    <a:pt x="408" y="38"/>
                    <a:pt x="409" y="38"/>
                  </a:cubicBezTo>
                  <a:cubicBezTo>
                    <a:pt x="410" y="38"/>
                    <a:pt x="409" y="37"/>
                    <a:pt x="410" y="37"/>
                  </a:cubicBezTo>
                  <a:cubicBezTo>
                    <a:pt x="410" y="36"/>
                    <a:pt x="409" y="37"/>
                    <a:pt x="409" y="37"/>
                  </a:cubicBezTo>
                  <a:cubicBezTo>
                    <a:pt x="411" y="36"/>
                    <a:pt x="411" y="36"/>
                    <a:pt x="411" y="36"/>
                  </a:cubicBezTo>
                  <a:cubicBezTo>
                    <a:pt x="410" y="37"/>
                    <a:pt x="410" y="37"/>
                    <a:pt x="410" y="37"/>
                  </a:cubicBezTo>
                  <a:cubicBezTo>
                    <a:pt x="411" y="38"/>
                    <a:pt x="413" y="38"/>
                    <a:pt x="414" y="37"/>
                  </a:cubicBezTo>
                  <a:cubicBezTo>
                    <a:pt x="415" y="37"/>
                    <a:pt x="413" y="38"/>
                    <a:pt x="412" y="38"/>
                  </a:cubicBezTo>
                  <a:cubicBezTo>
                    <a:pt x="409" y="40"/>
                    <a:pt x="406" y="37"/>
                    <a:pt x="404" y="41"/>
                  </a:cubicBezTo>
                  <a:cubicBezTo>
                    <a:pt x="406" y="42"/>
                    <a:pt x="411" y="40"/>
                    <a:pt x="412" y="42"/>
                  </a:cubicBezTo>
                  <a:cubicBezTo>
                    <a:pt x="411" y="43"/>
                    <a:pt x="408" y="43"/>
                    <a:pt x="408" y="44"/>
                  </a:cubicBezTo>
                  <a:cubicBezTo>
                    <a:pt x="408" y="44"/>
                    <a:pt x="408" y="43"/>
                    <a:pt x="407" y="43"/>
                  </a:cubicBezTo>
                  <a:cubicBezTo>
                    <a:pt x="405" y="43"/>
                    <a:pt x="406" y="45"/>
                    <a:pt x="405" y="45"/>
                  </a:cubicBezTo>
                  <a:cubicBezTo>
                    <a:pt x="404" y="45"/>
                    <a:pt x="404" y="45"/>
                    <a:pt x="404" y="45"/>
                  </a:cubicBezTo>
                  <a:cubicBezTo>
                    <a:pt x="405" y="47"/>
                    <a:pt x="402" y="46"/>
                    <a:pt x="402" y="47"/>
                  </a:cubicBezTo>
                  <a:cubicBezTo>
                    <a:pt x="401" y="47"/>
                    <a:pt x="401" y="47"/>
                    <a:pt x="401" y="47"/>
                  </a:cubicBezTo>
                  <a:cubicBezTo>
                    <a:pt x="399" y="48"/>
                    <a:pt x="395" y="48"/>
                    <a:pt x="393" y="49"/>
                  </a:cubicBezTo>
                  <a:cubicBezTo>
                    <a:pt x="400" y="49"/>
                    <a:pt x="400" y="49"/>
                    <a:pt x="400" y="49"/>
                  </a:cubicBezTo>
                  <a:cubicBezTo>
                    <a:pt x="394" y="50"/>
                    <a:pt x="388" y="50"/>
                    <a:pt x="383" y="53"/>
                  </a:cubicBezTo>
                  <a:cubicBezTo>
                    <a:pt x="385" y="51"/>
                    <a:pt x="385" y="51"/>
                    <a:pt x="385" y="51"/>
                  </a:cubicBezTo>
                  <a:cubicBezTo>
                    <a:pt x="383" y="52"/>
                    <a:pt x="379" y="51"/>
                    <a:pt x="377" y="53"/>
                  </a:cubicBezTo>
                  <a:cubicBezTo>
                    <a:pt x="378" y="53"/>
                    <a:pt x="380" y="50"/>
                    <a:pt x="381" y="51"/>
                  </a:cubicBezTo>
                  <a:cubicBezTo>
                    <a:pt x="384" y="52"/>
                    <a:pt x="385" y="47"/>
                    <a:pt x="387" y="49"/>
                  </a:cubicBezTo>
                  <a:cubicBezTo>
                    <a:pt x="391" y="47"/>
                    <a:pt x="395" y="48"/>
                    <a:pt x="398" y="45"/>
                  </a:cubicBezTo>
                  <a:cubicBezTo>
                    <a:pt x="390" y="46"/>
                    <a:pt x="390" y="46"/>
                    <a:pt x="390" y="46"/>
                  </a:cubicBezTo>
                  <a:cubicBezTo>
                    <a:pt x="390" y="45"/>
                    <a:pt x="390" y="45"/>
                    <a:pt x="390" y="45"/>
                  </a:cubicBezTo>
                  <a:cubicBezTo>
                    <a:pt x="389" y="45"/>
                    <a:pt x="387" y="45"/>
                    <a:pt x="386" y="46"/>
                  </a:cubicBezTo>
                  <a:cubicBezTo>
                    <a:pt x="391" y="47"/>
                    <a:pt x="391" y="47"/>
                    <a:pt x="391" y="47"/>
                  </a:cubicBezTo>
                  <a:cubicBezTo>
                    <a:pt x="390" y="48"/>
                    <a:pt x="389" y="47"/>
                    <a:pt x="388" y="48"/>
                  </a:cubicBezTo>
                  <a:cubicBezTo>
                    <a:pt x="388" y="47"/>
                    <a:pt x="387" y="47"/>
                    <a:pt x="387" y="47"/>
                  </a:cubicBezTo>
                  <a:cubicBezTo>
                    <a:pt x="386" y="48"/>
                    <a:pt x="386" y="48"/>
                    <a:pt x="386" y="48"/>
                  </a:cubicBezTo>
                  <a:cubicBezTo>
                    <a:pt x="386" y="47"/>
                    <a:pt x="386" y="47"/>
                    <a:pt x="386" y="47"/>
                  </a:cubicBezTo>
                  <a:cubicBezTo>
                    <a:pt x="385" y="49"/>
                    <a:pt x="382" y="48"/>
                    <a:pt x="381" y="49"/>
                  </a:cubicBezTo>
                  <a:cubicBezTo>
                    <a:pt x="380" y="50"/>
                    <a:pt x="377" y="47"/>
                    <a:pt x="377" y="50"/>
                  </a:cubicBezTo>
                  <a:cubicBezTo>
                    <a:pt x="376" y="51"/>
                    <a:pt x="376" y="51"/>
                    <a:pt x="376" y="51"/>
                  </a:cubicBezTo>
                  <a:cubicBezTo>
                    <a:pt x="375" y="49"/>
                    <a:pt x="375" y="49"/>
                    <a:pt x="375" y="49"/>
                  </a:cubicBezTo>
                  <a:cubicBezTo>
                    <a:pt x="365" y="51"/>
                    <a:pt x="365" y="51"/>
                    <a:pt x="365" y="51"/>
                  </a:cubicBezTo>
                  <a:cubicBezTo>
                    <a:pt x="366" y="51"/>
                    <a:pt x="366" y="51"/>
                    <a:pt x="366" y="51"/>
                  </a:cubicBezTo>
                  <a:cubicBezTo>
                    <a:pt x="360" y="51"/>
                    <a:pt x="357" y="53"/>
                    <a:pt x="351" y="55"/>
                  </a:cubicBezTo>
                  <a:cubicBezTo>
                    <a:pt x="350" y="55"/>
                    <a:pt x="349" y="54"/>
                    <a:pt x="348" y="54"/>
                  </a:cubicBezTo>
                  <a:cubicBezTo>
                    <a:pt x="347" y="55"/>
                    <a:pt x="347" y="55"/>
                    <a:pt x="347" y="55"/>
                  </a:cubicBezTo>
                  <a:cubicBezTo>
                    <a:pt x="343" y="55"/>
                    <a:pt x="341" y="55"/>
                    <a:pt x="335" y="55"/>
                  </a:cubicBezTo>
                  <a:cubicBezTo>
                    <a:pt x="341" y="54"/>
                    <a:pt x="341" y="54"/>
                    <a:pt x="341" y="54"/>
                  </a:cubicBezTo>
                  <a:cubicBezTo>
                    <a:pt x="341" y="54"/>
                    <a:pt x="341" y="54"/>
                    <a:pt x="341" y="54"/>
                  </a:cubicBezTo>
                  <a:cubicBezTo>
                    <a:pt x="342" y="53"/>
                    <a:pt x="342" y="53"/>
                    <a:pt x="342" y="53"/>
                  </a:cubicBezTo>
                  <a:cubicBezTo>
                    <a:pt x="341" y="55"/>
                    <a:pt x="341" y="55"/>
                    <a:pt x="341" y="55"/>
                  </a:cubicBezTo>
                  <a:cubicBezTo>
                    <a:pt x="342" y="55"/>
                    <a:pt x="343" y="55"/>
                    <a:pt x="343" y="55"/>
                  </a:cubicBezTo>
                  <a:cubicBezTo>
                    <a:pt x="344" y="55"/>
                    <a:pt x="344" y="54"/>
                    <a:pt x="344" y="54"/>
                  </a:cubicBezTo>
                  <a:cubicBezTo>
                    <a:pt x="345" y="55"/>
                    <a:pt x="345" y="55"/>
                    <a:pt x="345" y="55"/>
                  </a:cubicBezTo>
                  <a:cubicBezTo>
                    <a:pt x="345" y="54"/>
                    <a:pt x="345" y="53"/>
                    <a:pt x="347" y="53"/>
                  </a:cubicBezTo>
                  <a:cubicBezTo>
                    <a:pt x="347" y="53"/>
                    <a:pt x="347" y="53"/>
                    <a:pt x="346" y="54"/>
                  </a:cubicBezTo>
                  <a:cubicBezTo>
                    <a:pt x="347" y="54"/>
                    <a:pt x="347" y="54"/>
                    <a:pt x="347" y="54"/>
                  </a:cubicBezTo>
                  <a:cubicBezTo>
                    <a:pt x="349" y="53"/>
                    <a:pt x="352" y="54"/>
                    <a:pt x="355" y="52"/>
                  </a:cubicBezTo>
                  <a:cubicBezTo>
                    <a:pt x="362" y="50"/>
                    <a:pt x="362" y="50"/>
                    <a:pt x="362" y="50"/>
                  </a:cubicBezTo>
                  <a:cubicBezTo>
                    <a:pt x="362" y="49"/>
                    <a:pt x="363" y="49"/>
                    <a:pt x="364" y="49"/>
                  </a:cubicBezTo>
                  <a:cubicBezTo>
                    <a:pt x="364" y="49"/>
                    <a:pt x="364" y="49"/>
                    <a:pt x="364" y="49"/>
                  </a:cubicBezTo>
                  <a:cubicBezTo>
                    <a:pt x="369" y="48"/>
                    <a:pt x="375" y="47"/>
                    <a:pt x="380" y="46"/>
                  </a:cubicBezTo>
                  <a:cubicBezTo>
                    <a:pt x="380" y="46"/>
                    <a:pt x="380" y="46"/>
                    <a:pt x="380" y="46"/>
                  </a:cubicBezTo>
                  <a:cubicBezTo>
                    <a:pt x="379" y="44"/>
                    <a:pt x="379" y="44"/>
                    <a:pt x="379" y="44"/>
                  </a:cubicBezTo>
                  <a:cubicBezTo>
                    <a:pt x="379" y="45"/>
                    <a:pt x="378" y="45"/>
                    <a:pt x="378" y="45"/>
                  </a:cubicBezTo>
                  <a:cubicBezTo>
                    <a:pt x="377" y="44"/>
                    <a:pt x="377" y="44"/>
                    <a:pt x="377" y="44"/>
                  </a:cubicBezTo>
                  <a:cubicBezTo>
                    <a:pt x="379" y="43"/>
                    <a:pt x="379" y="43"/>
                    <a:pt x="379" y="43"/>
                  </a:cubicBezTo>
                  <a:cubicBezTo>
                    <a:pt x="377" y="42"/>
                    <a:pt x="375" y="44"/>
                    <a:pt x="375" y="46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3" y="44"/>
                    <a:pt x="372" y="45"/>
                    <a:pt x="371" y="46"/>
                  </a:cubicBezTo>
                  <a:cubicBezTo>
                    <a:pt x="371" y="47"/>
                    <a:pt x="371" y="47"/>
                    <a:pt x="371" y="47"/>
                  </a:cubicBezTo>
                  <a:cubicBezTo>
                    <a:pt x="370" y="46"/>
                    <a:pt x="370" y="46"/>
                    <a:pt x="369" y="45"/>
                  </a:cubicBezTo>
                  <a:cubicBezTo>
                    <a:pt x="362" y="47"/>
                    <a:pt x="362" y="47"/>
                    <a:pt x="362" y="47"/>
                  </a:cubicBezTo>
                  <a:cubicBezTo>
                    <a:pt x="362" y="47"/>
                    <a:pt x="362" y="47"/>
                    <a:pt x="362" y="47"/>
                  </a:cubicBezTo>
                  <a:cubicBezTo>
                    <a:pt x="362" y="46"/>
                    <a:pt x="361" y="47"/>
                    <a:pt x="361" y="46"/>
                  </a:cubicBezTo>
                  <a:cubicBezTo>
                    <a:pt x="361" y="47"/>
                    <a:pt x="360" y="48"/>
                    <a:pt x="359" y="48"/>
                  </a:cubicBezTo>
                  <a:cubicBezTo>
                    <a:pt x="359" y="47"/>
                    <a:pt x="359" y="47"/>
                    <a:pt x="359" y="47"/>
                  </a:cubicBezTo>
                  <a:cubicBezTo>
                    <a:pt x="358" y="47"/>
                    <a:pt x="358" y="49"/>
                    <a:pt x="356" y="49"/>
                  </a:cubicBezTo>
                  <a:cubicBezTo>
                    <a:pt x="357" y="48"/>
                    <a:pt x="357" y="48"/>
                    <a:pt x="357" y="48"/>
                  </a:cubicBezTo>
                  <a:cubicBezTo>
                    <a:pt x="356" y="47"/>
                    <a:pt x="353" y="47"/>
                    <a:pt x="352" y="48"/>
                  </a:cubicBezTo>
                  <a:cubicBezTo>
                    <a:pt x="352" y="49"/>
                    <a:pt x="352" y="49"/>
                    <a:pt x="352" y="49"/>
                  </a:cubicBezTo>
                  <a:cubicBezTo>
                    <a:pt x="352" y="48"/>
                    <a:pt x="351" y="48"/>
                    <a:pt x="351" y="48"/>
                  </a:cubicBezTo>
                  <a:cubicBezTo>
                    <a:pt x="347" y="49"/>
                    <a:pt x="342" y="49"/>
                    <a:pt x="338" y="50"/>
                  </a:cubicBezTo>
                  <a:cubicBezTo>
                    <a:pt x="336" y="50"/>
                    <a:pt x="333" y="50"/>
                    <a:pt x="331" y="51"/>
                  </a:cubicBezTo>
                  <a:cubicBezTo>
                    <a:pt x="332" y="52"/>
                    <a:pt x="332" y="52"/>
                    <a:pt x="332" y="52"/>
                  </a:cubicBezTo>
                  <a:cubicBezTo>
                    <a:pt x="331" y="51"/>
                    <a:pt x="331" y="51"/>
                    <a:pt x="331" y="51"/>
                  </a:cubicBezTo>
                  <a:cubicBezTo>
                    <a:pt x="330" y="52"/>
                    <a:pt x="330" y="53"/>
                    <a:pt x="331" y="53"/>
                  </a:cubicBezTo>
                  <a:cubicBezTo>
                    <a:pt x="331" y="54"/>
                    <a:pt x="332" y="53"/>
                    <a:pt x="333" y="53"/>
                  </a:cubicBezTo>
                  <a:cubicBezTo>
                    <a:pt x="333" y="54"/>
                    <a:pt x="331" y="54"/>
                    <a:pt x="331" y="55"/>
                  </a:cubicBezTo>
                  <a:cubicBezTo>
                    <a:pt x="330" y="54"/>
                    <a:pt x="330" y="54"/>
                    <a:pt x="330" y="54"/>
                  </a:cubicBezTo>
                  <a:cubicBezTo>
                    <a:pt x="330" y="56"/>
                    <a:pt x="327" y="55"/>
                    <a:pt x="328" y="57"/>
                  </a:cubicBezTo>
                  <a:cubicBezTo>
                    <a:pt x="327" y="56"/>
                    <a:pt x="327" y="56"/>
                    <a:pt x="327" y="56"/>
                  </a:cubicBezTo>
                  <a:cubicBezTo>
                    <a:pt x="327" y="56"/>
                    <a:pt x="328" y="56"/>
                    <a:pt x="328" y="56"/>
                  </a:cubicBezTo>
                  <a:cubicBezTo>
                    <a:pt x="328" y="55"/>
                    <a:pt x="327" y="55"/>
                    <a:pt x="326" y="55"/>
                  </a:cubicBezTo>
                  <a:cubicBezTo>
                    <a:pt x="326" y="55"/>
                    <a:pt x="326" y="55"/>
                    <a:pt x="326" y="55"/>
                  </a:cubicBezTo>
                  <a:cubicBezTo>
                    <a:pt x="328" y="55"/>
                    <a:pt x="329" y="53"/>
                    <a:pt x="330" y="52"/>
                  </a:cubicBezTo>
                  <a:cubicBezTo>
                    <a:pt x="330" y="52"/>
                    <a:pt x="327" y="53"/>
                    <a:pt x="326" y="51"/>
                  </a:cubicBezTo>
                  <a:cubicBezTo>
                    <a:pt x="325" y="52"/>
                    <a:pt x="325" y="52"/>
                    <a:pt x="325" y="52"/>
                  </a:cubicBezTo>
                  <a:cubicBezTo>
                    <a:pt x="326" y="53"/>
                    <a:pt x="326" y="53"/>
                    <a:pt x="327" y="53"/>
                  </a:cubicBezTo>
                  <a:cubicBezTo>
                    <a:pt x="327" y="53"/>
                    <a:pt x="327" y="53"/>
                    <a:pt x="327" y="53"/>
                  </a:cubicBezTo>
                  <a:cubicBezTo>
                    <a:pt x="326" y="53"/>
                    <a:pt x="325" y="52"/>
                    <a:pt x="324" y="52"/>
                  </a:cubicBezTo>
                  <a:cubicBezTo>
                    <a:pt x="323" y="54"/>
                    <a:pt x="322" y="52"/>
                    <a:pt x="320" y="53"/>
                  </a:cubicBezTo>
                  <a:cubicBezTo>
                    <a:pt x="321" y="51"/>
                    <a:pt x="324" y="53"/>
                    <a:pt x="325" y="51"/>
                  </a:cubicBezTo>
                  <a:cubicBezTo>
                    <a:pt x="322" y="51"/>
                    <a:pt x="318" y="52"/>
                    <a:pt x="314" y="52"/>
                  </a:cubicBezTo>
                  <a:cubicBezTo>
                    <a:pt x="314" y="52"/>
                    <a:pt x="313" y="53"/>
                    <a:pt x="313" y="53"/>
                  </a:cubicBezTo>
                  <a:cubicBezTo>
                    <a:pt x="312" y="51"/>
                    <a:pt x="311" y="53"/>
                    <a:pt x="311" y="52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312" y="52"/>
                    <a:pt x="313" y="50"/>
                    <a:pt x="314" y="52"/>
                  </a:cubicBezTo>
                  <a:cubicBezTo>
                    <a:pt x="318" y="49"/>
                    <a:pt x="328" y="52"/>
                    <a:pt x="333" y="48"/>
                  </a:cubicBezTo>
                  <a:cubicBezTo>
                    <a:pt x="332" y="49"/>
                    <a:pt x="333" y="49"/>
                    <a:pt x="333" y="49"/>
                  </a:cubicBezTo>
                  <a:cubicBezTo>
                    <a:pt x="343" y="48"/>
                    <a:pt x="343" y="48"/>
                    <a:pt x="343" y="48"/>
                  </a:cubicBezTo>
                  <a:cubicBezTo>
                    <a:pt x="343" y="47"/>
                    <a:pt x="343" y="47"/>
                    <a:pt x="343" y="47"/>
                  </a:cubicBezTo>
                  <a:cubicBezTo>
                    <a:pt x="344" y="47"/>
                    <a:pt x="344" y="47"/>
                    <a:pt x="344" y="47"/>
                  </a:cubicBezTo>
                  <a:cubicBezTo>
                    <a:pt x="344" y="48"/>
                    <a:pt x="344" y="48"/>
                    <a:pt x="344" y="48"/>
                  </a:cubicBezTo>
                  <a:cubicBezTo>
                    <a:pt x="346" y="47"/>
                    <a:pt x="350" y="48"/>
                    <a:pt x="352" y="47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55" y="47"/>
                    <a:pt x="358" y="46"/>
                    <a:pt x="360" y="46"/>
                  </a:cubicBezTo>
                  <a:cubicBezTo>
                    <a:pt x="360" y="45"/>
                    <a:pt x="360" y="45"/>
                    <a:pt x="361" y="45"/>
                  </a:cubicBezTo>
                  <a:cubicBezTo>
                    <a:pt x="361" y="45"/>
                    <a:pt x="361" y="45"/>
                    <a:pt x="361" y="45"/>
                  </a:cubicBezTo>
                  <a:cubicBezTo>
                    <a:pt x="362" y="45"/>
                    <a:pt x="361" y="45"/>
                    <a:pt x="361" y="46"/>
                  </a:cubicBezTo>
                  <a:cubicBezTo>
                    <a:pt x="362" y="46"/>
                    <a:pt x="364" y="45"/>
                    <a:pt x="365" y="45"/>
                  </a:cubicBezTo>
                  <a:cubicBezTo>
                    <a:pt x="365" y="45"/>
                    <a:pt x="365" y="45"/>
                    <a:pt x="365" y="45"/>
                  </a:cubicBezTo>
                  <a:cubicBezTo>
                    <a:pt x="370" y="45"/>
                    <a:pt x="375" y="42"/>
                    <a:pt x="380" y="43"/>
                  </a:cubicBezTo>
                  <a:cubicBezTo>
                    <a:pt x="380" y="43"/>
                    <a:pt x="379" y="43"/>
                    <a:pt x="379" y="44"/>
                  </a:cubicBezTo>
                  <a:cubicBezTo>
                    <a:pt x="381" y="45"/>
                    <a:pt x="380" y="43"/>
                    <a:pt x="381" y="43"/>
                  </a:cubicBezTo>
                  <a:cubicBezTo>
                    <a:pt x="381" y="42"/>
                    <a:pt x="381" y="42"/>
                    <a:pt x="381" y="42"/>
                  </a:cubicBezTo>
                  <a:cubicBezTo>
                    <a:pt x="380" y="42"/>
                    <a:pt x="384" y="42"/>
                    <a:pt x="384" y="41"/>
                  </a:cubicBezTo>
                  <a:cubicBezTo>
                    <a:pt x="383" y="40"/>
                    <a:pt x="383" y="40"/>
                    <a:pt x="383" y="40"/>
                  </a:cubicBezTo>
                  <a:cubicBezTo>
                    <a:pt x="384" y="41"/>
                    <a:pt x="385" y="38"/>
                    <a:pt x="386" y="40"/>
                  </a:cubicBezTo>
                  <a:cubicBezTo>
                    <a:pt x="387" y="41"/>
                    <a:pt x="387" y="39"/>
                    <a:pt x="387" y="39"/>
                  </a:cubicBezTo>
                  <a:cubicBezTo>
                    <a:pt x="387" y="40"/>
                    <a:pt x="389" y="40"/>
                    <a:pt x="390" y="40"/>
                  </a:cubicBezTo>
                  <a:cubicBezTo>
                    <a:pt x="391" y="39"/>
                    <a:pt x="391" y="39"/>
                    <a:pt x="391" y="39"/>
                  </a:cubicBezTo>
                  <a:cubicBezTo>
                    <a:pt x="390" y="39"/>
                    <a:pt x="390" y="39"/>
                    <a:pt x="390" y="39"/>
                  </a:cubicBezTo>
                  <a:cubicBezTo>
                    <a:pt x="390" y="39"/>
                    <a:pt x="390" y="39"/>
                    <a:pt x="389" y="39"/>
                  </a:cubicBezTo>
                  <a:cubicBezTo>
                    <a:pt x="390" y="38"/>
                    <a:pt x="390" y="38"/>
                    <a:pt x="390" y="38"/>
                  </a:cubicBezTo>
                  <a:cubicBezTo>
                    <a:pt x="387" y="39"/>
                    <a:pt x="386" y="37"/>
                    <a:pt x="383" y="39"/>
                  </a:cubicBezTo>
                  <a:cubicBezTo>
                    <a:pt x="382" y="38"/>
                    <a:pt x="382" y="38"/>
                    <a:pt x="382" y="38"/>
                  </a:cubicBezTo>
                  <a:cubicBezTo>
                    <a:pt x="378" y="39"/>
                    <a:pt x="375" y="39"/>
                    <a:pt x="372" y="40"/>
                  </a:cubicBezTo>
                  <a:cubicBezTo>
                    <a:pt x="371" y="40"/>
                    <a:pt x="371" y="40"/>
                    <a:pt x="370" y="40"/>
                  </a:cubicBezTo>
                  <a:cubicBezTo>
                    <a:pt x="370" y="40"/>
                    <a:pt x="370" y="40"/>
                    <a:pt x="370" y="40"/>
                  </a:cubicBezTo>
                  <a:cubicBezTo>
                    <a:pt x="362" y="41"/>
                    <a:pt x="350" y="42"/>
                    <a:pt x="341" y="43"/>
                  </a:cubicBezTo>
                  <a:cubicBezTo>
                    <a:pt x="341" y="42"/>
                    <a:pt x="341" y="42"/>
                    <a:pt x="341" y="42"/>
                  </a:cubicBezTo>
                  <a:cubicBezTo>
                    <a:pt x="343" y="41"/>
                    <a:pt x="345" y="42"/>
                    <a:pt x="346" y="40"/>
                  </a:cubicBezTo>
                  <a:cubicBezTo>
                    <a:pt x="345" y="42"/>
                    <a:pt x="342" y="38"/>
                    <a:pt x="341" y="41"/>
                  </a:cubicBezTo>
                  <a:cubicBezTo>
                    <a:pt x="340" y="41"/>
                    <a:pt x="340" y="41"/>
                    <a:pt x="340" y="41"/>
                  </a:cubicBezTo>
                  <a:cubicBezTo>
                    <a:pt x="340" y="41"/>
                    <a:pt x="340" y="41"/>
                    <a:pt x="340" y="41"/>
                  </a:cubicBezTo>
                  <a:cubicBezTo>
                    <a:pt x="339" y="41"/>
                    <a:pt x="338" y="41"/>
                    <a:pt x="336" y="42"/>
                  </a:cubicBezTo>
                  <a:cubicBezTo>
                    <a:pt x="336" y="41"/>
                    <a:pt x="336" y="41"/>
                    <a:pt x="336" y="41"/>
                  </a:cubicBezTo>
                  <a:cubicBezTo>
                    <a:pt x="337" y="42"/>
                    <a:pt x="338" y="41"/>
                    <a:pt x="339" y="40"/>
                  </a:cubicBezTo>
                  <a:cubicBezTo>
                    <a:pt x="338" y="40"/>
                    <a:pt x="337" y="40"/>
                    <a:pt x="336" y="40"/>
                  </a:cubicBezTo>
                  <a:cubicBezTo>
                    <a:pt x="336" y="41"/>
                    <a:pt x="335" y="41"/>
                    <a:pt x="335" y="42"/>
                  </a:cubicBezTo>
                  <a:cubicBezTo>
                    <a:pt x="335" y="40"/>
                    <a:pt x="334" y="42"/>
                    <a:pt x="333" y="42"/>
                  </a:cubicBezTo>
                  <a:cubicBezTo>
                    <a:pt x="332" y="41"/>
                    <a:pt x="332" y="41"/>
                    <a:pt x="332" y="41"/>
                  </a:cubicBezTo>
                  <a:cubicBezTo>
                    <a:pt x="331" y="42"/>
                    <a:pt x="330" y="41"/>
                    <a:pt x="331" y="42"/>
                  </a:cubicBezTo>
                  <a:cubicBezTo>
                    <a:pt x="331" y="43"/>
                    <a:pt x="331" y="43"/>
                    <a:pt x="331" y="43"/>
                  </a:cubicBezTo>
                  <a:cubicBezTo>
                    <a:pt x="328" y="43"/>
                    <a:pt x="328" y="43"/>
                    <a:pt x="328" y="43"/>
                  </a:cubicBezTo>
                  <a:cubicBezTo>
                    <a:pt x="328" y="42"/>
                    <a:pt x="331" y="43"/>
                    <a:pt x="330" y="42"/>
                  </a:cubicBezTo>
                  <a:cubicBezTo>
                    <a:pt x="325" y="43"/>
                    <a:pt x="323" y="42"/>
                    <a:pt x="319" y="44"/>
                  </a:cubicBezTo>
                  <a:cubicBezTo>
                    <a:pt x="317" y="42"/>
                    <a:pt x="314" y="44"/>
                    <a:pt x="314" y="44"/>
                  </a:cubicBezTo>
                  <a:cubicBezTo>
                    <a:pt x="314" y="43"/>
                    <a:pt x="316" y="43"/>
                    <a:pt x="316" y="42"/>
                  </a:cubicBezTo>
                  <a:cubicBezTo>
                    <a:pt x="315" y="41"/>
                    <a:pt x="314" y="42"/>
                    <a:pt x="314" y="42"/>
                  </a:cubicBezTo>
                  <a:cubicBezTo>
                    <a:pt x="313" y="42"/>
                    <a:pt x="312" y="43"/>
                    <a:pt x="311" y="44"/>
                  </a:cubicBezTo>
                  <a:cubicBezTo>
                    <a:pt x="311" y="45"/>
                    <a:pt x="311" y="45"/>
                    <a:pt x="311" y="45"/>
                  </a:cubicBezTo>
                  <a:cubicBezTo>
                    <a:pt x="309" y="44"/>
                    <a:pt x="309" y="46"/>
                    <a:pt x="308" y="46"/>
                  </a:cubicBezTo>
                  <a:cubicBezTo>
                    <a:pt x="308" y="45"/>
                    <a:pt x="308" y="45"/>
                    <a:pt x="308" y="45"/>
                  </a:cubicBezTo>
                  <a:cubicBezTo>
                    <a:pt x="309" y="45"/>
                    <a:pt x="308" y="44"/>
                    <a:pt x="308" y="43"/>
                  </a:cubicBezTo>
                  <a:cubicBezTo>
                    <a:pt x="307" y="44"/>
                    <a:pt x="307" y="44"/>
                    <a:pt x="306" y="45"/>
                  </a:cubicBezTo>
                  <a:cubicBezTo>
                    <a:pt x="306" y="44"/>
                    <a:pt x="306" y="44"/>
                    <a:pt x="306" y="44"/>
                  </a:cubicBezTo>
                  <a:cubicBezTo>
                    <a:pt x="306" y="44"/>
                    <a:pt x="305" y="44"/>
                    <a:pt x="305" y="45"/>
                  </a:cubicBezTo>
                  <a:cubicBezTo>
                    <a:pt x="305" y="45"/>
                    <a:pt x="305" y="45"/>
                    <a:pt x="306" y="45"/>
                  </a:cubicBezTo>
                  <a:cubicBezTo>
                    <a:pt x="305" y="45"/>
                    <a:pt x="305" y="45"/>
                    <a:pt x="305" y="45"/>
                  </a:cubicBezTo>
                  <a:cubicBezTo>
                    <a:pt x="305" y="46"/>
                    <a:pt x="304" y="46"/>
                    <a:pt x="303" y="46"/>
                  </a:cubicBezTo>
                  <a:cubicBezTo>
                    <a:pt x="303" y="44"/>
                    <a:pt x="302" y="46"/>
                    <a:pt x="301" y="46"/>
                  </a:cubicBezTo>
                  <a:cubicBezTo>
                    <a:pt x="301" y="46"/>
                    <a:pt x="301" y="46"/>
                    <a:pt x="301" y="46"/>
                  </a:cubicBezTo>
                  <a:cubicBezTo>
                    <a:pt x="299" y="46"/>
                    <a:pt x="296" y="46"/>
                    <a:pt x="295" y="47"/>
                  </a:cubicBezTo>
                  <a:cubicBezTo>
                    <a:pt x="296" y="48"/>
                    <a:pt x="297" y="47"/>
                    <a:pt x="298" y="47"/>
                  </a:cubicBezTo>
                  <a:cubicBezTo>
                    <a:pt x="294" y="48"/>
                    <a:pt x="294" y="48"/>
                    <a:pt x="294" y="48"/>
                  </a:cubicBezTo>
                  <a:cubicBezTo>
                    <a:pt x="294" y="48"/>
                    <a:pt x="294" y="48"/>
                    <a:pt x="294" y="48"/>
                  </a:cubicBezTo>
                  <a:cubicBezTo>
                    <a:pt x="292" y="48"/>
                    <a:pt x="289" y="47"/>
                    <a:pt x="288" y="49"/>
                  </a:cubicBezTo>
                  <a:cubicBezTo>
                    <a:pt x="290" y="49"/>
                    <a:pt x="290" y="49"/>
                    <a:pt x="290" y="49"/>
                  </a:cubicBezTo>
                  <a:cubicBezTo>
                    <a:pt x="289" y="49"/>
                    <a:pt x="289" y="49"/>
                    <a:pt x="289" y="49"/>
                  </a:cubicBezTo>
                  <a:cubicBezTo>
                    <a:pt x="290" y="50"/>
                    <a:pt x="290" y="49"/>
                    <a:pt x="291" y="49"/>
                  </a:cubicBezTo>
                  <a:cubicBezTo>
                    <a:pt x="291" y="49"/>
                    <a:pt x="291" y="49"/>
                    <a:pt x="291" y="49"/>
                  </a:cubicBezTo>
                  <a:cubicBezTo>
                    <a:pt x="292" y="48"/>
                    <a:pt x="292" y="48"/>
                    <a:pt x="292" y="48"/>
                  </a:cubicBezTo>
                  <a:cubicBezTo>
                    <a:pt x="292" y="49"/>
                    <a:pt x="292" y="49"/>
                    <a:pt x="293" y="49"/>
                  </a:cubicBezTo>
                  <a:cubicBezTo>
                    <a:pt x="293" y="49"/>
                    <a:pt x="293" y="49"/>
                    <a:pt x="293" y="49"/>
                  </a:cubicBezTo>
                  <a:cubicBezTo>
                    <a:pt x="292" y="51"/>
                    <a:pt x="289" y="50"/>
                    <a:pt x="287" y="51"/>
                  </a:cubicBezTo>
                  <a:cubicBezTo>
                    <a:pt x="288" y="50"/>
                    <a:pt x="287" y="50"/>
                    <a:pt x="286" y="50"/>
                  </a:cubicBezTo>
                  <a:cubicBezTo>
                    <a:pt x="286" y="51"/>
                    <a:pt x="285" y="50"/>
                    <a:pt x="285" y="51"/>
                  </a:cubicBezTo>
                  <a:cubicBezTo>
                    <a:pt x="285" y="52"/>
                    <a:pt x="286" y="52"/>
                    <a:pt x="286" y="52"/>
                  </a:cubicBezTo>
                  <a:cubicBezTo>
                    <a:pt x="285" y="52"/>
                    <a:pt x="285" y="52"/>
                    <a:pt x="285" y="52"/>
                  </a:cubicBezTo>
                  <a:cubicBezTo>
                    <a:pt x="285" y="52"/>
                    <a:pt x="284" y="51"/>
                    <a:pt x="284" y="51"/>
                  </a:cubicBezTo>
                  <a:cubicBezTo>
                    <a:pt x="283" y="52"/>
                    <a:pt x="283" y="52"/>
                    <a:pt x="283" y="52"/>
                  </a:cubicBezTo>
                  <a:cubicBezTo>
                    <a:pt x="283" y="51"/>
                    <a:pt x="282" y="51"/>
                    <a:pt x="282" y="51"/>
                  </a:cubicBezTo>
                  <a:cubicBezTo>
                    <a:pt x="281" y="53"/>
                    <a:pt x="278" y="51"/>
                    <a:pt x="277" y="53"/>
                  </a:cubicBezTo>
                  <a:cubicBezTo>
                    <a:pt x="277" y="54"/>
                    <a:pt x="278" y="53"/>
                    <a:pt x="279" y="53"/>
                  </a:cubicBezTo>
                  <a:cubicBezTo>
                    <a:pt x="279" y="54"/>
                    <a:pt x="279" y="54"/>
                    <a:pt x="279" y="54"/>
                  </a:cubicBezTo>
                  <a:cubicBezTo>
                    <a:pt x="282" y="54"/>
                    <a:pt x="287" y="54"/>
                    <a:pt x="291" y="54"/>
                  </a:cubicBezTo>
                  <a:cubicBezTo>
                    <a:pt x="288" y="57"/>
                    <a:pt x="285" y="53"/>
                    <a:pt x="282" y="55"/>
                  </a:cubicBezTo>
                  <a:cubicBezTo>
                    <a:pt x="284" y="57"/>
                    <a:pt x="289" y="55"/>
                    <a:pt x="291" y="55"/>
                  </a:cubicBezTo>
                  <a:cubicBezTo>
                    <a:pt x="292" y="56"/>
                    <a:pt x="292" y="56"/>
                    <a:pt x="292" y="56"/>
                  </a:cubicBezTo>
                  <a:cubicBezTo>
                    <a:pt x="290" y="57"/>
                    <a:pt x="287" y="56"/>
                    <a:pt x="286" y="57"/>
                  </a:cubicBezTo>
                  <a:cubicBezTo>
                    <a:pt x="289" y="58"/>
                    <a:pt x="292" y="57"/>
                    <a:pt x="294" y="55"/>
                  </a:cubicBezTo>
                  <a:cubicBezTo>
                    <a:pt x="295" y="55"/>
                    <a:pt x="296" y="56"/>
                    <a:pt x="296" y="55"/>
                  </a:cubicBezTo>
                  <a:cubicBezTo>
                    <a:pt x="296" y="57"/>
                    <a:pt x="295" y="57"/>
                    <a:pt x="294" y="58"/>
                  </a:cubicBezTo>
                  <a:cubicBezTo>
                    <a:pt x="292" y="57"/>
                    <a:pt x="292" y="57"/>
                    <a:pt x="292" y="57"/>
                  </a:cubicBezTo>
                  <a:cubicBezTo>
                    <a:pt x="290" y="59"/>
                    <a:pt x="285" y="56"/>
                    <a:pt x="283" y="59"/>
                  </a:cubicBezTo>
                  <a:cubicBezTo>
                    <a:pt x="282" y="58"/>
                    <a:pt x="281" y="60"/>
                    <a:pt x="280" y="60"/>
                  </a:cubicBezTo>
                  <a:cubicBezTo>
                    <a:pt x="281" y="61"/>
                    <a:pt x="281" y="60"/>
                    <a:pt x="282" y="60"/>
                  </a:cubicBezTo>
                  <a:cubicBezTo>
                    <a:pt x="281" y="61"/>
                    <a:pt x="281" y="61"/>
                    <a:pt x="281" y="61"/>
                  </a:cubicBezTo>
                  <a:cubicBezTo>
                    <a:pt x="286" y="60"/>
                    <a:pt x="293" y="59"/>
                    <a:pt x="299" y="57"/>
                  </a:cubicBezTo>
                  <a:cubicBezTo>
                    <a:pt x="298" y="59"/>
                    <a:pt x="295" y="59"/>
                    <a:pt x="293" y="60"/>
                  </a:cubicBezTo>
                  <a:cubicBezTo>
                    <a:pt x="294" y="60"/>
                    <a:pt x="294" y="60"/>
                    <a:pt x="294" y="60"/>
                  </a:cubicBezTo>
                  <a:cubicBezTo>
                    <a:pt x="293" y="60"/>
                    <a:pt x="293" y="60"/>
                    <a:pt x="293" y="60"/>
                  </a:cubicBezTo>
                  <a:cubicBezTo>
                    <a:pt x="291" y="62"/>
                    <a:pt x="291" y="62"/>
                    <a:pt x="291" y="62"/>
                  </a:cubicBezTo>
                  <a:cubicBezTo>
                    <a:pt x="290" y="61"/>
                    <a:pt x="290" y="61"/>
                    <a:pt x="290" y="61"/>
                  </a:cubicBezTo>
                  <a:cubicBezTo>
                    <a:pt x="291" y="64"/>
                    <a:pt x="287" y="63"/>
                    <a:pt x="285" y="64"/>
                  </a:cubicBezTo>
                  <a:cubicBezTo>
                    <a:pt x="286" y="65"/>
                    <a:pt x="286" y="65"/>
                    <a:pt x="286" y="65"/>
                  </a:cubicBezTo>
                  <a:cubicBezTo>
                    <a:pt x="285" y="65"/>
                    <a:pt x="285" y="65"/>
                    <a:pt x="285" y="65"/>
                  </a:cubicBezTo>
                  <a:cubicBezTo>
                    <a:pt x="285" y="64"/>
                    <a:pt x="285" y="64"/>
                    <a:pt x="285" y="64"/>
                  </a:cubicBezTo>
                  <a:cubicBezTo>
                    <a:pt x="283" y="64"/>
                    <a:pt x="281" y="64"/>
                    <a:pt x="279" y="65"/>
                  </a:cubicBezTo>
                  <a:cubicBezTo>
                    <a:pt x="281" y="65"/>
                    <a:pt x="281" y="65"/>
                    <a:pt x="281" y="65"/>
                  </a:cubicBezTo>
                  <a:cubicBezTo>
                    <a:pt x="279" y="67"/>
                    <a:pt x="274" y="66"/>
                    <a:pt x="273" y="68"/>
                  </a:cubicBezTo>
                  <a:cubicBezTo>
                    <a:pt x="276" y="70"/>
                    <a:pt x="278" y="66"/>
                    <a:pt x="282" y="67"/>
                  </a:cubicBezTo>
                  <a:cubicBezTo>
                    <a:pt x="282" y="67"/>
                    <a:pt x="282" y="67"/>
                    <a:pt x="281" y="67"/>
                  </a:cubicBezTo>
                  <a:cubicBezTo>
                    <a:pt x="282" y="68"/>
                    <a:pt x="282" y="69"/>
                    <a:pt x="283" y="69"/>
                  </a:cubicBezTo>
                  <a:cubicBezTo>
                    <a:pt x="284" y="68"/>
                    <a:pt x="284" y="68"/>
                    <a:pt x="284" y="68"/>
                  </a:cubicBezTo>
                  <a:cubicBezTo>
                    <a:pt x="283" y="69"/>
                    <a:pt x="283" y="69"/>
                    <a:pt x="283" y="69"/>
                  </a:cubicBezTo>
                  <a:cubicBezTo>
                    <a:pt x="284" y="70"/>
                    <a:pt x="285" y="70"/>
                    <a:pt x="286" y="70"/>
                  </a:cubicBezTo>
                  <a:cubicBezTo>
                    <a:pt x="287" y="71"/>
                    <a:pt x="291" y="69"/>
                    <a:pt x="292" y="71"/>
                  </a:cubicBezTo>
                  <a:cubicBezTo>
                    <a:pt x="293" y="71"/>
                    <a:pt x="296" y="69"/>
                    <a:pt x="297" y="71"/>
                  </a:cubicBezTo>
                  <a:cubicBezTo>
                    <a:pt x="302" y="70"/>
                    <a:pt x="307" y="70"/>
                    <a:pt x="311" y="72"/>
                  </a:cubicBezTo>
                  <a:cubicBezTo>
                    <a:pt x="316" y="73"/>
                    <a:pt x="322" y="71"/>
                    <a:pt x="328" y="72"/>
                  </a:cubicBezTo>
                  <a:cubicBezTo>
                    <a:pt x="330" y="72"/>
                    <a:pt x="329" y="71"/>
                    <a:pt x="329" y="70"/>
                  </a:cubicBezTo>
                  <a:cubicBezTo>
                    <a:pt x="330" y="71"/>
                    <a:pt x="330" y="71"/>
                    <a:pt x="330" y="71"/>
                  </a:cubicBezTo>
                  <a:cubicBezTo>
                    <a:pt x="329" y="72"/>
                    <a:pt x="329" y="72"/>
                    <a:pt x="329" y="72"/>
                  </a:cubicBezTo>
                  <a:cubicBezTo>
                    <a:pt x="330" y="72"/>
                    <a:pt x="331" y="72"/>
                    <a:pt x="332" y="72"/>
                  </a:cubicBezTo>
                  <a:cubicBezTo>
                    <a:pt x="332" y="72"/>
                    <a:pt x="332" y="71"/>
                    <a:pt x="332" y="71"/>
                  </a:cubicBezTo>
                  <a:cubicBezTo>
                    <a:pt x="334" y="72"/>
                    <a:pt x="337" y="71"/>
                    <a:pt x="339" y="70"/>
                  </a:cubicBezTo>
                  <a:cubicBezTo>
                    <a:pt x="335" y="70"/>
                    <a:pt x="335" y="70"/>
                    <a:pt x="335" y="70"/>
                  </a:cubicBezTo>
                  <a:cubicBezTo>
                    <a:pt x="338" y="68"/>
                    <a:pt x="343" y="67"/>
                    <a:pt x="347" y="67"/>
                  </a:cubicBezTo>
                  <a:cubicBezTo>
                    <a:pt x="345" y="69"/>
                    <a:pt x="341" y="66"/>
                    <a:pt x="341" y="70"/>
                  </a:cubicBezTo>
                  <a:cubicBezTo>
                    <a:pt x="339" y="70"/>
                    <a:pt x="338" y="71"/>
                    <a:pt x="337" y="72"/>
                  </a:cubicBezTo>
                  <a:cubicBezTo>
                    <a:pt x="339" y="75"/>
                    <a:pt x="343" y="72"/>
                    <a:pt x="345" y="72"/>
                  </a:cubicBezTo>
                  <a:cubicBezTo>
                    <a:pt x="345" y="72"/>
                    <a:pt x="345" y="73"/>
                    <a:pt x="345" y="74"/>
                  </a:cubicBezTo>
                  <a:cubicBezTo>
                    <a:pt x="346" y="74"/>
                    <a:pt x="347" y="75"/>
                    <a:pt x="348" y="74"/>
                  </a:cubicBezTo>
                  <a:cubicBezTo>
                    <a:pt x="352" y="75"/>
                    <a:pt x="358" y="75"/>
                    <a:pt x="363" y="76"/>
                  </a:cubicBezTo>
                  <a:cubicBezTo>
                    <a:pt x="367" y="77"/>
                    <a:pt x="371" y="77"/>
                    <a:pt x="374" y="77"/>
                  </a:cubicBezTo>
                  <a:cubicBezTo>
                    <a:pt x="376" y="78"/>
                    <a:pt x="376" y="78"/>
                    <a:pt x="378" y="79"/>
                  </a:cubicBezTo>
                  <a:cubicBezTo>
                    <a:pt x="383" y="79"/>
                    <a:pt x="388" y="80"/>
                    <a:pt x="394" y="81"/>
                  </a:cubicBezTo>
                  <a:cubicBezTo>
                    <a:pt x="394" y="81"/>
                    <a:pt x="394" y="81"/>
                    <a:pt x="394" y="81"/>
                  </a:cubicBezTo>
                  <a:cubicBezTo>
                    <a:pt x="394" y="80"/>
                    <a:pt x="393" y="80"/>
                    <a:pt x="393" y="80"/>
                  </a:cubicBezTo>
                  <a:cubicBezTo>
                    <a:pt x="396" y="80"/>
                    <a:pt x="401" y="82"/>
                    <a:pt x="405" y="82"/>
                  </a:cubicBezTo>
                  <a:cubicBezTo>
                    <a:pt x="405" y="82"/>
                    <a:pt x="405" y="81"/>
                    <a:pt x="406" y="81"/>
                  </a:cubicBezTo>
                  <a:cubicBezTo>
                    <a:pt x="406" y="81"/>
                    <a:pt x="406" y="81"/>
                    <a:pt x="406" y="81"/>
                  </a:cubicBezTo>
                  <a:cubicBezTo>
                    <a:pt x="406" y="82"/>
                    <a:pt x="406" y="82"/>
                    <a:pt x="406" y="82"/>
                  </a:cubicBezTo>
                  <a:cubicBezTo>
                    <a:pt x="412" y="84"/>
                    <a:pt x="412" y="84"/>
                    <a:pt x="412" y="84"/>
                  </a:cubicBezTo>
                  <a:cubicBezTo>
                    <a:pt x="412" y="83"/>
                    <a:pt x="412" y="83"/>
                    <a:pt x="412" y="83"/>
                  </a:cubicBezTo>
                  <a:cubicBezTo>
                    <a:pt x="412" y="83"/>
                    <a:pt x="413" y="83"/>
                    <a:pt x="413" y="83"/>
                  </a:cubicBezTo>
                  <a:cubicBezTo>
                    <a:pt x="412" y="84"/>
                    <a:pt x="412" y="84"/>
                    <a:pt x="412" y="84"/>
                  </a:cubicBezTo>
                  <a:cubicBezTo>
                    <a:pt x="414" y="85"/>
                    <a:pt x="416" y="84"/>
                    <a:pt x="417" y="85"/>
                  </a:cubicBezTo>
                  <a:cubicBezTo>
                    <a:pt x="417" y="84"/>
                    <a:pt x="417" y="84"/>
                    <a:pt x="417" y="84"/>
                  </a:cubicBezTo>
                  <a:cubicBezTo>
                    <a:pt x="418" y="86"/>
                    <a:pt x="421" y="86"/>
                    <a:pt x="423" y="87"/>
                  </a:cubicBezTo>
                  <a:cubicBezTo>
                    <a:pt x="420" y="86"/>
                    <a:pt x="415" y="85"/>
                    <a:pt x="411" y="8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3" name="Rectangle 15">
              <a:extLst>
                <a:ext uri="{FF2B5EF4-FFF2-40B4-BE49-F238E27FC236}">
                  <a16:creationId xmlns:a16="http://schemas.microsoft.com/office/drawing/2014/main" id="{25F7419B-E25F-6814-A22B-60B1C030B1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22026" y="2645277"/>
              <a:ext cx="12673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4" name="Freeform 16">
              <a:extLst>
                <a:ext uri="{FF2B5EF4-FFF2-40B4-BE49-F238E27FC236}">
                  <a16:creationId xmlns:a16="http://schemas.microsoft.com/office/drawing/2014/main" id="{1D0F0E5B-6960-DC54-491C-E64C4FE6A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0145" y="2718145"/>
              <a:ext cx="11881" cy="11881"/>
            </a:xfrm>
            <a:custGeom>
              <a:avLst/>
              <a:gdLst>
                <a:gd name="T0" fmla="*/ 0 w 15"/>
                <a:gd name="T1" fmla="*/ 15 h 15"/>
                <a:gd name="T2" fmla="*/ 15 w 15"/>
                <a:gd name="T3" fmla="*/ 0 h 15"/>
                <a:gd name="T4" fmla="*/ 15 w 15"/>
                <a:gd name="T5" fmla="*/ 15 h 15"/>
                <a:gd name="T6" fmla="*/ 0 w 15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15"/>
                  </a:moveTo>
                  <a:lnTo>
                    <a:pt x="15" y="0"/>
                  </a:lnTo>
                  <a:lnTo>
                    <a:pt x="15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C5D46438-75F3-C51C-479D-CD16711AE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6384" y="2802893"/>
              <a:ext cx="35642" cy="0"/>
            </a:xfrm>
            <a:custGeom>
              <a:avLst/>
              <a:gdLst>
                <a:gd name="T0" fmla="*/ 0 w 45"/>
                <a:gd name="T1" fmla="*/ 45 w 45"/>
                <a:gd name="T2" fmla="*/ 15 w 45"/>
                <a:gd name="T3" fmla="*/ 0 w 4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45">
                  <a:moveTo>
                    <a:pt x="0" y="0"/>
                  </a:moveTo>
                  <a:lnTo>
                    <a:pt x="45" y="0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6" name="Freeform 18">
              <a:extLst>
                <a:ext uri="{FF2B5EF4-FFF2-40B4-BE49-F238E27FC236}">
                  <a16:creationId xmlns:a16="http://schemas.microsoft.com/office/drawing/2014/main" id="{E2F126AF-F1DF-E546-50A0-9C2D96914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8460" y="3362073"/>
              <a:ext cx="23761" cy="24553"/>
            </a:xfrm>
            <a:custGeom>
              <a:avLst/>
              <a:gdLst>
                <a:gd name="T0" fmla="*/ 0 w 2"/>
                <a:gd name="T1" fmla="*/ 1 h 2"/>
                <a:gd name="T2" fmla="*/ 2 w 2"/>
                <a:gd name="T3" fmla="*/ 1 h 2"/>
                <a:gd name="T4" fmla="*/ 0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1" y="2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7" name="Freeform 19">
              <a:extLst>
                <a:ext uri="{FF2B5EF4-FFF2-40B4-BE49-F238E27FC236}">
                  <a16:creationId xmlns:a16="http://schemas.microsoft.com/office/drawing/2014/main" id="{8FEBEBE3-2AAA-B0F0-734E-2F1766DEE0A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9950" y="2718145"/>
              <a:ext cx="48314" cy="36434"/>
            </a:xfrm>
            <a:custGeom>
              <a:avLst/>
              <a:gdLst>
                <a:gd name="T0" fmla="*/ 0 w 4"/>
                <a:gd name="T1" fmla="*/ 3 h 3"/>
                <a:gd name="T2" fmla="*/ 2 w 4"/>
                <a:gd name="T3" fmla="*/ 1 h 3"/>
                <a:gd name="T4" fmla="*/ 4 w 4"/>
                <a:gd name="T5" fmla="*/ 0 h 3"/>
                <a:gd name="T6" fmla="*/ 0 w 4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cubicBezTo>
                    <a:pt x="0" y="2"/>
                    <a:pt x="2" y="2"/>
                    <a:pt x="2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3"/>
                    <a:pt x="0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8" name="Freeform 20">
              <a:extLst>
                <a:ext uri="{FF2B5EF4-FFF2-40B4-BE49-F238E27FC236}">
                  <a16:creationId xmlns:a16="http://schemas.microsoft.com/office/drawing/2014/main" id="{F92B568A-15E9-BFFD-C9BB-8D5B27EFA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504" y="2705472"/>
              <a:ext cx="11881" cy="12673"/>
            </a:xfrm>
            <a:custGeom>
              <a:avLst/>
              <a:gdLst>
                <a:gd name="T0" fmla="*/ 15 w 15"/>
                <a:gd name="T1" fmla="*/ 0 h 16"/>
                <a:gd name="T2" fmla="*/ 15 w 15"/>
                <a:gd name="T3" fmla="*/ 0 h 16"/>
                <a:gd name="T4" fmla="*/ 0 w 15"/>
                <a:gd name="T5" fmla="*/ 16 h 16"/>
                <a:gd name="T6" fmla="*/ 0 w 15"/>
                <a:gd name="T7" fmla="*/ 0 h 16"/>
                <a:gd name="T8" fmla="*/ 15 w 1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5" y="0"/>
                  </a:moveTo>
                  <a:lnTo>
                    <a:pt x="15" y="0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9" name="Freeform 21">
              <a:extLst>
                <a:ext uri="{FF2B5EF4-FFF2-40B4-BE49-F238E27FC236}">
                  <a16:creationId xmlns:a16="http://schemas.microsoft.com/office/drawing/2014/main" id="{7E3F0C41-5F8E-3060-41F0-CBDFB0A9A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2026" y="3350192"/>
              <a:ext cx="12673" cy="23761"/>
            </a:xfrm>
            <a:custGeom>
              <a:avLst/>
              <a:gdLst>
                <a:gd name="T0" fmla="*/ 0 w 1"/>
                <a:gd name="T1" fmla="*/ 1 h 2"/>
                <a:gd name="T2" fmla="*/ 1 w 1"/>
                <a:gd name="T3" fmla="*/ 2 h 2"/>
                <a:gd name="T4" fmla="*/ 0 w 1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0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0" name="Freeform 22">
              <a:extLst>
                <a:ext uri="{FF2B5EF4-FFF2-40B4-BE49-F238E27FC236}">
                  <a16:creationId xmlns:a16="http://schemas.microsoft.com/office/drawing/2014/main" id="{E118A627-ED50-C1A9-1212-383C6C2AC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8070" y="2705472"/>
              <a:ext cx="11881" cy="12673"/>
            </a:xfrm>
            <a:custGeom>
              <a:avLst/>
              <a:gdLst>
                <a:gd name="T0" fmla="*/ 0 w 15"/>
                <a:gd name="T1" fmla="*/ 16 h 16"/>
                <a:gd name="T2" fmla="*/ 15 w 15"/>
                <a:gd name="T3" fmla="*/ 0 h 16"/>
                <a:gd name="T4" fmla="*/ 15 w 15"/>
                <a:gd name="T5" fmla="*/ 0 h 16"/>
                <a:gd name="T6" fmla="*/ 0 w 15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0" y="16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1" name="Rectangle 23">
              <a:extLst>
                <a:ext uri="{FF2B5EF4-FFF2-40B4-BE49-F238E27FC236}">
                  <a16:creationId xmlns:a16="http://schemas.microsoft.com/office/drawing/2014/main" id="{7C8E09F3-9DC2-E117-723B-E44A3AA6C4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8070" y="2802893"/>
              <a:ext cx="1188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1E706745-FE6C-68C7-733F-A2780CE68A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7875" y="2547856"/>
              <a:ext cx="23761" cy="11881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2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1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3" name="Freeform 25">
              <a:extLst>
                <a:ext uri="{FF2B5EF4-FFF2-40B4-BE49-F238E27FC236}">
                  <a16:creationId xmlns:a16="http://schemas.microsoft.com/office/drawing/2014/main" id="{71142975-1132-5779-649E-59EA45156A5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9755" y="2730025"/>
              <a:ext cx="24553" cy="24553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1 h 2"/>
                <a:gd name="T4" fmla="*/ 2 w 2"/>
                <a:gd name="T5" fmla="*/ 0 h 2"/>
                <a:gd name="T6" fmla="*/ 1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2" y="1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1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4" name="Freeform 26">
              <a:extLst>
                <a:ext uri="{FF2B5EF4-FFF2-40B4-BE49-F238E27FC236}">
                  <a16:creationId xmlns:a16="http://schemas.microsoft.com/office/drawing/2014/main" id="{79C26B8C-8221-452D-9656-3677D0ADCB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5799" y="2815566"/>
              <a:ext cx="95837" cy="36434"/>
            </a:xfrm>
            <a:custGeom>
              <a:avLst/>
              <a:gdLst>
                <a:gd name="T0" fmla="*/ 0 w 8"/>
                <a:gd name="T1" fmla="*/ 3 h 3"/>
                <a:gd name="T2" fmla="*/ 2 w 8"/>
                <a:gd name="T3" fmla="*/ 1 h 3"/>
                <a:gd name="T4" fmla="*/ 4 w 8"/>
                <a:gd name="T5" fmla="*/ 2 h 3"/>
                <a:gd name="T6" fmla="*/ 7 w 8"/>
                <a:gd name="T7" fmla="*/ 0 h 3"/>
                <a:gd name="T8" fmla="*/ 5 w 8"/>
                <a:gd name="T9" fmla="*/ 2 h 3"/>
                <a:gd name="T10" fmla="*/ 8 w 8"/>
                <a:gd name="T11" fmla="*/ 2 h 3"/>
                <a:gd name="T12" fmla="*/ 0 w 8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0" y="3"/>
                  </a:moveTo>
                  <a:cubicBezTo>
                    <a:pt x="1" y="2"/>
                    <a:pt x="2" y="2"/>
                    <a:pt x="2" y="1"/>
                  </a:cubicBezTo>
                  <a:cubicBezTo>
                    <a:pt x="2" y="1"/>
                    <a:pt x="3" y="2"/>
                    <a:pt x="4" y="2"/>
                  </a:cubicBezTo>
                  <a:cubicBezTo>
                    <a:pt x="4" y="1"/>
                    <a:pt x="6" y="1"/>
                    <a:pt x="7" y="0"/>
                  </a:cubicBezTo>
                  <a:cubicBezTo>
                    <a:pt x="6" y="1"/>
                    <a:pt x="5" y="1"/>
                    <a:pt x="5" y="2"/>
                  </a:cubicBezTo>
                  <a:cubicBezTo>
                    <a:pt x="8" y="2"/>
                    <a:pt x="8" y="2"/>
                    <a:pt x="8" y="2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5" name="Freeform 27">
              <a:extLst>
                <a:ext uri="{FF2B5EF4-FFF2-40B4-BE49-F238E27FC236}">
                  <a16:creationId xmlns:a16="http://schemas.microsoft.com/office/drawing/2014/main" id="{81869A8C-687B-14AC-5312-04A14A11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4309" y="3337519"/>
              <a:ext cx="47522" cy="0"/>
            </a:xfrm>
            <a:custGeom>
              <a:avLst/>
              <a:gdLst>
                <a:gd name="T0" fmla="*/ 60 w 60"/>
                <a:gd name="T1" fmla="*/ 0 w 60"/>
                <a:gd name="T2" fmla="*/ 60 w 6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0">
                  <a:moveTo>
                    <a:pt x="60" y="0"/>
                  </a:moveTo>
                  <a:lnTo>
                    <a:pt x="0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6" name="Freeform 28">
              <a:extLst>
                <a:ext uri="{FF2B5EF4-FFF2-40B4-BE49-F238E27FC236}">
                  <a16:creationId xmlns:a16="http://schemas.microsoft.com/office/drawing/2014/main" id="{9F1CA66D-CBD4-01CA-D79B-BA0428525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1246" y="2730025"/>
              <a:ext cx="96629" cy="60987"/>
            </a:xfrm>
            <a:custGeom>
              <a:avLst/>
              <a:gdLst>
                <a:gd name="T0" fmla="*/ 8 w 8"/>
                <a:gd name="T1" fmla="*/ 2 h 5"/>
                <a:gd name="T2" fmla="*/ 8 w 8"/>
                <a:gd name="T3" fmla="*/ 3 h 5"/>
                <a:gd name="T4" fmla="*/ 8 w 8"/>
                <a:gd name="T5" fmla="*/ 2 h 5"/>
                <a:gd name="T6" fmla="*/ 5 w 8"/>
                <a:gd name="T7" fmla="*/ 3 h 5"/>
                <a:gd name="T8" fmla="*/ 7 w 8"/>
                <a:gd name="T9" fmla="*/ 4 h 5"/>
                <a:gd name="T10" fmla="*/ 4 w 8"/>
                <a:gd name="T11" fmla="*/ 5 h 5"/>
                <a:gd name="T12" fmla="*/ 4 w 8"/>
                <a:gd name="T13" fmla="*/ 4 h 5"/>
                <a:gd name="T14" fmla="*/ 0 w 8"/>
                <a:gd name="T15" fmla="*/ 5 h 5"/>
                <a:gd name="T16" fmla="*/ 2 w 8"/>
                <a:gd name="T17" fmla="*/ 3 h 5"/>
                <a:gd name="T18" fmla="*/ 3 w 8"/>
                <a:gd name="T19" fmla="*/ 5 h 5"/>
                <a:gd name="T20" fmla="*/ 5 w 8"/>
                <a:gd name="T21" fmla="*/ 2 h 5"/>
                <a:gd name="T22" fmla="*/ 5 w 8"/>
                <a:gd name="T23" fmla="*/ 3 h 5"/>
                <a:gd name="T24" fmla="*/ 8 w 8"/>
                <a:gd name="T25" fmla="*/ 2 h 5"/>
                <a:gd name="T26" fmla="*/ 8 w 8"/>
                <a:gd name="T27" fmla="*/ 3 h 5"/>
                <a:gd name="T28" fmla="*/ 8 w 8"/>
                <a:gd name="T2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5">
                  <a:moveTo>
                    <a:pt x="8" y="2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6" y="4"/>
                    <a:pt x="5" y="4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5"/>
                    <a:pt x="2" y="4"/>
                    <a:pt x="0" y="5"/>
                  </a:cubicBezTo>
                  <a:cubicBezTo>
                    <a:pt x="1" y="3"/>
                    <a:pt x="2" y="5"/>
                    <a:pt x="2" y="3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4"/>
                    <a:pt x="5" y="3"/>
                    <a:pt x="5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0"/>
                    <a:pt x="7" y="3"/>
                    <a:pt x="8" y="2"/>
                  </a:cubicBezTo>
                  <a:cubicBezTo>
                    <a:pt x="8" y="3"/>
                    <a:pt x="8" y="3"/>
                    <a:pt x="8" y="3"/>
                  </a:cubicBezTo>
                  <a:lnTo>
                    <a:pt x="8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6D9FEC4F-495F-1261-825F-7F1E0A796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9560" y="2584290"/>
              <a:ext cx="24553" cy="11881"/>
            </a:xfrm>
            <a:custGeom>
              <a:avLst/>
              <a:gdLst>
                <a:gd name="T0" fmla="*/ 0 w 31"/>
                <a:gd name="T1" fmla="*/ 15 h 15"/>
                <a:gd name="T2" fmla="*/ 31 w 31"/>
                <a:gd name="T3" fmla="*/ 0 h 15"/>
                <a:gd name="T4" fmla="*/ 31 w 31"/>
                <a:gd name="T5" fmla="*/ 15 h 15"/>
                <a:gd name="T6" fmla="*/ 0 w 31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15">
                  <a:moveTo>
                    <a:pt x="0" y="15"/>
                  </a:moveTo>
                  <a:lnTo>
                    <a:pt x="31" y="0"/>
                  </a:lnTo>
                  <a:lnTo>
                    <a:pt x="31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53653A9E-C342-EDFD-69F1-60B49F596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9560" y="2559737"/>
              <a:ext cx="11881" cy="1267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1 h 1"/>
                <a:gd name="T4" fmla="*/ 0 w 1"/>
                <a:gd name="T5" fmla="*/ 0 h 1"/>
                <a:gd name="T6" fmla="*/ 1 w 1"/>
                <a:gd name="T7" fmla="*/ 0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4E7A4CB6-1E1E-A194-5119-E0B85EE5D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5799" y="2997735"/>
              <a:ext cx="72076" cy="23761"/>
            </a:xfrm>
            <a:custGeom>
              <a:avLst/>
              <a:gdLst>
                <a:gd name="T0" fmla="*/ 1 w 6"/>
                <a:gd name="T1" fmla="*/ 2 h 2"/>
                <a:gd name="T2" fmla="*/ 0 w 6"/>
                <a:gd name="T3" fmla="*/ 1 h 2"/>
                <a:gd name="T4" fmla="*/ 6 w 6"/>
                <a:gd name="T5" fmla="*/ 0 h 2"/>
                <a:gd name="T6" fmla="*/ 1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1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1"/>
                    <a:pt x="2" y="1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EEF64C92-9349-CD41-1D52-16346E636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9560" y="2718145"/>
              <a:ext cx="11881" cy="11881"/>
            </a:xfrm>
            <a:custGeom>
              <a:avLst/>
              <a:gdLst>
                <a:gd name="T0" fmla="*/ 0 w 15"/>
                <a:gd name="T1" fmla="*/ 0 h 15"/>
                <a:gd name="T2" fmla="*/ 15 w 15"/>
                <a:gd name="T3" fmla="*/ 15 h 15"/>
                <a:gd name="T4" fmla="*/ 0 w 15"/>
                <a:gd name="T5" fmla="*/ 15 h 15"/>
                <a:gd name="T6" fmla="*/ 0 w 15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0"/>
                  </a:moveTo>
                  <a:lnTo>
                    <a:pt x="15" y="15"/>
                  </a:lnTo>
                  <a:lnTo>
                    <a:pt x="0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1" name="Freeform 33">
              <a:extLst>
                <a:ext uri="{FF2B5EF4-FFF2-40B4-BE49-F238E27FC236}">
                  <a16:creationId xmlns:a16="http://schemas.microsoft.com/office/drawing/2014/main" id="{E3DFAE5B-1AA7-1F18-13F8-1B83D33EFA2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7875" y="3325639"/>
              <a:ext cx="23761" cy="0"/>
            </a:xfrm>
            <a:custGeom>
              <a:avLst/>
              <a:gdLst>
                <a:gd name="T0" fmla="*/ 30 w 30"/>
                <a:gd name="T1" fmla="*/ 0 w 30"/>
                <a:gd name="T2" fmla="*/ 3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0">
                  <a:moveTo>
                    <a:pt x="30" y="0"/>
                  </a:moveTo>
                  <a:lnTo>
                    <a:pt x="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2" name="Freeform 34">
              <a:extLst>
                <a:ext uri="{FF2B5EF4-FFF2-40B4-BE49-F238E27FC236}">
                  <a16:creationId xmlns:a16="http://schemas.microsoft.com/office/drawing/2014/main" id="{126ACDC0-F728-251D-E1E6-C967DA15B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5604" y="2596171"/>
              <a:ext cx="48314" cy="12673"/>
            </a:xfrm>
            <a:custGeom>
              <a:avLst/>
              <a:gdLst>
                <a:gd name="T0" fmla="*/ 61 w 61"/>
                <a:gd name="T1" fmla="*/ 0 h 16"/>
                <a:gd name="T2" fmla="*/ 61 w 61"/>
                <a:gd name="T3" fmla="*/ 0 h 16"/>
                <a:gd name="T4" fmla="*/ 0 w 61"/>
                <a:gd name="T5" fmla="*/ 16 h 16"/>
                <a:gd name="T6" fmla="*/ 0 w 61"/>
                <a:gd name="T7" fmla="*/ 16 h 16"/>
                <a:gd name="T8" fmla="*/ 61 w 61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6">
                  <a:moveTo>
                    <a:pt x="61" y="0"/>
                  </a:moveTo>
                  <a:lnTo>
                    <a:pt x="61" y="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3" name="Freeform 35">
              <a:extLst>
                <a:ext uri="{FF2B5EF4-FFF2-40B4-BE49-F238E27FC236}">
                  <a16:creationId xmlns:a16="http://schemas.microsoft.com/office/drawing/2014/main" id="{25D534D0-FC85-A502-0669-C162AFF46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8975" y="2705472"/>
              <a:ext cx="132271" cy="36434"/>
            </a:xfrm>
            <a:custGeom>
              <a:avLst/>
              <a:gdLst>
                <a:gd name="T0" fmla="*/ 5 w 11"/>
                <a:gd name="T1" fmla="*/ 3 h 3"/>
                <a:gd name="T2" fmla="*/ 0 w 11"/>
                <a:gd name="T3" fmla="*/ 3 h 3"/>
                <a:gd name="T4" fmla="*/ 3 w 11"/>
                <a:gd name="T5" fmla="*/ 1 h 3"/>
                <a:gd name="T6" fmla="*/ 2 w 11"/>
                <a:gd name="T7" fmla="*/ 2 h 3"/>
                <a:gd name="T8" fmla="*/ 5 w 11"/>
                <a:gd name="T9" fmla="*/ 2 h 3"/>
                <a:gd name="T10" fmla="*/ 7 w 11"/>
                <a:gd name="T11" fmla="*/ 1 h 3"/>
                <a:gd name="T12" fmla="*/ 11 w 11"/>
                <a:gd name="T13" fmla="*/ 1 h 3"/>
                <a:gd name="T14" fmla="*/ 5 w 11"/>
                <a:gd name="T1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3">
                  <a:moveTo>
                    <a:pt x="5" y="3"/>
                  </a:moveTo>
                  <a:cubicBezTo>
                    <a:pt x="4" y="1"/>
                    <a:pt x="2" y="3"/>
                    <a:pt x="0" y="3"/>
                  </a:cubicBezTo>
                  <a:cubicBezTo>
                    <a:pt x="2" y="3"/>
                    <a:pt x="1" y="0"/>
                    <a:pt x="3" y="1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3" y="2"/>
                    <a:pt x="4" y="2"/>
                    <a:pt x="5" y="2"/>
                  </a:cubicBezTo>
                  <a:cubicBezTo>
                    <a:pt x="4" y="1"/>
                    <a:pt x="7" y="3"/>
                    <a:pt x="7" y="1"/>
                  </a:cubicBezTo>
                  <a:cubicBezTo>
                    <a:pt x="8" y="1"/>
                    <a:pt x="10" y="1"/>
                    <a:pt x="11" y="1"/>
                  </a:cubicBezTo>
                  <a:cubicBezTo>
                    <a:pt x="5" y="3"/>
                    <a:pt x="5" y="3"/>
                    <a:pt x="5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4" name="Freeform 36">
              <a:extLst>
                <a:ext uri="{FF2B5EF4-FFF2-40B4-BE49-F238E27FC236}">
                  <a16:creationId xmlns:a16="http://schemas.microsoft.com/office/drawing/2014/main" id="{BC666D8B-F8C1-C596-1E89-A7556F79A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5604" y="2766459"/>
              <a:ext cx="35642" cy="24553"/>
            </a:xfrm>
            <a:custGeom>
              <a:avLst/>
              <a:gdLst>
                <a:gd name="T0" fmla="*/ 1 w 3"/>
                <a:gd name="T1" fmla="*/ 2 h 2"/>
                <a:gd name="T2" fmla="*/ 0 w 3"/>
                <a:gd name="T3" fmla="*/ 1 h 2"/>
                <a:gd name="T4" fmla="*/ 3 w 3"/>
                <a:gd name="T5" fmla="*/ 1 h 2"/>
                <a:gd name="T6" fmla="*/ 1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3" y="0"/>
                    <a:pt x="3" y="1"/>
                  </a:cubicBezTo>
                  <a:cubicBezTo>
                    <a:pt x="3" y="2"/>
                    <a:pt x="1" y="0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5" name="Freeform 37">
              <a:extLst>
                <a:ext uri="{FF2B5EF4-FFF2-40B4-BE49-F238E27FC236}">
                  <a16:creationId xmlns:a16="http://schemas.microsoft.com/office/drawing/2014/main" id="{8E5C44F2-B1C5-E61C-F009-86C8F41125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680" y="3313758"/>
              <a:ext cx="23761" cy="0"/>
            </a:xfrm>
            <a:custGeom>
              <a:avLst/>
              <a:gdLst>
                <a:gd name="T0" fmla="*/ 30 w 30"/>
                <a:gd name="T1" fmla="*/ 0 w 30"/>
                <a:gd name="T2" fmla="*/ 3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0">
                  <a:moveTo>
                    <a:pt x="30" y="0"/>
                  </a:moveTo>
                  <a:lnTo>
                    <a:pt x="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6" name="Rectangle 38">
              <a:extLst>
                <a:ext uri="{FF2B5EF4-FFF2-40B4-BE49-F238E27FC236}">
                  <a16:creationId xmlns:a16="http://schemas.microsoft.com/office/drawing/2014/main" id="{4E55F575-8D80-4AE2-CC5E-2CDC56F088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69365" y="2851999"/>
              <a:ext cx="1188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7" name="Freeform 39">
              <a:extLst>
                <a:ext uri="{FF2B5EF4-FFF2-40B4-BE49-F238E27FC236}">
                  <a16:creationId xmlns:a16="http://schemas.microsoft.com/office/drawing/2014/main" id="{7FE5D9BC-EA47-8370-C453-1CBC251DD0D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7290" y="2596171"/>
              <a:ext cx="23761" cy="12673"/>
            </a:xfrm>
            <a:custGeom>
              <a:avLst/>
              <a:gdLst>
                <a:gd name="T0" fmla="*/ 30 w 30"/>
                <a:gd name="T1" fmla="*/ 0 h 16"/>
                <a:gd name="T2" fmla="*/ 30 w 30"/>
                <a:gd name="T3" fmla="*/ 16 h 16"/>
                <a:gd name="T4" fmla="*/ 0 w 30"/>
                <a:gd name="T5" fmla="*/ 16 h 16"/>
                <a:gd name="T6" fmla="*/ 0 w 30"/>
                <a:gd name="T7" fmla="*/ 16 h 16"/>
                <a:gd name="T8" fmla="*/ 30 w 3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30" y="0"/>
                  </a:moveTo>
                  <a:lnTo>
                    <a:pt x="3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8" name="Rectangle 40">
              <a:extLst>
                <a:ext uri="{FF2B5EF4-FFF2-40B4-BE49-F238E27FC236}">
                  <a16:creationId xmlns:a16="http://schemas.microsoft.com/office/drawing/2014/main" id="{B2ED3FAA-EE72-BD36-8695-0DE8015580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1051" y="2924867"/>
              <a:ext cx="24553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9" name="Freeform 41">
              <a:extLst>
                <a:ext uri="{FF2B5EF4-FFF2-40B4-BE49-F238E27FC236}">
                  <a16:creationId xmlns:a16="http://schemas.microsoft.com/office/drawing/2014/main" id="{7F3FE194-2349-D519-0260-1927AB4F8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3529" y="2924867"/>
              <a:ext cx="35642" cy="11881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0 h 1"/>
                <a:gd name="T4" fmla="*/ 3 w 3"/>
                <a:gd name="T5" fmla="*/ 0 h 1"/>
                <a:gd name="T6" fmla="*/ 3 w 3"/>
                <a:gd name="T7" fmla="*/ 1 h 1"/>
                <a:gd name="T8" fmla="*/ 0 w 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1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0" name="Freeform 42">
              <a:extLst>
                <a:ext uri="{FF2B5EF4-FFF2-40B4-BE49-F238E27FC236}">
                  <a16:creationId xmlns:a16="http://schemas.microsoft.com/office/drawing/2014/main" id="{0F258E7B-FD9F-C07B-92D2-0385B5499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3724" y="3398506"/>
              <a:ext cx="23761" cy="12673"/>
            </a:xfrm>
            <a:custGeom>
              <a:avLst/>
              <a:gdLst>
                <a:gd name="T0" fmla="*/ 30 w 30"/>
                <a:gd name="T1" fmla="*/ 0 h 16"/>
                <a:gd name="T2" fmla="*/ 0 w 30"/>
                <a:gd name="T3" fmla="*/ 16 h 16"/>
                <a:gd name="T4" fmla="*/ 30 w 30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16">
                  <a:moveTo>
                    <a:pt x="30" y="0"/>
                  </a:moveTo>
                  <a:lnTo>
                    <a:pt x="0" y="16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1" name="Freeform 43">
              <a:extLst>
                <a:ext uri="{FF2B5EF4-FFF2-40B4-BE49-F238E27FC236}">
                  <a16:creationId xmlns:a16="http://schemas.microsoft.com/office/drawing/2014/main" id="{F535FCBF-1A57-437D-A9F2-04D79C655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3724" y="3350192"/>
              <a:ext cx="23761" cy="11881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0"/>
                    <a:pt x="1" y="1"/>
                    <a:pt x="2" y="1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2" name="Rectangle 44">
              <a:extLst>
                <a:ext uri="{FF2B5EF4-FFF2-40B4-BE49-F238E27FC236}">
                  <a16:creationId xmlns:a16="http://schemas.microsoft.com/office/drawing/2014/main" id="{83928091-0EF7-4870-D07D-1A33822D54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61648" y="2875761"/>
              <a:ext cx="23761" cy="12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3" name="Freeform 45">
              <a:extLst>
                <a:ext uri="{FF2B5EF4-FFF2-40B4-BE49-F238E27FC236}">
                  <a16:creationId xmlns:a16="http://schemas.microsoft.com/office/drawing/2014/main" id="{B2DE3C54-3592-59CD-9E93-DBD628323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1051" y="3373953"/>
              <a:ext cx="12673" cy="1267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4" name="Freeform 46">
              <a:extLst>
                <a:ext uri="{FF2B5EF4-FFF2-40B4-BE49-F238E27FC236}">
                  <a16:creationId xmlns:a16="http://schemas.microsoft.com/office/drawing/2014/main" id="{202BD39E-61D3-29E7-9807-EB01027AA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8975" y="3411179"/>
              <a:ext cx="84748" cy="23761"/>
            </a:xfrm>
            <a:custGeom>
              <a:avLst/>
              <a:gdLst>
                <a:gd name="T0" fmla="*/ 0 w 7"/>
                <a:gd name="T1" fmla="*/ 0 h 2"/>
                <a:gd name="T2" fmla="*/ 7 w 7"/>
                <a:gd name="T3" fmla="*/ 1 h 2"/>
                <a:gd name="T4" fmla="*/ 0 w 7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">
                  <a:moveTo>
                    <a:pt x="0" y="0"/>
                  </a:moveTo>
                  <a:cubicBezTo>
                    <a:pt x="2" y="0"/>
                    <a:pt x="5" y="0"/>
                    <a:pt x="7" y="1"/>
                  </a:cubicBezTo>
                  <a:cubicBezTo>
                    <a:pt x="5" y="2"/>
                    <a:pt x="2" y="0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5" name="Freeform 47">
              <a:extLst>
                <a:ext uri="{FF2B5EF4-FFF2-40B4-BE49-F238E27FC236}">
                  <a16:creationId xmlns:a16="http://schemas.microsoft.com/office/drawing/2014/main" id="{4FEB586C-E6D0-395C-F103-9374615EE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1453" y="2730025"/>
              <a:ext cx="35642" cy="11881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1"/>
                    <a:pt x="2" y="0"/>
                    <a:pt x="3" y="0"/>
                  </a:cubicBezTo>
                  <a:cubicBezTo>
                    <a:pt x="3" y="1"/>
                    <a:pt x="1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6" name="Freeform 48">
              <a:extLst>
                <a:ext uri="{FF2B5EF4-FFF2-40B4-BE49-F238E27FC236}">
                  <a16:creationId xmlns:a16="http://schemas.microsoft.com/office/drawing/2014/main" id="{CCC30178-90EC-1209-DD9F-A12B9B0E7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6900" y="2596171"/>
              <a:ext cx="24553" cy="12673"/>
            </a:xfrm>
            <a:custGeom>
              <a:avLst/>
              <a:gdLst>
                <a:gd name="T0" fmla="*/ 0 w 31"/>
                <a:gd name="T1" fmla="*/ 16 h 16"/>
                <a:gd name="T2" fmla="*/ 31 w 31"/>
                <a:gd name="T3" fmla="*/ 0 h 16"/>
                <a:gd name="T4" fmla="*/ 15 w 31"/>
                <a:gd name="T5" fmla="*/ 16 h 16"/>
                <a:gd name="T6" fmla="*/ 0 w 31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16">
                  <a:moveTo>
                    <a:pt x="0" y="16"/>
                  </a:moveTo>
                  <a:lnTo>
                    <a:pt x="31" y="0"/>
                  </a:lnTo>
                  <a:lnTo>
                    <a:pt x="15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7" name="Freeform 49">
              <a:extLst>
                <a:ext uri="{FF2B5EF4-FFF2-40B4-BE49-F238E27FC236}">
                  <a16:creationId xmlns:a16="http://schemas.microsoft.com/office/drawing/2014/main" id="{C0691149-CDE9-BEE6-0B19-CE1386B76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1453" y="2802893"/>
              <a:ext cx="23761" cy="24553"/>
            </a:xfrm>
            <a:custGeom>
              <a:avLst/>
              <a:gdLst>
                <a:gd name="T0" fmla="*/ 0 w 30"/>
                <a:gd name="T1" fmla="*/ 16 h 31"/>
                <a:gd name="T2" fmla="*/ 30 w 30"/>
                <a:gd name="T3" fmla="*/ 0 h 31"/>
                <a:gd name="T4" fmla="*/ 0 w 30"/>
                <a:gd name="T5" fmla="*/ 31 h 31"/>
                <a:gd name="T6" fmla="*/ 0 w 30"/>
                <a:gd name="T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31">
                  <a:moveTo>
                    <a:pt x="0" y="16"/>
                  </a:moveTo>
                  <a:lnTo>
                    <a:pt x="30" y="0"/>
                  </a:lnTo>
                  <a:lnTo>
                    <a:pt x="0" y="31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8" name="Freeform 50">
              <a:extLst>
                <a:ext uri="{FF2B5EF4-FFF2-40B4-BE49-F238E27FC236}">
                  <a16:creationId xmlns:a16="http://schemas.microsoft.com/office/drawing/2014/main" id="{5C53E9C2-BA53-7EA9-64DD-B1F6E4275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3334" y="2888433"/>
              <a:ext cx="23761" cy="11881"/>
            </a:xfrm>
            <a:custGeom>
              <a:avLst/>
              <a:gdLst>
                <a:gd name="T0" fmla="*/ 30 w 30"/>
                <a:gd name="T1" fmla="*/ 0 h 15"/>
                <a:gd name="T2" fmla="*/ 30 w 30"/>
                <a:gd name="T3" fmla="*/ 0 h 15"/>
                <a:gd name="T4" fmla="*/ 0 w 30"/>
                <a:gd name="T5" fmla="*/ 15 h 15"/>
                <a:gd name="T6" fmla="*/ 0 w 30"/>
                <a:gd name="T7" fmla="*/ 0 h 15"/>
                <a:gd name="T8" fmla="*/ 30 w 3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5">
                  <a:moveTo>
                    <a:pt x="30" y="0"/>
                  </a:moveTo>
                  <a:lnTo>
                    <a:pt x="30" y="0"/>
                  </a:lnTo>
                  <a:lnTo>
                    <a:pt x="0" y="15"/>
                  </a:lnTo>
                  <a:lnTo>
                    <a:pt x="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9" name="Freeform 51">
              <a:extLst>
                <a:ext uri="{FF2B5EF4-FFF2-40B4-BE49-F238E27FC236}">
                  <a16:creationId xmlns:a16="http://schemas.microsoft.com/office/drawing/2014/main" id="{E9CB6FEE-DB43-BC21-5EFA-CD0A33C00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1453" y="3009615"/>
              <a:ext cx="47522" cy="24553"/>
            </a:xfrm>
            <a:custGeom>
              <a:avLst/>
              <a:gdLst>
                <a:gd name="T0" fmla="*/ 0 w 4"/>
                <a:gd name="T1" fmla="*/ 2 h 2"/>
                <a:gd name="T2" fmla="*/ 0 w 4"/>
                <a:gd name="T3" fmla="*/ 1 h 2"/>
                <a:gd name="T4" fmla="*/ 4 w 4"/>
                <a:gd name="T5" fmla="*/ 0 h 2"/>
                <a:gd name="T6" fmla="*/ 0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0" name="Freeform 52">
              <a:extLst>
                <a:ext uri="{FF2B5EF4-FFF2-40B4-BE49-F238E27FC236}">
                  <a16:creationId xmlns:a16="http://schemas.microsoft.com/office/drawing/2014/main" id="{AA5BA637-2A3A-9967-799D-719421187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8975" y="3362073"/>
              <a:ext cx="36434" cy="24553"/>
            </a:xfrm>
            <a:custGeom>
              <a:avLst/>
              <a:gdLst>
                <a:gd name="T0" fmla="*/ 0 w 3"/>
                <a:gd name="T1" fmla="*/ 2 h 2"/>
                <a:gd name="T2" fmla="*/ 3 w 3"/>
                <a:gd name="T3" fmla="*/ 1 h 2"/>
                <a:gd name="T4" fmla="*/ 0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1" y="1"/>
                    <a:pt x="2" y="0"/>
                    <a:pt x="3" y="1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1" name="Freeform 53">
              <a:extLst>
                <a:ext uri="{FF2B5EF4-FFF2-40B4-BE49-F238E27FC236}">
                  <a16:creationId xmlns:a16="http://schemas.microsoft.com/office/drawing/2014/main" id="{3B308C9B-649A-4519-9625-0D1B10CF7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1258" y="2596171"/>
              <a:ext cx="35642" cy="12673"/>
            </a:xfrm>
            <a:custGeom>
              <a:avLst/>
              <a:gdLst>
                <a:gd name="T0" fmla="*/ 0 w 45"/>
                <a:gd name="T1" fmla="*/ 16 h 16"/>
                <a:gd name="T2" fmla="*/ 45 w 45"/>
                <a:gd name="T3" fmla="*/ 0 h 16"/>
                <a:gd name="T4" fmla="*/ 15 w 45"/>
                <a:gd name="T5" fmla="*/ 16 h 16"/>
                <a:gd name="T6" fmla="*/ 0 w 45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16">
                  <a:moveTo>
                    <a:pt x="0" y="16"/>
                  </a:moveTo>
                  <a:lnTo>
                    <a:pt x="45" y="0"/>
                  </a:lnTo>
                  <a:lnTo>
                    <a:pt x="15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2" name="Freeform 54">
              <a:extLst>
                <a:ext uri="{FF2B5EF4-FFF2-40B4-BE49-F238E27FC236}">
                  <a16:creationId xmlns:a16="http://schemas.microsoft.com/office/drawing/2014/main" id="{2D8B6BE1-FD93-6DFE-69FC-64BF45F487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8780" y="2985062"/>
              <a:ext cx="36434" cy="12673"/>
            </a:xfrm>
            <a:custGeom>
              <a:avLst/>
              <a:gdLst>
                <a:gd name="T0" fmla="*/ 31 w 46"/>
                <a:gd name="T1" fmla="*/ 0 h 16"/>
                <a:gd name="T2" fmla="*/ 46 w 46"/>
                <a:gd name="T3" fmla="*/ 16 h 16"/>
                <a:gd name="T4" fmla="*/ 0 w 46"/>
                <a:gd name="T5" fmla="*/ 16 h 16"/>
                <a:gd name="T6" fmla="*/ 0 w 46"/>
                <a:gd name="T7" fmla="*/ 16 h 16"/>
                <a:gd name="T8" fmla="*/ 31 w 46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6">
                  <a:moveTo>
                    <a:pt x="31" y="0"/>
                  </a:moveTo>
                  <a:lnTo>
                    <a:pt x="46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3" name="Freeform 55">
              <a:extLst>
                <a:ext uri="{FF2B5EF4-FFF2-40B4-BE49-F238E27FC236}">
                  <a16:creationId xmlns:a16="http://schemas.microsoft.com/office/drawing/2014/main" id="{E19544DA-6399-46D5-273B-950F21434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8780" y="3240891"/>
              <a:ext cx="48314" cy="11881"/>
            </a:xfrm>
            <a:custGeom>
              <a:avLst/>
              <a:gdLst>
                <a:gd name="T0" fmla="*/ 0 w 4"/>
                <a:gd name="T1" fmla="*/ 1 h 1"/>
                <a:gd name="T2" fmla="*/ 4 w 4"/>
                <a:gd name="T3" fmla="*/ 1 h 1"/>
                <a:gd name="T4" fmla="*/ 0 w 4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cubicBezTo>
                    <a:pt x="1" y="0"/>
                    <a:pt x="3" y="0"/>
                    <a:pt x="4" y="1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4" name="Freeform 56">
              <a:extLst>
                <a:ext uri="{FF2B5EF4-FFF2-40B4-BE49-F238E27FC236}">
                  <a16:creationId xmlns:a16="http://schemas.microsoft.com/office/drawing/2014/main" id="{B6913BDC-2DE9-8B96-D5A4-FA770C4B8B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3139" y="2900314"/>
              <a:ext cx="23761" cy="0"/>
            </a:xfrm>
            <a:custGeom>
              <a:avLst/>
              <a:gdLst>
                <a:gd name="T0" fmla="*/ 30 w 30"/>
                <a:gd name="T1" fmla="*/ 0 w 30"/>
                <a:gd name="T2" fmla="*/ 3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0">
                  <a:moveTo>
                    <a:pt x="30" y="0"/>
                  </a:moveTo>
                  <a:lnTo>
                    <a:pt x="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5" name="Freeform 57">
              <a:extLst>
                <a:ext uri="{FF2B5EF4-FFF2-40B4-BE49-F238E27FC236}">
                  <a16:creationId xmlns:a16="http://schemas.microsoft.com/office/drawing/2014/main" id="{1BB1CCDA-99C0-250E-BCE2-AAD79846443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1258" y="2827446"/>
              <a:ext cx="11881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6" name="Freeform 58">
              <a:extLst>
                <a:ext uri="{FF2B5EF4-FFF2-40B4-BE49-F238E27FC236}">
                  <a16:creationId xmlns:a16="http://schemas.microsoft.com/office/drawing/2014/main" id="{EF0A6F0F-7C35-7D98-8251-F7675E4F1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8586" y="3009615"/>
              <a:ext cx="48314" cy="24553"/>
            </a:xfrm>
            <a:custGeom>
              <a:avLst/>
              <a:gdLst>
                <a:gd name="T0" fmla="*/ 0 w 4"/>
                <a:gd name="T1" fmla="*/ 2 h 2"/>
                <a:gd name="T2" fmla="*/ 0 w 4"/>
                <a:gd name="T3" fmla="*/ 1 h 2"/>
                <a:gd name="T4" fmla="*/ 4 w 4"/>
                <a:gd name="T5" fmla="*/ 0 h 2"/>
                <a:gd name="T6" fmla="*/ 0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"/>
                    <a:pt x="1" y="1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7" name="Freeform 59">
              <a:extLst>
                <a:ext uri="{FF2B5EF4-FFF2-40B4-BE49-F238E27FC236}">
                  <a16:creationId xmlns:a16="http://schemas.microsoft.com/office/drawing/2014/main" id="{0A9535DE-3630-0968-1515-91EC265223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239" y="2948628"/>
              <a:ext cx="240780" cy="97421"/>
            </a:xfrm>
            <a:custGeom>
              <a:avLst/>
              <a:gdLst>
                <a:gd name="T0" fmla="*/ 19 w 20"/>
                <a:gd name="T1" fmla="*/ 1 h 8"/>
                <a:gd name="T2" fmla="*/ 20 w 20"/>
                <a:gd name="T3" fmla="*/ 2 h 8"/>
                <a:gd name="T4" fmla="*/ 14 w 20"/>
                <a:gd name="T5" fmla="*/ 4 h 8"/>
                <a:gd name="T6" fmla="*/ 7 w 20"/>
                <a:gd name="T7" fmla="*/ 5 h 8"/>
                <a:gd name="T8" fmla="*/ 0 w 20"/>
                <a:gd name="T9" fmla="*/ 8 h 8"/>
                <a:gd name="T10" fmla="*/ 18 w 20"/>
                <a:gd name="T11" fmla="*/ 2 h 8"/>
                <a:gd name="T12" fmla="*/ 20 w 20"/>
                <a:gd name="T13" fmla="*/ 0 h 8"/>
                <a:gd name="T14" fmla="*/ 19 w 20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8">
                  <a:moveTo>
                    <a:pt x="19" y="1"/>
                  </a:moveTo>
                  <a:cubicBezTo>
                    <a:pt x="20" y="2"/>
                    <a:pt x="20" y="2"/>
                    <a:pt x="20" y="2"/>
                  </a:cubicBezTo>
                  <a:cubicBezTo>
                    <a:pt x="18" y="1"/>
                    <a:pt x="17" y="6"/>
                    <a:pt x="14" y="4"/>
                  </a:cubicBezTo>
                  <a:cubicBezTo>
                    <a:pt x="12" y="5"/>
                    <a:pt x="10" y="4"/>
                    <a:pt x="7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5" y="5"/>
                    <a:pt x="12" y="5"/>
                    <a:pt x="18" y="2"/>
                  </a:cubicBezTo>
                  <a:cubicBezTo>
                    <a:pt x="18" y="0"/>
                    <a:pt x="20" y="1"/>
                    <a:pt x="20" y="0"/>
                  </a:cubicBezTo>
                  <a:lnTo>
                    <a:pt x="19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8" name="Rectangle 60">
              <a:extLst>
                <a:ext uri="{FF2B5EF4-FFF2-40B4-BE49-F238E27FC236}">
                  <a16:creationId xmlns:a16="http://schemas.microsoft.com/office/drawing/2014/main" id="{2DB95155-C539-18AE-7E73-915E7FA8F1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3139" y="3082483"/>
              <a:ext cx="1188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9" name="Freeform 61">
              <a:extLst>
                <a:ext uri="{FF2B5EF4-FFF2-40B4-BE49-F238E27FC236}">
                  <a16:creationId xmlns:a16="http://schemas.microsoft.com/office/drawing/2014/main" id="{C31700BF-3363-8631-62CE-C7CA4AECE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8586" y="2948628"/>
              <a:ext cx="12673" cy="24553"/>
            </a:xfrm>
            <a:custGeom>
              <a:avLst/>
              <a:gdLst>
                <a:gd name="T0" fmla="*/ 0 w 1"/>
                <a:gd name="T1" fmla="*/ 2 h 2"/>
                <a:gd name="T2" fmla="*/ 0 w 1"/>
                <a:gd name="T3" fmla="*/ 0 h 2"/>
                <a:gd name="T4" fmla="*/ 1 w 1"/>
                <a:gd name="T5" fmla="*/ 2 h 2"/>
                <a:gd name="T6" fmla="*/ 0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2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0" name="Freeform 62">
              <a:extLst>
                <a:ext uri="{FF2B5EF4-FFF2-40B4-BE49-F238E27FC236}">
                  <a16:creationId xmlns:a16="http://schemas.microsoft.com/office/drawing/2014/main" id="{5C3306D0-3FE2-2F27-9DC2-1A4A2598D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2944" y="2912194"/>
              <a:ext cx="23761" cy="12673"/>
            </a:xfrm>
            <a:custGeom>
              <a:avLst/>
              <a:gdLst>
                <a:gd name="T0" fmla="*/ 30 w 30"/>
                <a:gd name="T1" fmla="*/ 0 h 16"/>
                <a:gd name="T2" fmla="*/ 30 w 30"/>
                <a:gd name="T3" fmla="*/ 0 h 16"/>
                <a:gd name="T4" fmla="*/ 15 w 30"/>
                <a:gd name="T5" fmla="*/ 16 h 16"/>
                <a:gd name="T6" fmla="*/ 0 w 30"/>
                <a:gd name="T7" fmla="*/ 0 h 16"/>
                <a:gd name="T8" fmla="*/ 30 w 3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30" y="0"/>
                  </a:moveTo>
                  <a:lnTo>
                    <a:pt x="30" y="0"/>
                  </a:lnTo>
                  <a:lnTo>
                    <a:pt x="15" y="16"/>
                  </a:lnTo>
                  <a:lnTo>
                    <a:pt x="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1" name="Freeform 63">
              <a:extLst>
                <a:ext uri="{FF2B5EF4-FFF2-40B4-BE49-F238E27FC236}">
                  <a16:creationId xmlns:a16="http://schemas.microsoft.com/office/drawing/2014/main" id="{2E20FE41-9B36-1C2F-A241-7259473D04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2944" y="3082483"/>
              <a:ext cx="48314" cy="12673"/>
            </a:xfrm>
            <a:custGeom>
              <a:avLst/>
              <a:gdLst>
                <a:gd name="T0" fmla="*/ 0 w 61"/>
                <a:gd name="T1" fmla="*/ 16 h 16"/>
                <a:gd name="T2" fmla="*/ 61 w 61"/>
                <a:gd name="T3" fmla="*/ 0 h 16"/>
                <a:gd name="T4" fmla="*/ 45 w 61"/>
                <a:gd name="T5" fmla="*/ 16 h 16"/>
                <a:gd name="T6" fmla="*/ 0 w 61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1" h="16">
                  <a:moveTo>
                    <a:pt x="0" y="16"/>
                  </a:moveTo>
                  <a:lnTo>
                    <a:pt x="61" y="0"/>
                  </a:lnTo>
                  <a:lnTo>
                    <a:pt x="45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2" name="Freeform 64">
              <a:extLst>
                <a:ext uri="{FF2B5EF4-FFF2-40B4-BE49-F238E27FC236}">
                  <a16:creationId xmlns:a16="http://schemas.microsoft.com/office/drawing/2014/main" id="{C9A35F23-7DC5-AB84-76A9-FC902EB83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4824" y="3034168"/>
              <a:ext cx="23761" cy="11881"/>
            </a:xfrm>
            <a:custGeom>
              <a:avLst/>
              <a:gdLst>
                <a:gd name="T0" fmla="*/ 0 w 30"/>
                <a:gd name="T1" fmla="*/ 15 h 15"/>
                <a:gd name="T2" fmla="*/ 30 w 30"/>
                <a:gd name="T3" fmla="*/ 0 h 15"/>
                <a:gd name="T4" fmla="*/ 30 w 30"/>
                <a:gd name="T5" fmla="*/ 15 h 15"/>
                <a:gd name="T6" fmla="*/ 0 w 30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5">
                  <a:moveTo>
                    <a:pt x="0" y="15"/>
                  </a:moveTo>
                  <a:lnTo>
                    <a:pt x="30" y="0"/>
                  </a:lnTo>
                  <a:lnTo>
                    <a:pt x="3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3" name="Freeform 65">
              <a:extLst>
                <a:ext uri="{FF2B5EF4-FFF2-40B4-BE49-F238E27FC236}">
                  <a16:creationId xmlns:a16="http://schemas.microsoft.com/office/drawing/2014/main" id="{7BC22EFC-4056-61F5-EF80-12F94E87B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8391" y="3277325"/>
              <a:ext cx="96629" cy="23761"/>
            </a:xfrm>
            <a:custGeom>
              <a:avLst/>
              <a:gdLst>
                <a:gd name="T0" fmla="*/ 6 w 8"/>
                <a:gd name="T1" fmla="*/ 2 h 2"/>
                <a:gd name="T2" fmla="*/ 0 w 8"/>
                <a:gd name="T3" fmla="*/ 1 h 2"/>
                <a:gd name="T4" fmla="*/ 6 w 8"/>
                <a:gd name="T5" fmla="*/ 1 h 2"/>
                <a:gd name="T6" fmla="*/ 5 w 8"/>
                <a:gd name="T7" fmla="*/ 2 h 2"/>
                <a:gd name="T8" fmla="*/ 8 w 8"/>
                <a:gd name="T9" fmla="*/ 2 h 2"/>
                <a:gd name="T10" fmla="*/ 6 w 8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5" y="2"/>
                    <a:pt x="2" y="1"/>
                    <a:pt x="0" y="1"/>
                  </a:cubicBezTo>
                  <a:cubicBezTo>
                    <a:pt x="2" y="0"/>
                    <a:pt x="5" y="2"/>
                    <a:pt x="6" y="1"/>
                  </a:cubicBezTo>
                  <a:cubicBezTo>
                    <a:pt x="5" y="1"/>
                    <a:pt x="5" y="1"/>
                    <a:pt x="5" y="2"/>
                  </a:cubicBezTo>
                  <a:cubicBezTo>
                    <a:pt x="8" y="2"/>
                    <a:pt x="8" y="2"/>
                    <a:pt x="8" y="2"/>
                  </a:cubicBezTo>
                  <a:lnTo>
                    <a:pt x="6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4" name="Freeform 66">
              <a:extLst>
                <a:ext uri="{FF2B5EF4-FFF2-40B4-BE49-F238E27FC236}">
                  <a16:creationId xmlns:a16="http://schemas.microsoft.com/office/drawing/2014/main" id="{35CAB4B4-F9FA-FC99-E662-BD89396DAA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8586" y="3411179"/>
              <a:ext cx="36434" cy="0"/>
            </a:xfrm>
            <a:custGeom>
              <a:avLst/>
              <a:gdLst>
                <a:gd name="T0" fmla="*/ 46 w 46"/>
                <a:gd name="T1" fmla="*/ 0 w 46"/>
                <a:gd name="T2" fmla="*/ 46 w 4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6">
                  <a:moveTo>
                    <a:pt x="46" y="0"/>
                  </a:moveTo>
                  <a:lnTo>
                    <a:pt x="0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5" name="Rectangle 67">
              <a:extLst>
                <a:ext uri="{FF2B5EF4-FFF2-40B4-BE49-F238E27FC236}">
                  <a16:creationId xmlns:a16="http://schemas.microsoft.com/office/drawing/2014/main" id="{7EAFD140-952D-3BE4-15FC-F88FBF1C28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1453" y="3836504"/>
              <a:ext cx="1188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6" name="Freeform 68">
              <a:extLst>
                <a:ext uri="{FF2B5EF4-FFF2-40B4-BE49-F238E27FC236}">
                  <a16:creationId xmlns:a16="http://schemas.microsoft.com/office/drawing/2014/main" id="{6D1C5F99-DEA3-6380-B75C-8B7E4AA8B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8586" y="3325639"/>
              <a:ext cx="24553" cy="11881"/>
            </a:xfrm>
            <a:custGeom>
              <a:avLst/>
              <a:gdLst>
                <a:gd name="T0" fmla="*/ 1 w 2"/>
                <a:gd name="T1" fmla="*/ 1 h 1"/>
                <a:gd name="T2" fmla="*/ 1 w 2"/>
                <a:gd name="T3" fmla="*/ 1 h 1"/>
                <a:gd name="T4" fmla="*/ 0 w 2"/>
                <a:gd name="T5" fmla="*/ 0 h 1"/>
                <a:gd name="T6" fmla="*/ 1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7" name="Freeform 69">
              <a:extLst>
                <a:ext uri="{FF2B5EF4-FFF2-40B4-BE49-F238E27FC236}">
                  <a16:creationId xmlns:a16="http://schemas.microsoft.com/office/drawing/2014/main" id="{F68110BE-B621-47AD-9582-7DBCED54C7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4629" y="2766459"/>
              <a:ext cx="23761" cy="12673"/>
            </a:xfrm>
            <a:custGeom>
              <a:avLst/>
              <a:gdLst>
                <a:gd name="T0" fmla="*/ 30 w 30"/>
                <a:gd name="T1" fmla="*/ 0 h 16"/>
                <a:gd name="T2" fmla="*/ 0 w 30"/>
                <a:gd name="T3" fmla="*/ 16 h 16"/>
                <a:gd name="T4" fmla="*/ 30 w 30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16">
                  <a:moveTo>
                    <a:pt x="30" y="0"/>
                  </a:moveTo>
                  <a:lnTo>
                    <a:pt x="0" y="16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8" name="Freeform 70">
              <a:extLst>
                <a:ext uri="{FF2B5EF4-FFF2-40B4-BE49-F238E27FC236}">
                  <a16:creationId xmlns:a16="http://schemas.microsoft.com/office/drawing/2014/main" id="{44ADBC97-3057-1B1B-5AB7-1B639600F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56510" y="3046049"/>
              <a:ext cx="48314" cy="24553"/>
            </a:xfrm>
            <a:custGeom>
              <a:avLst/>
              <a:gdLst>
                <a:gd name="T0" fmla="*/ 0 w 4"/>
                <a:gd name="T1" fmla="*/ 1 h 2"/>
                <a:gd name="T2" fmla="*/ 4 w 4"/>
                <a:gd name="T3" fmla="*/ 0 h 2"/>
                <a:gd name="T4" fmla="*/ 0 w 4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0" y="1"/>
                  </a:moveTo>
                  <a:cubicBezTo>
                    <a:pt x="0" y="0"/>
                    <a:pt x="2" y="1"/>
                    <a:pt x="4" y="0"/>
                  </a:cubicBezTo>
                  <a:cubicBezTo>
                    <a:pt x="3" y="2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9" name="Freeform 71">
              <a:extLst>
                <a:ext uri="{FF2B5EF4-FFF2-40B4-BE49-F238E27FC236}">
                  <a16:creationId xmlns:a16="http://schemas.microsoft.com/office/drawing/2014/main" id="{80DE6F98-DC83-B221-FAFA-36387187E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2944" y="3447613"/>
              <a:ext cx="48314" cy="11881"/>
            </a:xfrm>
            <a:custGeom>
              <a:avLst/>
              <a:gdLst>
                <a:gd name="T0" fmla="*/ 61 w 61"/>
                <a:gd name="T1" fmla="*/ 0 h 15"/>
                <a:gd name="T2" fmla="*/ 61 w 61"/>
                <a:gd name="T3" fmla="*/ 0 h 15"/>
                <a:gd name="T4" fmla="*/ 0 w 61"/>
                <a:gd name="T5" fmla="*/ 15 h 15"/>
                <a:gd name="T6" fmla="*/ 0 w 61"/>
                <a:gd name="T7" fmla="*/ 15 h 15"/>
                <a:gd name="T8" fmla="*/ 61 w 61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5">
                  <a:moveTo>
                    <a:pt x="61" y="0"/>
                  </a:moveTo>
                  <a:lnTo>
                    <a:pt x="61" y="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0" name="Freeform 72">
              <a:extLst>
                <a:ext uri="{FF2B5EF4-FFF2-40B4-BE49-F238E27FC236}">
                  <a16:creationId xmlns:a16="http://schemas.microsoft.com/office/drawing/2014/main" id="{756EE1E1-D96D-C898-3F08-7C83E829FA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5019" y="3823832"/>
              <a:ext cx="23761" cy="12673"/>
            </a:xfrm>
            <a:custGeom>
              <a:avLst/>
              <a:gdLst>
                <a:gd name="T0" fmla="*/ 0 w 30"/>
                <a:gd name="T1" fmla="*/ 0 h 16"/>
                <a:gd name="T2" fmla="*/ 30 w 30"/>
                <a:gd name="T3" fmla="*/ 16 h 16"/>
                <a:gd name="T4" fmla="*/ 0 w 30"/>
                <a:gd name="T5" fmla="*/ 16 h 16"/>
                <a:gd name="T6" fmla="*/ 0 w 30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6">
                  <a:moveTo>
                    <a:pt x="0" y="0"/>
                  </a:moveTo>
                  <a:lnTo>
                    <a:pt x="30" y="16"/>
                  </a:lnTo>
                  <a:lnTo>
                    <a:pt x="0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1" name="Freeform 73">
              <a:extLst>
                <a:ext uri="{FF2B5EF4-FFF2-40B4-BE49-F238E27FC236}">
                  <a16:creationId xmlns:a16="http://schemas.microsoft.com/office/drawing/2014/main" id="{68C62320-264E-06E7-997A-8F6FC52F6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8196" y="3070602"/>
              <a:ext cx="84748" cy="48314"/>
            </a:xfrm>
            <a:custGeom>
              <a:avLst/>
              <a:gdLst>
                <a:gd name="T0" fmla="*/ 3 w 7"/>
                <a:gd name="T1" fmla="*/ 3 h 4"/>
                <a:gd name="T2" fmla="*/ 0 w 7"/>
                <a:gd name="T3" fmla="*/ 4 h 4"/>
                <a:gd name="T4" fmla="*/ 3 w 7"/>
                <a:gd name="T5" fmla="*/ 3 h 4"/>
                <a:gd name="T6" fmla="*/ 2 w 7"/>
                <a:gd name="T7" fmla="*/ 3 h 4"/>
                <a:gd name="T8" fmla="*/ 2 w 7"/>
                <a:gd name="T9" fmla="*/ 2 h 4"/>
                <a:gd name="T10" fmla="*/ 1 w 7"/>
                <a:gd name="T11" fmla="*/ 2 h 4"/>
                <a:gd name="T12" fmla="*/ 7 w 7"/>
                <a:gd name="T13" fmla="*/ 2 h 4"/>
                <a:gd name="T14" fmla="*/ 4 w 7"/>
                <a:gd name="T15" fmla="*/ 4 h 4"/>
                <a:gd name="T16" fmla="*/ 3 w 7"/>
                <a:gd name="T1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3" y="4"/>
                    <a:pt x="1" y="4"/>
                    <a:pt x="0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2" y="0"/>
                    <a:pt x="4" y="2"/>
                    <a:pt x="7" y="2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2" name="Freeform 74">
              <a:extLst>
                <a:ext uri="{FF2B5EF4-FFF2-40B4-BE49-F238E27FC236}">
                  <a16:creationId xmlns:a16="http://schemas.microsoft.com/office/drawing/2014/main" id="{D4477A9C-160A-7987-3708-6A3E64317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2749" y="2815566"/>
              <a:ext cx="23761" cy="23761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0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0" y="2"/>
                    <a:pt x="0" y="0"/>
                    <a:pt x="0" y="0"/>
                  </a:cubicBezTo>
                  <a:cubicBezTo>
                    <a:pt x="0" y="1"/>
                    <a:pt x="1" y="1"/>
                    <a:pt x="2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3" name="Freeform 75">
              <a:extLst>
                <a:ext uri="{FF2B5EF4-FFF2-40B4-BE49-F238E27FC236}">
                  <a16:creationId xmlns:a16="http://schemas.microsoft.com/office/drawing/2014/main" id="{13616D00-E54D-002E-61D3-938C80B62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0868" y="2973181"/>
              <a:ext cx="47522" cy="11881"/>
            </a:xfrm>
            <a:custGeom>
              <a:avLst/>
              <a:gdLst>
                <a:gd name="T0" fmla="*/ 0 w 4"/>
                <a:gd name="T1" fmla="*/ 1 h 1"/>
                <a:gd name="T2" fmla="*/ 0 w 4"/>
                <a:gd name="T3" fmla="*/ 0 h 1"/>
                <a:gd name="T4" fmla="*/ 4 w 4"/>
                <a:gd name="T5" fmla="*/ 0 h 1"/>
                <a:gd name="T6" fmla="*/ 0 w 4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3" y="0"/>
                    <a:pt x="2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4" name="Freeform 76">
              <a:extLst>
                <a:ext uri="{FF2B5EF4-FFF2-40B4-BE49-F238E27FC236}">
                  <a16:creationId xmlns:a16="http://schemas.microsoft.com/office/drawing/2014/main" id="{6EB2EE95-97DC-BDF6-89F0-73CF60C130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4629" y="2888433"/>
              <a:ext cx="11881" cy="11881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5" name="Freeform 77">
              <a:extLst>
                <a:ext uri="{FF2B5EF4-FFF2-40B4-BE49-F238E27FC236}">
                  <a16:creationId xmlns:a16="http://schemas.microsoft.com/office/drawing/2014/main" id="{BDD501F4-ABEF-5D03-F85C-9C8F6C93120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4629" y="2948628"/>
              <a:ext cx="11881" cy="12673"/>
            </a:xfrm>
            <a:custGeom>
              <a:avLst/>
              <a:gdLst>
                <a:gd name="T0" fmla="*/ 0 w 15"/>
                <a:gd name="T1" fmla="*/ 16 h 16"/>
                <a:gd name="T2" fmla="*/ 15 w 15"/>
                <a:gd name="T3" fmla="*/ 0 h 16"/>
                <a:gd name="T4" fmla="*/ 0 w 15"/>
                <a:gd name="T5" fmla="*/ 16 h 16"/>
                <a:gd name="T6" fmla="*/ 0 w 15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0" y="16"/>
                  </a:moveTo>
                  <a:lnTo>
                    <a:pt x="15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6" name="Freeform 78">
              <a:extLst>
                <a:ext uri="{FF2B5EF4-FFF2-40B4-BE49-F238E27FC236}">
                  <a16:creationId xmlns:a16="http://schemas.microsoft.com/office/drawing/2014/main" id="{500922D4-697F-827D-4B0D-EBABE4A61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1063" y="3423060"/>
              <a:ext cx="23761" cy="0"/>
            </a:xfrm>
            <a:custGeom>
              <a:avLst/>
              <a:gdLst>
                <a:gd name="T0" fmla="*/ 30 w 30"/>
                <a:gd name="T1" fmla="*/ 0 w 30"/>
                <a:gd name="T2" fmla="*/ 3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0">
                  <a:moveTo>
                    <a:pt x="30" y="0"/>
                  </a:moveTo>
                  <a:lnTo>
                    <a:pt x="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7" name="Freeform 79">
              <a:extLst>
                <a:ext uri="{FF2B5EF4-FFF2-40B4-BE49-F238E27FC236}">
                  <a16:creationId xmlns:a16="http://schemas.microsoft.com/office/drawing/2014/main" id="{DF04440A-F280-8F80-1C46-2D88ABC6D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8196" y="3021496"/>
              <a:ext cx="36434" cy="12673"/>
            </a:xfrm>
            <a:custGeom>
              <a:avLst/>
              <a:gdLst>
                <a:gd name="T0" fmla="*/ 0 w 46"/>
                <a:gd name="T1" fmla="*/ 16 h 16"/>
                <a:gd name="T2" fmla="*/ 46 w 46"/>
                <a:gd name="T3" fmla="*/ 0 h 16"/>
                <a:gd name="T4" fmla="*/ 31 w 46"/>
                <a:gd name="T5" fmla="*/ 16 h 16"/>
                <a:gd name="T6" fmla="*/ 0 w 46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16">
                  <a:moveTo>
                    <a:pt x="0" y="16"/>
                  </a:moveTo>
                  <a:lnTo>
                    <a:pt x="46" y="0"/>
                  </a:lnTo>
                  <a:lnTo>
                    <a:pt x="31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8" name="Freeform 80">
              <a:extLst>
                <a:ext uri="{FF2B5EF4-FFF2-40B4-BE49-F238E27FC236}">
                  <a16:creationId xmlns:a16="http://schemas.microsoft.com/office/drawing/2014/main" id="{2F39AD0C-D65F-AA53-192F-97294D5526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0478" y="3447613"/>
              <a:ext cx="180585" cy="60195"/>
            </a:xfrm>
            <a:custGeom>
              <a:avLst/>
              <a:gdLst>
                <a:gd name="T0" fmla="*/ 6 w 15"/>
                <a:gd name="T1" fmla="*/ 3 h 5"/>
                <a:gd name="T2" fmla="*/ 4 w 15"/>
                <a:gd name="T3" fmla="*/ 4 h 5"/>
                <a:gd name="T4" fmla="*/ 4 w 15"/>
                <a:gd name="T5" fmla="*/ 2 h 5"/>
                <a:gd name="T6" fmla="*/ 1 w 15"/>
                <a:gd name="T7" fmla="*/ 3 h 5"/>
                <a:gd name="T8" fmla="*/ 0 w 15"/>
                <a:gd name="T9" fmla="*/ 2 h 5"/>
                <a:gd name="T10" fmla="*/ 1 w 15"/>
                <a:gd name="T11" fmla="*/ 2 h 5"/>
                <a:gd name="T12" fmla="*/ 2 w 15"/>
                <a:gd name="T13" fmla="*/ 3 h 5"/>
                <a:gd name="T14" fmla="*/ 10 w 15"/>
                <a:gd name="T15" fmla="*/ 2 h 5"/>
                <a:gd name="T16" fmla="*/ 15 w 15"/>
                <a:gd name="T17" fmla="*/ 2 h 5"/>
                <a:gd name="T18" fmla="*/ 6 w 15"/>
                <a:gd name="T1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5">
                  <a:moveTo>
                    <a:pt x="6" y="3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5" y="2"/>
                    <a:pt x="4" y="2"/>
                  </a:cubicBezTo>
                  <a:cubicBezTo>
                    <a:pt x="4" y="4"/>
                    <a:pt x="2" y="3"/>
                    <a:pt x="1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3"/>
                    <a:pt x="2" y="3"/>
                  </a:cubicBezTo>
                  <a:cubicBezTo>
                    <a:pt x="3" y="0"/>
                    <a:pt x="7" y="2"/>
                    <a:pt x="10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2" y="3"/>
                    <a:pt x="9" y="5"/>
                    <a:pt x="6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9" name="Freeform 81">
              <a:extLst>
                <a:ext uri="{FF2B5EF4-FFF2-40B4-BE49-F238E27FC236}">
                  <a16:creationId xmlns:a16="http://schemas.microsoft.com/office/drawing/2014/main" id="{A8E14104-8F82-BC72-3A52-90CFE3830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4434" y="3289205"/>
              <a:ext cx="60195" cy="24553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4 w 5"/>
                <a:gd name="T5" fmla="*/ 0 h 2"/>
                <a:gd name="T6" fmla="*/ 3 w 5"/>
                <a:gd name="T7" fmla="*/ 0 h 2"/>
                <a:gd name="T8" fmla="*/ 5 w 5"/>
                <a:gd name="T9" fmla="*/ 0 h 2"/>
                <a:gd name="T10" fmla="*/ 4 w 5"/>
                <a:gd name="T11" fmla="*/ 1 h 2"/>
                <a:gd name="T12" fmla="*/ 5 w 5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4" y="2"/>
                    <a:pt x="2" y="1"/>
                    <a:pt x="0" y="1"/>
                  </a:cubicBezTo>
                  <a:cubicBezTo>
                    <a:pt x="1" y="0"/>
                    <a:pt x="3" y="2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4" y="1"/>
                    <a:pt x="4" y="1"/>
                  </a:cubicBezTo>
                  <a:lnTo>
                    <a:pt x="5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0" name="Freeform 82">
              <a:extLst>
                <a:ext uri="{FF2B5EF4-FFF2-40B4-BE49-F238E27FC236}">
                  <a16:creationId xmlns:a16="http://schemas.microsoft.com/office/drawing/2014/main" id="{C0E8ED88-2F2B-94C4-E8A5-53BE2182D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0868" y="3398506"/>
              <a:ext cx="47522" cy="72868"/>
            </a:xfrm>
            <a:custGeom>
              <a:avLst/>
              <a:gdLst>
                <a:gd name="T0" fmla="*/ 4 w 4"/>
                <a:gd name="T1" fmla="*/ 3 h 6"/>
                <a:gd name="T2" fmla="*/ 2 w 4"/>
                <a:gd name="T3" fmla="*/ 4 h 6"/>
                <a:gd name="T4" fmla="*/ 0 w 4"/>
                <a:gd name="T5" fmla="*/ 4 h 6"/>
                <a:gd name="T6" fmla="*/ 4 w 4"/>
                <a:gd name="T7" fmla="*/ 2 h 6"/>
                <a:gd name="T8" fmla="*/ 4 w 4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4" y="3"/>
                  </a:moveTo>
                  <a:cubicBezTo>
                    <a:pt x="3" y="3"/>
                    <a:pt x="2" y="4"/>
                    <a:pt x="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6"/>
                    <a:pt x="1" y="0"/>
                    <a:pt x="4" y="2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1" name="Rectangle 83">
              <a:extLst>
                <a:ext uri="{FF2B5EF4-FFF2-40B4-BE49-F238E27FC236}">
                  <a16:creationId xmlns:a16="http://schemas.microsoft.com/office/drawing/2014/main" id="{CD6FC5C2-B184-0EC7-3A34-C3589EEA16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36120" y="2608843"/>
              <a:ext cx="24553" cy="1188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2" name="Freeform 84">
              <a:extLst>
                <a:ext uri="{FF2B5EF4-FFF2-40B4-BE49-F238E27FC236}">
                  <a16:creationId xmlns:a16="http://schemas.microsoft.com/office/drawing/2014/main" id="{B9BBCBA0-D08D-B536-31DF-AC76E299A3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4044" y="2961301"/>
              <a:ext cx="144151" cy="60195"/>
            </a:xfrm>
            <a:custGeom>
              <a:avLst/>
              <a:gdLst>
                <a:gd name="T0" fmla="*/ 11 w 12"/>
                <a:gd name="T1" fmla="*/ 0 h 5"/>
                <a:gd name="T2" fmla="*/ 10 w 12"/>
                <a:gd name="T3" fmla="*/ 2 h 5"/>
                <a:gd name="T4" fmla="*/ 11 w 12"/>
                <a:gd name="T5" fmla="*/ 2 h 5"/>
                <a:gd name="T6" fmla="*/ 2 w 12"/>
                <a:gd name="T7" fmla="*/ 3 h 5"/>
                <a:gd name="T8" fmla="*/ 2 w 12"/>
                <a:gd name="T9" fmla="*/ 4 h 5"/>
                <a:gd name="T10" fmla="*/ 3 w 12"/>
                <a:gd name="T11" fmla="*/ 4 h 5"/>
                <a:gd name="T12" fmla="*/ 3 w 12"/>
                <a:gd name="T13" fmla="*/ 5 h 5"/>
                <a:gd name="T14" fmla="*/ 0 w 12"/>
                <a:gd name="T15" fmla="*/ 4 h 5"/>
                <a:gd name="T16" fmla="*/ 8 w 12"/>
                <a:gd name="T17" fmla="*/ 2 h 5"/>
                <a:gd name="T18" fmla="*/ 9 w 12"/>
                <a:gd name="T19" fmla="*/ 1 h 5"/>
                <a:gd name="T20" fmla="*/ 8 w 12"/>
                <a:gd name="T21" fmla="*/ 2 h 5"/>
                <a:gd name="T22" fmla="*/ 9 w 12"/>
                <a:gd name="T23" fmla="*/ 3 h 5"/>
                <a:gd name="T24" fmla="*/ 10 w 12"/>
                <a:gd name="T25" fmla="*/ 0 h 5"/>
                <a:gd name="T26" fmla="*/ 12 w 12"/>
                <a:gd name="T27" fmla="*/ 1 h 5"/>
                <a:gd name="T28" fmla="*/ 11 w 12"/>
                <a:gd name="T2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5">
                  <a:moveTo>
                    <a:pt x="11" y="0"/>
                  </a:moveTo>
                  <a:cubicBezTo>
                    <a:pt x="10" y="1"/>
                    <a:pt x="10" y="1"/>
                    <a:pt x="1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8" y="3"/>
                    <a:pt x="5" y="5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4"/>
                    <a:pt x="1" y="4"/>
                    <a:pt x="0" y="4"/>
                  </a:cubicBezTo>
                  <a:cubicBezTo>
                    <a:pt x="2" y="2"/>
                    <a:pt x="7" y="4"/>
                    <a:pt x="8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8" y="2"/>
                    <a:pt x="8" y="2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10" y="2"/>
                    <a:pt x="9" y="1"/>
                    <a:pt x="10" y="0"/>
                  </a:cubicBezTo>
                  <a:cubicBezTo>
                    <a:pt x="11" y="0"/>
                    <a:pt x="11" y="1"/>
                    <a:pt x="12" y="1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3" name="Freeform 85">
              <a:extLst>
                <a:ext uri="{FF2B5EF4-FFF2-40B4-BE49-F238E27FC236}">
                  <a16:creationId xmlns:a16="http://schemas.microsoft.com/office/drawing/2014/main" id="{90847234-F56E-2C6F-C6CA-BA744F06310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8793" y="3070602"/>
              <a:ext cx="59403" cy="24553"/>
            </a:xfrm>
            <a:custGeom>
              <a:avLst/>
              <a:gdLst>
                <a:gd name="T0" fmla="*/ 0 w 5"/>
                <a:gd name="T1" fmla="*/ 2 h 2"/>
                <a:gd name="T2" fmla="*/ 5 w 5"/>
                <a:gd name="T3" fmla="*/ 0 h 2"/>
                <a:gd name="T4" fmla="*/ 0 w 5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2"/>
                  </a:moveTo>
                  <a:cubicBezTo>
                    <a:pt x="1" y="1"/>
                    <a:pt x="3" y="0"/>
                    <a:pt x="5" y="0"/>
                  </a:cubicBezTo>
                  <a:cubicBezTo>
                    <a:pt x="3" y="1"/>
                    <a:pt x="1" y="2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4" name="Freeform 86">
              <a:extLst>
                <a:ext uri="{FF2B5EF4-FFF2-40B4-BE49-F238E27FC236}">
                  <a16:creationId xmlns:a16="http://schemas.microsoft.com/office/drawing/2014/main" id="{983B604F-B6BE-C22D-6D91-8AEB0E977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2359" y="2802893"/>
              <a:ext cx="48314" cy="0"/>
            </a:xfrm>
            <a:custGeom>
              <a:avLst/>
              <a:gdLst>
                <a:gd name="T0" fmla="*/ 61 w 61"/>
                <a:gd name="T1" fmla="*/ 61 w 61"/>
                <a:gd name="T2" fmla="*/ 15 w 61"/>
                <a:gd name="T3" fmla="*/ 0 w 61"/>
                <a:gd name="T4" fmla="*/ 61 w 6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1">
                  <a:moveTo>
                    <a:pt x="61" y="0"/>
                  </a:moveTo>
                  <a:lnTo>
                    <a:pt x="61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5" name="Freeform 87">
              <a:extLst>
                <a:ext uri="{FF2B5EF4-FFF2-40B4-BE49-F238E27FC236}">
                  <a16:creationId xmlns:a16="http://schemas.microsoft.com/office/drawing/2014/main" id="{736DF62A-CBBF-2FF0-F812-AF14386F0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5535" y="3095155"/>
              <a:ext cx="240780" cy="72868"/>
            </a:xfrm>
            <a:custGeom>
              <a:avLst/>
              <a:gdLst>
                <a:gd name="T0" fmla="*/ 20 w 20"/>
                <a:gd name="T1" fmla="*/ 3 h 6"/>
                <a:gd name="T2" fmla="*/ 17 w 20"/>
                <a:gd name="T3" fmla="*/ 3 h 6"/>
                <a:gd name="T4" fmla="*/ 17 w 20"/>
                <a:gd name="T5" fmla="*/ 4 h 6"/>
                <a:gd name="T6" fmla="*/ 16 w 20"/>
                <a:gd name="T7" fmla="*/ 3 h 6"/>
                <a:gd name="T8" fmla="*/ 12 w 20"/>
                <a:gd name="T9" fmla="*/ 4 h 6"/>
                <a:gd name="T10" fmla="*/ 12 w 20"/>
                <a:gd name="T11" fmla="*/ 3 h 6"/>
                <a:gd name="T12" fmla="*/ 7 w 20"/>
                <a:gd name="T13" fmla="*/ 5 h 6"/>
                <a:gd name="T14" fmla="*/ 6 w 20"/>
                <a:gd name="T15" fmla="*/ 4 h 6"/>
                <a:gd name="T16" fmla="*/ 0 w 20"/>
                <a:gd name="T17" fmla="*/ 5 h 6"/>
                <a:gd name="T18" fmla="*/ 10 w 20"/>
                <a:gd name="T19" fmla="*/ 2 h 6"/>
                <a:gd name="T20" fmla="*/ 6 w 20"/>
                <a:gd name="T21" fmla="*/ 2 h 6"/>
                <a:gd name="T22" fmla="*/ 13 w 20"/>
                <a:gd name="T23" fmla="*/ 0 h 6"/>
                <a:gd name="T24" fmla="*/ 14 w 20"/>
                <a:gd name="T25" fmla="*/ 0 h 6"/>
                <a:gd name="T26" fmla="*/ 12 w 20"/>
                <a:gd name="T27" fmla="*/ 3 h 6"/>
                <a:gd name="T28" fmla="*/ 17 w 20"/>
                <a:gd name="T29" fmla="*/ 2 h 6"/>
                <a:gd name="T30" fmla="*/ 19 w 20"/>
                <a:gd name="T31" fmla="*/ 3 h 6"/>
                <a:gd name="T32" fmla="*/ 20 w 20"/>
                <a:gd name="T33" fmla="*/ 2 h 6"/>
                <a:gd name="T34" fmla="*/ 20 w 20"/>
                <a:gd name="T3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" h="6">
                  <a:moveTo>
                    <a:pt x="20" y="3"/>
                  </a:moveTo>
                  <a:cubicBezTo>
                    <a:pt x="19" y="3"/>
                    <a:pt x="18" y="3"/>
                    <a:pt x="17" y="3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3"/>
                    <a:pt x="16" y="3"/>
                  </a:cubicBezTo>
                  <a:cubicBezTo>
                    <a:pt x="15" y="6"/>
                    <a:pt x="14" y="2"/>
                    <a:pt x="12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0" y="3"/>
                    <a:pt x="9" y="4"/>
                    <a:pt x="7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6"/>
                    <a:pt x="1" y="5"/>
                    <a:pt x="0" y="5"/>
                  </a:cubicBezTo>
                  <a:cubicBezTo>
                    <a:pt x="4" y="4"/>
                    <a:pt x="7" y="4"/>
                    <a:pt x="10" y="2"/>
                  </a:cubicBezTo>
                  <a:cubicBezTo>
                    <a:pt x="9" y="2"/>
                    <a:pt x="7" y="2"/>
                    <a:pt x="6" y="2"/>
                  </a:cubicBezTo>
                  <a:cubicBezTo>
                    <a:pt x="8" y="1"/>
                    <a:pt x="10" y="2"/>
                    <a:pt x="1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0" y="2"/>
                    <a:pt x="12" y="3"/>
                  </a:cubicBezTo>
                  <a:cubicBezTo>
                    <a:pt x="14" y="3"/>
                    <a:pt x="15" y="2"/>
                    <a:pt x="17" y="2"/>
                  </a:cubicBezTo>
                  <a:cubicBezTo>
                    <a:pt x="17" y="3"/>
                    <a:pt x="19" y="2"/>
                    <a:pt x="19" y="3"/>
                  </a:cubicBezTo>
                  <a:cubicBezTo>
                    <a:pt x="20" y="2"/>
                    <a:pt x="20" y="2"/>
                    <a:pt x="20" y="2"/>
                  </a:cubicBezTo>
                  <a:lnTo>
                    <a:pt x="20" y="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6" name="Freeform 88">
              <a:extLst>
                <a:ext uri="{FF2B5EF4-FFF2-40B4-BE49-F238E27FC236}">
                  <a16:creationId xmlns:a16="http://schemas.microsoft.com/office/drawing/2014/main" id="{38137898-7151-FB55-DE40-D09F47A64A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283" y="2669038"/>
              <a:ext cx="95837" cy="36434"/>
            </a:xfrm>
            <a:custGeom>
              <a:avLst/>
              <a:gdLst>
                <a:gd name="T0" fmla="*/ 0 w 8"/>
                <a:gd name="T1" fmla="*/ 2 h 3"/>
                <a:gd name="T2" fmla="*/ 6 w 8"/>
                <a:gd name="T3" fmla="*/ 0 h 3"/>
                <a:gd name="T4" fmla="*/ 8 w 8"/>
                <a:gd name="T5" fmla="*/ 1 h 3"/>
                <a:gd name="T6" fmla="*/ 0 w 8"/>
                <a:gd name="T7" fmla="*/ 3 h 3"/>
                <a:gd name="T8" fmla="*/ 0 w 8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">
                  <a:moveTo>
                    <a:pt x="0" y="2"/>
                  </a:moveTo>
                  <a:cubicBezTo>
                    <a:pt x="2" y="1"/>
                    <a:pt x="5" y="2"/>
                    <a:pt x="6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0" y="3"/>
                    <a:pt x="0" y="3"/>
                    <a:pt x="0" y="3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7" name="Freeform 89">
              <a:extLst>
                <a:ext uri="{FF2B5EF4-FFF2-40B4-BE49-F238E27FC236}">
                  <a16:creationId xmlns:a16="http://schemas.microsoft.com/office/drawing/2014/main" id="{CDC96915-C0D0-CA75-6F7D-5930B1952A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0478" y="3168023"/>
              <a:ext cx="83956" cy="23761"/>
            </a:xfrm>
            <a:custGeom>
              <a:avLst/>
              <a:gdLst>
                <a:gd name="T0" fmla="*/ 3 w 7"/>
                <a:gd name="T1" fmla="*/ 1 h 2"/>
                <a:gd name="T2" fmla="*/ 2 w 7"/>
                <a:gd name="T3" fmla="*/ 2 h 2"/>
                <a:gd name="T4" fmla="*/ 0 w 7"/>
                <a:gd name="T5" fmla="*/ 1 h 2"/>
                <a:gd name="T6" fmla="*/ 7 w 7"/>
                <a:gd name="T7" fmla="*/ 0 h 2"/>
                <a:gd name="T8" fmla="*/ 3 w 7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">
                  <a:moveTo>
                    <a:pt x="3" y="1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0" y="1"/>
                    <a:pt x="0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1"/>
                    <a:pt x="4" y="1"/>
                    <a:pt x="3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8" name="Freeform 90">
              <a:extLst>
                <a:ext uri="{FF2B5EF4-FFF2-40B4-BE49-F238E27FC236}">
                  <a16:creationId xmlns:a16="http://schemas.microsoft.com/office/drawing/2014/main" id="{8C013018-B476-01A3-3EAD-8EAE0BF1E0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0088" y="3264652"/>
              <a:ext cx="204346" cy="36434"/>
            </a:xfrm>
            <a:custGeom>
              <a:avLst/>
              <a:gdLst>
                <a:gd name="T0" fmla="*/ 17 w 17"/>
                <a:gd name="T1" fmla="*/ 2 h 3"/>
                <a:gd name="T2" fmla="*/ 15 w 17"/>
                <a:gd name="T3" fmla="*/ 2 h 3"/>
                <a:gd name="T4" fmla="*/ 16 w 17"/>
                <a:gd name="T5" fmla="*/ 2 h 3"/>
                <a:gd name="T6" fmla="*/ 7 w 17"/>
                <a:gd name="T7" fmla="*/ 2 h 3"/>
                <a:gd name="T8" fmla="*/ 4 w 17"/>
                <a:gd name="T9" fmla="*/ 2 h 3"/>
                <a:gd name="T10" fmla="*/ 1 w 17"/>
                <a:gd name="T11" fmla="*/ 1 h 3"/>
                <a:gd name="T12" fmla="*/ 8 w 17"/>
                <a:gd name="T13" fmla="*/ 0 h 3"/>
                <a:gd name="T14" fmla="*/ 9 w 17"/>
                <a:gd name="T15" fmla="*/ 1 h 3"/>
                <a:gd name="T16" fmla="*/ 9 w 17"/>
                <a:gd name="T17" fmla="*/ 0 h 3"/>
                <a:gd name="T18" fmla="*/ 12 w 17"/>
                <a:gd name="T19" fmla="*/ 2 h 3"/>
                <a:gd name="T20" fmla="*/ 17 w 17"/>
                <a:gd name="T21" fmla="*/ 1 h 3"/>
                <a:gd name="T22" fmla="*/ 17 w 17"/>
                <a:gd name="T2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3">
                  <a:moveTo>
                    <a:pt x="17" y="2"/>
                  </a:moveTo>
                  <a:cubicBezTo>
                    <a:pt x="17" y="2"/>
                    <a:pt x="15" y="1"/>
                    <a:pt x="15" y="2"/>
                  </a:cubicBezTo>
                  <a:cubicBezTo>
                    <a:pt x="15" y="3"/>
                    <a:pt x="16" y="2"/>
                    <a:pt x="16" y="2"/>
                  </a:cubicBezTo>
                  <a:cubicBezTo>
                    <a:pt x="14" y="2"/>
                    <a:pt x="10" y="3"/>
                    <a:pt x="7" y="2"/>
                  </a:cubicBezTo>
                  <a:cubicBezTo>
                    <a:pt x="7" y="1"/>
                    <a:pt x="5" y="2"/>
                    <a:pt x="4" y="2"/>
                  </a:cubicBezTo>
                  <a:cubicBezTo>
                    <a:pt x="3" y="1"/>
                    <a:pt x="0" y="1"/>
                    <a:pt x="1" y="1"/>
                  </a:cubicBezTo>
                  <a:cubicBezTo>
                    <a:pt x="4" y="1"/>
                    <a:pt x="5" y="1"/>
                    <a:pt x="8" y="0"/>
                  </a:cubicBezTo>
                  <a:cubicBezTo>
                    <a:pt x="8" y="1"/>
                    <a:pt x="8" y="1"/>
                    <a:pt x="9" y="1"/>
                  </a:cubicBezTo>
                  <a:cubicBezTo>
                    <a:pt x="9" y="1"/>
                    <a:pt x="9" y="1"/>
                    <a:pt x="9" y="0"/>
                  </a:cubicBezTo>
                  <a:cubicBezTo>
                    <a:pt x="9" y="1"/>
                    <a:pt x="10" y="2"/>
                    <a:pt x="12" y="2"/>
                  </a:cubicBezTo>
                  <a:cubicBezTo>
                    <a:pt x="13" y="0"/>
                    <a:pt x="16" y="1"/>
                    <a:pt x="17" y="1"/>
                  </a:cubicBezTo>
                  <a:lnTo>
                    <a:pt x="17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9" name="Freeform 91">
              <a:extLst>
                <a:ext uri="{FF2B5EF4-FFF2-40B4-BE49-F238E27FC236}">
                  <a16:creationId xmlns:a16="http://schemas.microsoft.com/office/drawing/2014/main" id="{0D1F03C4-4A73-7E22-84A5-D1E0FF520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2554" y="3398506"/>
              <a:ext cx="35642" cy="12673"/>
            </a:xfrm>
            <a:custGeom>
              <a:avLst/>
              <a:gdLst>
                <a:gd name="T0" fmla="*/ 45 w 45"/>
                <a:gd name="T1" fmla="*/ 0 h 16"/>
                <a:gd name="T2" fmla="*/ 0 w 45"/>
                <a:gd name="T3" fmla="*/ 16 h 16"/>
                <a:gd name="T4" fmla="*/ 45 w 45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5" h="16">
                  <a:moveTo>
                    <a:pt x="45" y="0"/>
                  </a:moveTo>
                  <a:lnTo>
                    <a:pt x="0" y="16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0" name="Rectangle 92">
              <a:extLst>
                <a:ext uri="{FF2B5EF4-FFF2-40B4-BE49-F238E27FC236}">
                  <a16:creationId xmlns:a16="http://schemas.microsoft.com/office/drawing/2014/main" id="{88E79332-15E9-6138-199F-587EA5FBD4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96315" y="3447613"/>
              <a:ext cx="1188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1" name="Freeform 93">
              <a:extLst>
                <a:ext uri="{FF2B5EF4-FFF2-40B4-BE49-F238E27FC236}">
                  <a16:creationId xmlns:a16="http://schemas.microsoft.com/office/drawing/2014/main" id="{AC0D6643-B40A-587D-7339-4832879FA1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8793" y="3325639"/>
              <a:ext cx="23761" cy="36434"/>
            </a:xfrm>
            <a:custGeom>
              <a:avLst/>
              <a:gdLst>
                <a:gd name="T0" fmla="*/ 0 w 2"/>
                <a:gd name="T1" fmla="*/ 1 h 3"/>
                <a:gd name="T2" fmla="*/ 0 w 2"/>
                <a:gd name="T3" fmla="*/ 1 h 3"/>
                <a:gd name="T4" fmla="*/ 2 w 2"/>
                <a:gd name="T5" fmla="*/ 0 h 3"/>
                <a:gd name="T6" fmla="*/ 0 w 2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2"/>
                    <a:pt x="1" y="0"/>
                    <a:pt x="2" y="0"/>
                  </a:cubicBezTo>
                  <a:cubicBezTo>
                    <a:pt x="1" y="0"/>
                    <a:pt x="1" y="3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2" name="Freeform 94">
              <a:extLst>
                <a:ext uri="{FF2B5EF4-FFF2-40B4-BE49-F238E27FC236}">
                  <a16:creationId xmlns:a16="http://schemas.microsoft.com/office/drawing/2014/main" id="{60190CB8-3101-9C00-A4F5-BA21C68B5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5730" y="2802893"/>
              <a:ext cx="84748" cy="12673"/>
            </a:xfrm>
            <a:custGeom>
              <a:avLst/>
              <a:gdLst>
                <a:gd name="T0" fmla="*/ 107 w 107"/>
                <a:gd name="T1" fmla="*/ 0 h 16"/>
                <a:gd name="T2" fmla="*/ 107 w 107"/>
                <a:gd name="T3" fmla="*/ 0 h 16"/>
                <a:gd name="T4" fmla="*/ 0 w 107"/>
                <a:gd name="T5" fmla="*/ 16 h 16"/>
                <a:gd name="T6" fmla="*/ 0 w 107"/>
                <a:gd name="T7" fmla="*/ 16 h 16"/>
                <a:gd name="T8" fmla="*/ 107 w 10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16">
                  <a:moveTo>
                    <a:pt x="107" y="0"/>
                  </a:moveTo>
                  <a:lnTo>
                    <a:pt x="107" y="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3" name="Freeform 95">
              <a:extLst>
                <a:ext uri="{FF2B5EF4-FFF2-40B4-BE49-F238E27FC236}">
                  <a16:creationId xmlns:a16="http://schemas.microsoft.com/office/drawing/2014/main" id="{7B34F631-AC68-5E01-B93B-F4B6A72C5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5730" y="3495927"/>
              <a:ext cx="156824" cy="48314"/>
            </a:xfrm>
            <a:custGeom>
              <a:avLst/>
              <a:gdLst>
                <a:gd name="T0" fmla="*/ 6 w 13"/>
                <a:gd name="T1" fmla="*/ 2 h 4"/>
                <a:gd name="T2" fmla="*/ 3 w 13"/>
                <a:gd name="T3" fmla="*/ 1 h 4"/>
                <a:gd name="T4" fmla="*/ 0 w 13"/>
                <a:gd name="T5" fmla="*/ 1 h 4"/>
                <a:gd name="T6" fmla="*/ 4 w 13"/>
                <a:gd name="T7" fmla="*/ 1 h 4"/>
                <a:gd name="T8" fmla="*/ 4 w 13"/>
                <a:gd name="T9" fmla="*/ 2 h 4"/>
                <a:gd name="T10" fmla="*/ 13 w 13"/>
                <a:gd name="T11" fmla="*/ 1 h 4"/>
                <a:gd name="T12" fmla="*/ 6 w 13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4">
                  <a:moveTo>
                    <a:pt x="6" y="2"/>
                  </a:moveTo>
                  <a:cubicBezTo>
                    <a:pt x="5" y="2"/>
                    <a:pt x="3" y="2"/>
                    <a:pt x="3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6" y="0"/>
                    <a:pt x="10" y="1"/>
                    <a:pt x="13" y="1"/>
                  </a:cubicBezTo>
                  <a:cubicBezTo>
                    <a:pt x="10" y="1"/>
                    <a:pt x="7" y="4"/>
                    <a:pt x="6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4" name="Freeform 96">
              <a:extLst>
                <a:ext uri="{FF2B5EF4-FFF2-40B4-BE49-F238E27FC236}">
                  <a16:creationId xmlns:a16="http://schemas.microsoft.com/office/drawing/2014/main" id="{088F08B1-C42B-4591-B9D9-15F594398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5925" y="3411179"/>
              <a:ext cx="72868" cy="60195"/>
            </a:xfrm>
            <a:custGeom>
              <a:avLst/>
              <a:gdLst>
                <a:gd name="T0" fmla="*/ 6 w 6"/>
                <a:gd name="T1" fmla="*/ 2 h 5"/>
                <a:gd name="T2" fmla="*/ 2 w 6"/>
                <a:gd name="T3" fmla="*/ 2 h 5"/>
                <a:gd name="T4" fmla="*/ 0 w 6"/>
                <a:gd name="T5" fmla="*/ 2 h 5"/>
                <a:gd name="T6" fmla="*/ 4 w 6"/>
                <a:gd name="T7" fmla="*/ 2 h 5"/>
                <a:gd name="T8" fmla="*/ 5 w 6"/>
                <a:gd name="T9" fmla="*/ 1 h 5"/>
                <a:gd name="T10" fmla="*/ 6 w 6"/>
                <a:gd name="T1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4" y="1"/>
                    <a:pt x="4" y="5"/>
                    <a:pt x="2" y="2"/>
                  </a:cubicBezTo>
                  <a:cubicBezTo>
                    <a:pt x="1" y="2"/>
                    <a:pt x="1" y="3"/>
                    <a:pt x="0" y="2"/>
                  </a:cubicBezTo>
                  <a:cubicBezTo>
                    <a:pt x="2" y="3"/>
                    <a:pt x="3" y="0"/>
                    <a:pt x="4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6" y="1"/>
                    <a:pt x="6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5" name="Freeform 97">
              <a:extLst>
                <a:ext uri="{FF2B5EF4-FFF2-40B4-BE49-F238E27FC236}">
                  <a16:creationId xmlns:a16="http://schemas.microsoft.com/office/drawing/2014/main" id="{1BA7F75C-2449-06BE-4CA1-D7DAB1349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2359" y="3337519"/>
              <a:ext cx="23761" cy="12673"/>
            </a:xfrm>
            <a:custGeom>
              <a:avLst/>
              <a:gdLst>
                <a:gd name="T0" fmla="*/ 1 w 2"/>
                <a:gd name="T1" fmla="*/ 1 h 1"/>
                <a:gd name="T2" fmla="*/ 0 w 2"/>
                <a:gd name="T3" fmla="*/ 0 h 1"/>
                <a:gd name="T4" fmla="*/ 2 w 2"/>
                <a:gd name="T5" fmla="*/ 0 h 1"/>
                <a:gd name="T6" fmla="*/ 1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1" y="1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6" name="Freeform 98">
              <a:extLst>
                <a:ext uri="{FF2B5EF4-FFF2-40B4-BE49-F238E27FC236}">
                  <a16:creationId xmlns:a16="http://schemas.microsoft.com/office/drawing/2014/main" id="{3C7429BF-E885-CDD0-7C15-50B7136C3D1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239" y="3386626"/>
              <a:ext cx="11881" cy="11881"/>
            </a:xfrm>
            <a:custGeom>
              <a:avLst/>
              <a:gdLst>
                <a:gd name="T0" fmla="*/ 0 w 15"/>
                <a:gd name="T1" fmla="*/ 15 h 15"/>
                <a:gd name="T2" fmla="*/ 15 w 15"/>
                <a:gd name="T3" fmla="*/ 0 h 15"/>
                <a:gd name="T4" fmla="*/ 15 w 15"/>
                <a:gd name="T5" fmla="*/ 15 h 15"/>
                <a:gd name="T6" fmla="*/ 0 w 15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15"/>
                  </a:moveTo>
                  <a:lnTo>
                    <a:pt x="15" y="0"/>
                  </a:lnTo>
                  <a:lnTo>
                    <a:pt x="15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7" name="Freeform 99">
              <a:extLst>
                <a:ext uri="{FF2B5EF4-FFF2-40B4-BE49-F238E27FC236}">
                  <a16:creationId xmlns:a16="http://schemas.microsoft.com/office/drawing/2014/main" id="{DEB6FE75-8B54-957D-9887-110A5C12B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5730" y="2669038"/>
              <a:ext cx="36434" cy="36434"/>
            </a:xfrm>
            <a:custGeom>
              <a:avLst/>
              <a:gdLst>
                <a:gd name="T0" fmla="*/ 0 w 3"/>
                <a:gd name="T1" fmla="*/ 2 h 3"/>
                <a:gd name="T2" fmla="*/ 1 w 3"/>
                <a:gd name="T3" fmla="*/ 2 h 3"/>
                <a:gd name="T4" fmla="*/ 1 w 3"/>
                <a:gd name="T5" fmla="*/ 3 h 3"/>
                <a:gd name="T6" fmla="*/ 0 w 3"/>
                <a:gd name="T7" fmla="*/ 3 h 3"/>
                <a:gd name="T8" fmla="*/ 0 w 3"/>
                <a:gd name="T9" fmla="*/ 0 h 3"/>
                <a:gd name="T10" fmla="*/ 3 w 3"/>
                <a:gd name="T11" fmla="*/ 0 h 3"/>
                <a:gd name="T12" fmla="*/ 0 w 3"/>
                <a:gd name="T1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2"/>
                  </a:moveTo>
                  <a:cubicBezTo>
                    <a:pt x="0" y="2"/>
                    <a:pt x="0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3" y="1"/>
                    <a:pt x="0" y="0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8" name="Rectangle 100">
              <a:extLst>
                <a:ext uri="{FF2B5EF4-FFF2-40B4-BE49-F238E27FC236}">
                  <a16:creationId xmlns:a16="http://schemas.microsoft.com/office/drawing/2014/main" id="{F12C69D6-4FFD-5832-23E2-4166B47FFC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4044" y="3057930"/>
              <a:ext cx="1188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9" name="Freeform 101">
              <a:extLst>
                <a:ext uri="{FF2B5EF4-FFF2-40B4-BE49-F238E27FC236}">
                  <a16:creationId xmlns:a16="http://schemas.microsoft.com/office/drawing/2014/main" id="{15226550-5D4C-D833-BD23-FB9AD905F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0478" y="3398506"/>
              <a:ext cx="11881" cy="12673"/>
            </a:xfrm>
            <a:custGeom>
              <a:avLst/>
              <a:gdLst>
                <a:gd name="T0" fmla="*/ 0 w 15"/>
                <a:gd name="T1" fmla="*/ 16 h 16"/>
                <a:gd name="T2" fmla="*/ 15 w 15"/>
                <a:gd name="T3" fmla="*/ 0 h 16"/>
                <a:gd name="T4" fmla="*/ 15 w 15"/>
                <a:gd name="T5" fmla="*/ 16 h 16"/>
                <a:gd name="T6" fmla="*/ 0 w 15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0" y="16"/>
                  </a:moveTo>
                  <a:lnTo>
                    <a:pt x="15" y="0"/>
                  </a:lnTo>
                  <a:lnTo>
                    <a:pt x="15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0" name="Freeform 102">
              <a:extLst>
                <a:ext uri="{FF2B5EF4-FFF2-40B4-BE49-F238E27FC236}">
                  <a16:creationId xmlns:a16="http://schemas.microsoft.com/office/drawing/2014/main" id="{8F9A2228-885E-44C8-694B-523E280F4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5730" y="2997735"/>
              <a:ext cx="48314" cy="23761"/>
            </a:xfrm>
            <a:custGeom>
              <a:avLst/>
              <a:gdLst>
                <a:gd name="T0" fmla="*/ 0 w 4"/>
                <a:gd name="T1" fmla="*/ 2 h 2"/>
                <a:gd name="T2" fmla="*/ 0 w 4"/>
                <a:gd name="T3" fmla="*/ 1 h 2"/>
                <a:gd name="T4" fmla="*/ 4 w 4"/>
                <a:gd name="T5" fmla="*/ 1 h 2"/>
                <a:gd name="T6" fmla="*/ 0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cubicBezTo>
                    <a:pt x="0" y="2"/>
                    <a:pt x="0" y="2"/>
                    <a:pt x="0" y="1"/>
                  </a:cubicBezTo>
                  <a:cubicBezTo>
                    <a:pt x="1" y="2"/>
                    <a:pt x="2" y="0"/>
                    <a:pt x="4" y="1"/>
                  </a:cubicBezTo>
                  <a:cubicBezTo>
                    <a:pt x="2" y="0"/>
                    <a:pt x="2" y="2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1" name="Freeform 103">
              <a:extLst>
                <a:ext uri="{FF2B5EF4-FFF2-40B4-BE49-F238E27FC236}">
                  <a16:creationId xmlns:a16="http://schemas.microsoft.com/office/drawing/2014/main" id="{208EFC7C-3AA4-BDBE-82FF-D76062E5D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8208" y="2632605"/>
              <a:ext cx="35642" cy="12673"/>
            </a:xfrm>
            <a:custGeom>
              <a:avLst/>
              <a:gdLst>
                <a:gd name="T0" fmla="*/ 45 w 45"/>
                <a:gd name="T1" fmla="*/ 0 h 16"/>
                <a:gd name="T2" fmla="*/ 45 w 45"/>
                <a:gd name="T3" fmla="*/ 16 h 16"/>
                <a:gd name="T4" fmla="*/ 15 w 45"/>
                <a:gd name="T5" fmla="*/ 16 h 16"/>
                <a:gd name="T6" fmla="*/ 0 w 45"/>
                <a:gd name="T7" fmla="*/ 0 h 16"/>
                <a:gd name="T8" fmla="*/ 45 w 4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6">
                  <a:moveTo>
                    <a:pt x="45" y="0"/>
                  </a:moveTo>
                  <a:lnTo>
                    <a:pt x="45" y="16"/>
                  </a:lnTo>
                  <a:lnTo>
                    <a:pt x="15" y="16"/>
                  </a:lnTo>
                  <a:lnTo>
                    <a:pt x="0" y="0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2" name="Freeform 104">
              <a:extLst>
                <a:ext uri="{FF2B5EF4-FFF2-40B4-BE49-F238E27FC236}">
                  <a16:creationId xmlns:a16="http://schemas.microsoft.com/office/drawing/2014/main" id="{FEAEC40B-2172-DA30-EED5-227E18F0C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1774" y="2693592"/>
              <a:ext cx="72076" cy="24553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0 h 2"/>
                <a:gd name="T6" fmla="*/ 6 w 6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4" y="2"/>
                    <a:pt x="2" y="0"/>
                    <a:pt x="0" y="1"/>
                  </a:cubicBezTo>
                  <a:cubicBezTo>
                    <a:pt x="2" y="1"/>
                    <a:pt x="3" y="1"/>
                    <a:pt x="6" y="0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3" name="Freeform 105">
              <a:extLst>
                <a:ext uri="{FF2B5EF4-FFF2-40B4-BE49-F238E27FC236}">
                  <a16:creationId xmlns:a16="http://schemas.microsoft.com/office/drawing/2014/main" id="{59C88C4D-7ED3-D0A1-B4A8-2B754AF53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3849" y="3191784"/>
              <a:ext cx="48314" cy="12673"/>
            </a:xfrm>
            <a:custGeom>
              <a:avLst/>
              <a:gdLst>
                <a:gd name="T0" fmla="*/ 4 w 4"/>
                <a:gd name="T1" fmla="*/ 1 h 1"/>
                <a:gd name="T2" fmla="*/ 0 w 4"/>
                <a:gd name="T3" fmla="*/ 1 h 1"/>
                <a:gd name="T4" fmla="*/ 4 w 4"/>
                <a:gd name="T5" fmla="*/ 0 h 1"/>
                <a:gd name="T6" fmla="*/ 4 w 4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3" y="0"/>
                    <a:pt x="1" y="1"/>
                    <a:pt x="0" y="1"/>
                  </a:cubicBezTo>
                  <a:cubicBezTo>
                    <a:pt x="0" y="0"/>
                    <a:pt x="2" y="0"/>
                    <a:pt x="4" y="0"/>
                  </a:cubicBezTo>
                  <a:lnTo>
                    <a:pt x="4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4" name="Freeform 106">
              <a:extLst>
                <a:ext uri="{FF2B5EF4-FFF2-40B4-BE49-F238E27FC236}">
                  <a16:creationId xmlns:a16="http://schemas.microsoft.com/office/drawing/2014/main" id="{E8DD79D1-5EA9-9286-C25C-7CA52AB99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283" y="3398506"/>
              <a:ext cx="11881" cy="12673"/>
            </a:xfrm>
            <a:custGeom>
              <a:avLst/>
              <a:gdLst>
                <a:gd name="T0" fmla="*/ 15 w 15"/>
                <a:gd name="T1" fmla="*/ 0 h 16"/>
                <a:gd name="T2" fmla="*/ 15 w 15"/>
                <a:gd name="T3" fmla="*/ 0 h 16"/>
                <a:gd name="T4" fmla="*/ 0 w 15"/>
                <a:gd name="T5" fmla="*/ 16 h 16"/>
                <a:gd name="T6" fmla="*/ 0 w 15"/>
                <a:gd name="T7" fmla="*/ 0 h 16"/>
                <a:gd name="T8" fmla="*/ 15 w 1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5" y="0"/>
                  </a:moveTo>
                  <a:lnTo>
                    <a:pt x="15" y="0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5" name="Freeform 107">
              <a:extLst>
                <a:ext uri="{FF2B5EF4-FFF2-40B4-BE49-F238E27FC236}">
                  <a16:creationId xmlns:a16="http://schemas.microsoft.com/office/drawing/2014/main" id="{E1CF2B7E-9007-34AF-1D5A-48BE023A3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799" y="3520481"/>
              <a:ext cx="433245" cy="145735"/>
            </a:xfrm>
            <a:custGeom>
              <a:avLst/>
              <a:gdLst>
                <a:gd name="T0" fmla="*/ 11 w 36"/>
                <a:gd name="T1" fmla="*/ 9 h 12"/>
                <a:gd name="T2" fmla="*/ 7 w 36"/>
                <a:gd name="T3" fmla="*/ 10 h 12"/>
                <a:gd name="T4" fmla="*/ 2 w 36"/>
                <a:gd name="T5" fmla="*/ 9 h 12"/>
                <a:gd name="T6" fmla="*/ 1 w 36"/>
                <a:gd name="T7" fmla="*/ 10 h 12"/>
                <a:gd name="T8" fmla="*/ 2 w 36"/>
                <a:gd name="T9" fmla="*/ 11 h 12"/>
                <a:gd name="T10" fmla="*/ 2 w 36"/>
                <a:gd name="T11" fmla="*/ 10 h 12"/>
                <a:gd name="T12" fmla="*/ 3 w 36"/>
                <a:gd name="T13" fmla="*/ 10 h 12"/>
                <a:gd name="T14" fmla="*/ 3 w 36"/>
                <a:gd name="T15" fmla="*/ 11 h 12"/>
                <a:gd name="T16" fmla="*/ 0 w 36"/>
                <a:gd name="T17" fmla="*/ 10 h 12"/>
                <a:gd name="T18" fmla="*/ 1 w 36"/>
                <a:gd name="T19" fmla="*/ 9 h 12"/>
                <a:gd name="T20" fmla="*/ 2 w 36"/>
                <a:gd name="T21" fmla="*/ 9 h 12"/>
                <a:gd name="T22" fmla="*/ 2 w 36"/>
                <a:gd name="T23" fmla="*/ 9 h 12"/>
                <a:gd name="T24" fmla="*/ 6 w 36"/>
                <a:gd name="T25" fmla="*/ 8 h 12"/>
                <a:gd name="T26" fmla="*/ 7 w 36"/>
                <a:gd name="T27" fmla="*/ 7 h 12"/>
                <a:gd name="T28" fmla="*/ 6 w 36"/>
                <a:gd name="T29" fmla="*/ 8 h 12"/>
                <a:gd name="T30" fmla="*/ 9 w 36"/>
                <a:gd name="T31" fmla="*/ 8 h 12"/>
                <a:gd name="T32" fmla="*/ 8 w 36"/>
                <a:gd name="T33" fmla="*/ 7 h 12"/>
                <a:gd name="T34" fmla="*/ 10 w 36"/>
                <a:gd name="T35" fmla="*/ 6 h 12"/>
                <a:gd name="T36" fmla="*/ 19 w 36"/>
                <a:gd name="T37" fmla="*/ 2 h 12"/>
                <a:gd name="T38" fmla="*/ 19 w 36"/>
                <a:gd name="T39" fmla="*/ 2 h 12"/>
                <a:gd name="T40" fmla="*/ 23 w 36"/>
                <a:gd name="T41" fmla="*/ 0 h 12"/>
                <a:gd name="T42" fmla="*/ 34 w 36"/>
                <a:gd name="T43" fmla="*/ 1 h 12"/>
                <a:gd name="T44" fmla="*/ 36 w 36"/>
                <a:gd name="T45" fmla="*/ 2 h 12"/>
                <a:gd name="T46" fmla="*/ 11 w 36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" h="12">
                  <a:moveTo>
                    <a:pt x="11" y="9"/>
                  </a:moveTo>
                  <a:cubicBezTo>
                    <a:pt x="10" y="11"/>
                    <a:pt x="9" y="11"/>
                    <a:pt x="7" y="10"/>
                  </a:cubicBezTo>
                  <a:cubicBezTo>
                    <a:pt x="6" y="9"/>
                    <a:pt x="4" y="10"/>
                    <a:pt x="2" y="9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1"/>
                    <a:pt x="2" y="11"/>
                    <a:pt x="2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0"/>
                    <a:pt x="0" y="12"/>
                    <a:pt x="0" y="10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4" y="8"/>
                    <a:pt x="6" y="8"/>
                  </a:cubicBezTo>
                  <a:cubicBezTo>
                    <a:pt x="6" y="7"/>
                    <a:pt x="5" y="7"/>
                    <a:pt x="7" y="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7" y="8"/>
                    <a:pt x="8" y="8"/>
                    <a:pt x="9" y="8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6"/>
                    <a:pt x="12" y="9"/>
                    <a:pt x="10" y="6"/>
                  </a:cubicBezTo>
                  <a:cubicBezTo>
                    <a:pt x="14" y="5"/>
                    <a:pt x="15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21" y="3"/>
                    <a:pt x="21" y="0"/>
                    <a:pt x="23" y="0"/>
                  </a:cubicBezTo>
                  <a:cubicBezTo>
                    <a:pt x="27" y="1"/>
                    <a:pt x="30" y="2"/>
                    <a:pt x="34" y="1"/>
                  </a:cubicBezTo>
                  <a:cubicBezTo>
                    <a:pt x="34" y="2"/>
                    <a:pt x="35" y="1"/>
                    <a:pt x="36" y="2"/>
                  </a:cubicBezTo>
                  <a:cubicBezTo>
                    <a:pt x="28" y="4"/>
                    <a:pt x="19" y="7"/>
                    <a:pt x="11" y="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6" name="Freeform 108">
              <a:extLst>
                <a:ext uri="{FF2B5EF4-FFF2-40B4-BE49-F238E27FC236}">
                  <a16:creationId xmlns:a16="http://schemas.microsoft.com/office/drawing/2014/main" id="{44B4EF16-3DAB-BC6B-ACF6-62FE801F4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3849" y="3653543"/>
              <a:ext cx="60195" cy="12673"/>
            </a:xfrm>
            <a:custGeom>
              <a:avLst/>
              <a:gdLst>
                <a:gd name="T0" fmla="*/ 0 w 76"/>
                <a:gd name="T1" fmla="*/ 16 h 16"/>
                <a:gd name="T2" fmla="*/ 76 w 76"/>
                <a:gd name="T3" fmla="*/ 0 h 16"/>
                <a:gd name="T4" fmla="*/ 61 w 76"/>
                <a:gd name="T5" fmla="*/ 16 h 16"/>
                <a:gd name="T6" fmla="*/ 0 w 76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16">
                  <a:moveTo>
                    <a:pt x="0" y="16"/>
                  </a:moveTo>
                  <a:lnTo>
                    <a:pt x="76" y="0"/>
                  </a:lnTo>
                  <a:lnTo>
                    <a:pt x="61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7" name="Freeform 109">
              <a:extLst>
                <a:ext uri="{FF2B5EF4-FFF2-40B4-BE49-F238E27FC236}">
                  <a16:creationId xmlns:a16="http://schemas.microsoft.com/office/drawing/2014/main" id="{A8747293-ACF9-E198-5A5E-B6BBA534D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3849" y="3398506"/>
              <a:ext cx="11881" cy="12673"/>
            </a:xfrm>
            <a:custGeom>
              <a:avLst/>
              <a:gdLst>
                <a:gd name="T0" fmla="*/ 0 w 15"/>
                <a:gd name="T1" fmla="*/ 0 h 16"/>
                <a:gd name="T2" fmla="*/ 15 w 15"/>
                <a:gd name="T3" fmla="*/ 0 h 16"/>
                <a:gd name="T4" fmla="*/ 15 w 15"/>
                <a:gd name="T5" fmla="*/ 16 h 16"/>
                <a:gd name="T6" fmla="*/ 0 w 15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0" y="0"/>
                  </a:moveTo>
                  <a:lnTo>
                    <a:pt x="15" y="0"/>
                  </a:lnTo>
                  <a:lnTo>
                    <a:pt x="15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8" name="Freeform 110">
              <a:extLst>
                <a:ext uri="{FF2B5EF4-FFF2-40B4-BE49-F238E27FC236}">
                  <a16:creationId xmlns:a16="http://schemas.microsoft.com/office/drawing/2014/main" id="{5CC15F3F-67E9-D403-A589-8B5B00117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8013" y="3386626"/>
              <a:ext cx="95837" cy="36434"/>
            </a:xfrm>
            <a:custGeom>
              <a:avLst/>
              <a:gdLst>
                <a:gd name="T0" fmla="*/ 7 w 8"/>
                <a:gd name="T1" fmla="*/ 2 h 3"/>
                <a:gd name="T2" fmla="*/ 7 w 8"/>
                <a:gd name="T3" fmla="*/ 2 h 3"/>
                <a:gd name="T4" fmla="*/ 5 w 8"/>
                <a:gd name="T5" fmla="*/ 1 h 3"/>
                <a:gd name="T6" fmla="*/ 4 w 8"/>
                <a:gd name="T7" fmla="*/ 2 h 3"/>
                <a:gd name="T8" fmla="*/ 5 w 8"/>
                <a:gd name="T9" fmla="*/ 2 h 3"/>
                <a:gd name="T10" fmla="*/ 2 w 8"/>
                <a:gd name="T11" fmla="*/ 3 h 3"/>
                <a:gd name="T12" fmla="*/ 2 w 8"/>
                <a:gd name="T13" fmla="*/ 1 h 3"/>
                <a:gd name="T14" fmla="*/ 0 w 8"/>
                <a:gd name="T15" fmla="*/ 2 h 3"/>
                <a:gd name="T16" fmla="*/ 1 w 8"/>
                <a:gd name="T17" fmla="*/ 3 h 3"/>
                <a:gd name="T18" fmla="*/ 0 w 8"/>
                <a:gd name="T19" fmla="*/ 2 h 3"/>
                <a:gd name="T20" fmla="*/ 0 w 8"/>
                <a:gd name="T21" fmla="*/ 1 h 3"/>
                <a:gd name="T22" fmla="*/ 2 w 8"/>
                <a:gd name="T23" fmla="*/ 1 h 3"/>
                <a:gd name="T24" fmla="*/ 2 w 8"/>
                <a:gd name="T25" fmla="*/ 1 h 3"/>
                <a:gd name="T26" fmla="*/ 7 w 8"/>
                <a:gd name="T27" fmla="*/ 1 h 3"/>
                <a:gd name="T28" fmla="*/ 8 w 8"/>
                <a:gd name="T29" fmla="*/ 2 h 3"/>
                <a:gd name="T30" fmla="*/ 7 w 8"/>
                <a:gd name="T3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3">
                  <a:moveTo>
                    <a:pt x="7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7" y="0"/>
                    <a:pt x="6" y="1"/>
                    <a:pt x="5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3" y="0"/>
                    <a:pt x="2" y="3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1" y="1"/>
                    <a:pt x="1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4" y="1"/>
                    <a:pt x="5" y="1"/>
                    <a:pt x="7" y="1"/>
                  </a:cubicBezTo>
                  <a:cubicBezTo>
                    <a:pt x="8" y="2"/>
                    <a:pt x="8" y="2"/>
                    <a:pt x="8" y="2"/>
                  </a:cubicBezTo>
                  <a:lnTo>
                    <a:pt x="7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9" name="Freeform 111">
              <a:extLst>
                <a:ext uri="{FF2B5EF4-FFF2-40B4-BE49-F238E27FC236}">
                  <a16:creationId xmlns:a16="http://schemas.microsoft.com/office/drawing/2014/main" id="{57A5E9DE-1815-AF05-0300-D47B95FFC37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5340" y="2997735"/>
              <a:ext cx="48314" cy="48314"/>
            </a:xfrm>
            <a:custGeom>
              <a:avLst/>
              <a:gdLst>
                <a:gd name="T0" fmla="*/ 0 w 4"/>
                <a:gd name="T1" fmla="*/ 2 h 4"/>
                <a:gd name="T2" fmla="*/ 0 w 4"/>
                <a:gd name="T3" fmla="*/ 2 h 4"/>
                <a:gd name="T4" fmla="*/ 0 w 4"/>
                <a:gd name="T5" fmla="*/ 0 h 4"/>
                <a:gd name="T6" fmla="*/ 4 w 4"/>
                <a:gd name="T7" fmla="*/ 1 h 4"/>
                <a:gd name="T8" fmla="*/ 0 w 4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2" y="1"/>
                    <a:pt x="4" y="1"/>
                  </a:cubicBezTo>
                  <a:cubicBezTo>
                    <a:pt x="4" y="4"/>
                    <a:pt x="1" y="2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0" name="Freeform 112">
              <a:extLst>
                <a:ext uri="{FF2B5EF4-FFF2-40B4-BE49-F238E27FC236}">
                  <a16:creationId xmlns:a16="http://schemas.microsoft.com/office/drawing/2014/main" id="{8CA7E7E8-7953-0BD9-7873-112A572D6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9893" y="3313758"/>
              <a:ext cx="48314" cy="23761"/>
            </a:xfrm>
            <a:custGeom>
              <a:avLst/>
              <a:gdLst>
                <a:gd name="T0" fmla="*/ 0 w 4"/>
                <a:gd name="T1" fmla="*/ 2 h 2"/>
                <a:gd name="T2" fmla="*/ 0 w 4"/>
                <a:gd name="T3" fmla="*/ 0 h 2"/>
                <a:gd name="T4" fmla="*/ 0 w 4"/>
                <a:gd name="T5" fmla="*/ 0 h 2"/>
                <a:gd name="T6" fmla="*/ 4 w 4"/>
                <a:gd name="T7" fmla="*/ 1 h 2"/>
                <a:gd name="T8" fmla="*/ 0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cubicBezTo>
                    <a:pt x="0" y="2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3" y="0"/>
                    <a:pt x="4" y="1"/>
                  </a:cubicBezTo>
                  <a:cubicBezTo>
                    <a:pt x="4" y="2"/>
                    <a:pt x="1" y="0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1" name="Freeform 113">
              <a:extLst>
                <a:ext uri="{FF2B5EF4-FFF2-40B4-BE49-F238E27FC236}">
                  <a16:creationId xmlns:a16="http://schemas.microsoft.com/office/drawing/2014/main" id="{F12218C9-A3DF-908D-81BF-97C1635B355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9698" y="2718145"/>
              <a:ext cx="23761" cy="11881"/>
            </a:xfrm>
            <a:custGeom>
              <a:avLst/>
              <a:gdLst>
                <a:gd name="T0" fmla="*/ 0 w 2"/>
                <a:gd name="T1" fmla="*/ 1 h 1"/>
                <a:gd name="T2" fmla="*/ 0 w 2"/>
                <a:gd name="T3" fmla="*/ 0 h 1"/>
                <a:gd name="T4" fmla="*/ 2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2" name="Freeform 114">
              <a:extLst>
                <a:ext uri="{FF2B5EF4-FFF2-40B4-BE49-F238E27FC236}">
                  <a16:creationId xmlns:a16="http://schemas.microsoft.com/office/drawing/2014/main" id="{F6107008-C077-4670-1E93-3CF76FC75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8208" y="3507808"/>
              <a:ext cx="11881" cy="12673"/>
            </a:xfrm>
            <a:custGeom>
              <a:avLst/>
              <a:gdLst>
                <a:gd name="T0" fmla="*/ 15 w 15"/>
                <a:gd name="T1" fmla="*/ 0 h 16"/>
                <a:gd name="T2" fmla="*/ 15 w 15"/>
                <a:gd name="T3" fmla="*/ 0 h 16"/>
                <a:gd name="T4" fmla="*/ 0 w 15"/>
                <a:gd name="T5" fmla="*/ 16 h 16"/>
                <a:gd name="T6" fmla="*/ 0 w 15"/>
                <a:gd name="T7" fmla="*/ 0 h 16"/>
                <a:gd name="T8" fmla="*/ 15 w 1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5" y="0"/>
                  </a:moveTo>
                  <a:lnTo>
                    <a:pt x="15" y="0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3" name="Freeform 115">
              <a:extLst>
                <a:ext uri="{FF2B5EF4-FFF2-40B4-BE49-F238E27FC236}">
                  <a16:creationId xmlns:a16="http://schemas.microsoft.com/office/drawing/2014/main" id="{4B96335E-5FEE-56FE-5B03-F2ED0468D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0088" y="3629782"/>
              <a:ext cx="23761" cy="11881"/>
            </a:xfrm>
            <a:custGeom>
              <a:avLst/>
              <a:gdLst>
                <a:gd name="T0" fmla="*/ 0 w 30"/>
                <a:gd name="T1" fmla="*/ 15 h 15"/>
                <a:gd name="T2" fmla="*/ 30 w 30"/>
                <a:gd name="T3" fmla="*/ 0 h 15"/>
                <a:gd name="T4" fmla="*/ 15 w 30"/>
                <a:gd name="T5" fmla="*/ 0 h 15"/>
                <a:gd name="T6" fmla="*/ 0 w 30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5">
                  <a:moveTo>
                    <a:pt x="0" y="15"/>
                  </a:moveTo>
                  <a:lnTo>
                    <a:pt x="30" y="0"/>
                  </a:lnTo>
                  <a:lnTo>
                    <a:pt x="15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4" name="Freeform 116">
              <a:extLst>
                <a:ext uri="{FF2B5EF4-FFF2-40B4-BE49-F238E27FC236}">
                  <a16:creationId xmlns:a16="http://schemas.microsoft.com/office/drawing/2014/main" id="{ADACB7BE-92D8-C7A3-49B2-ED9BFBA697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5535" y="3653543"/>
              <a:ext cx="36434" cy="12673"/>
            </a:xfrm>
            <a:custGeom>
              <a:avLst/>
              <a:gdLst>
                <a:gd name="T0" fmla="*/ 46 w 46"/>
                <a:gd name="T1" fmla="*/ 0 h 16"/>
                <a:gd name="T2" fmla="*/ 46 w 46"/>
                <a:gd name="T3" fmla="*/ 0 h 16"/>
                <a:gd name="T4" fmla="*/ 0 w 46"/>
                <a:gd name="T5" fmla="*/ 16 h 16"/>
                <a:gd name="T6" fmla="*/ 0 w 46"/>
                <a:gd name="T7" fmla="*/ 0 h 16"/>
                <a:gd name="T8" fmla="*/ 46 w 46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6" y="0"/>
                  </a:lnTo>
                  <a:lnTo>
                    <a:pt x="0" y="16"/>
                  </a:lnTo>
                  <a:lnTo>
                    <a:pt x="0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5" name="Freeform 117">
              <a:extLst>
                <a:ext uri="{FF2B5EF4-FFF2-40B4-BE49-F238E27FC236}">
                  <a16:creationId xmlns:a16="http://schemas.microsoft.com/office/drawing/2014/main" id="{0B6617D3-3802-A38C-B75E-F0E23ECA17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3265" y="3216337"/>
              <a:ext cx="144943" cy="36434"/>
            </a:xfrm>
            <a:custGeom>
              <a:avLst/>
              <a:gdLst>
                <a:gd name="T0" fmla="*/ 5 w 12"/>
                <a:gd name="T1" fmla="*/ 3 h 3"/>
                <a:gd name="T2" fmla="*/ 0 w 12"/>
                <a:gd name="T3" fmla="*/ 3 h 3"/>
                <a:gd name="T4" fmla="*/ 0 w 12"/>
                <a:gd name="T5" fmla="*/ 0 h 3"/>
                <a:gd name="T6" fmla="*/ 5 w 12"/>
                <a:gd name="T7" fmla="*/ 2 h 3"/>
                <a:gd name="T8" fmla="*/ 6 w 12"/>
                <a:gd name="T9" fmla="*/ 1 h 3"/>
                <a:gd name="T10" fmla="*/ 6 w 12"/>
                <a:gd name="T11" fmla="*/ 2 h 3"/>
                <a:gd name="T12" fmla="*/ 7 w 12"/>
                <a:gd name="T13" fmla="*/ 0 h 3"/>
                <a:gd name="T14" fmla="*/ 5 w 12"/>
                <a:gd name="T1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3">
                  <a:moveTo>
                    <a:pt x="5" y="3"/>
                  </a:moveTo>
                  <a:cubicBezTo>
                    <a:pt x="3" y="3"/>
                    <a:pt x="2" y="3"/>
                    <a:pt x="0" y="3"/>
                  </a:cubicBezTo>
                  <a:cubicBezTo>
                    <a:pt x="1" y="2"/>
                    <a:pt x="0" y="0"/>
                    <a:pt x="0" y="0"/>
                  </a:cubicBezTo>
                  <a:cubicBezTo>
                    <a:pt x="0" y="3"/>
                    <a:pt x="4" y="0"/>
                    <a:pt x="5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1"/>
                    <a:pt x="7" y="1"/>
                    <a:pt x="7" y="0"/>
                  </a:cubicBezTo>
                  <a:cubicBezTo>
                    <a:pt x="12" y="2"/>
                    <a:pt x="6" y="3"/>
                    <a:pt x="5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6" name="Freeform 118">
              <a:extLst>
                <a:ext uri="{FF2B5EF4-FFF2-40B4-BE49-F238E27FC236}">
                  <a16:creationId xmlns:a16="http://schemas.microsoft.com/office/drawing/2014/main" id="{6C4C1140-F17A-5AB8-F006-83FD94B77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5145" y="2620724"/>
              <a:ext cx="12673" cy="11881"/>
            </a:xfrm>
            <a:custGeom>
              <a:avLst/>
              <a:gdLst>
                <a:gd name="T0" fmla="*/ 0 w 16"/>
                <a:gd name="T1" fmla="*/ 15 h 15"/>
                <a:gd name="T2" fmla="*/ 16 w 16"/>
                <a:gd name="T3" fmla="*/ 0 h 15"/>
                <a:gd name="T4" fmla="*/ 16 w 16"/>
                <a:gd name="T5" fmla="*/ 15 h 15"/>
                <a:gd name="T6" fmla="*/ 0 w 16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5">
                  <a:moveTo>
                    <a:pt x="0" y="15"/>
                  </a:moveTo>
                  <a:lnTo>
                    <a:pt x="16" y="0"/>
                  </a:lnTo>
                  <a:lnTo>
                    <a:pt x="16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7" name="Freeform 119">
              <a:extLst>
                <a:ext uri="{FF2B5EF4-FFF2-40B4-BE49-F238E27FC236}">
                  <a16:creationId xmlns:a16="http://schemas.microsoft.com/office/drawing/2014/main" id="{6242D980-BD6B-70F3-5DAE-0FEA771102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5145" y="2875761"/>
              <a:ext cx="48314" cy="12673"/>
            </a:xfrm>
            <a:custGeom>
              <a:avLst/>
              <a:gdLst>
                <a:gd name="T0" fmla="*/ 1 w 4"/>
                <a:gd name="T1" fmla="*/ 1 h 1"/>
                <a:gd name="T2" fmla="*/ 0 w 4"/>
                <a:gd name="T3" fmla="*/ 0 h 1"/>
                <a:gd name="T4" fmla="*/ 4 w 4"/>
                <a:gd name="T5" fmla="*/ 0 h 1"/>
                <a:gd name="T6" fmla="*/ 1 w 4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2" y="0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8" name="Freeform 120">
              <a:extLst>
                <a:ext uri="{FF2B5EF4-FFF2-40B4-BE49-F238E27FC236}">
                  <a16:creationId xmlns:a16="http://schemas.microsoft.com/office/drawing/2014/main" id="{11AB44D7-57D1-357B-353C-B04F1703C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9893" y="3629782"/>
              <a:ext cx="48314" cy="11881"/>
            </a:xfrm>
            <a:custGeom>
              <a:avLst/>
              <a:gdLst>
                <a:gd name="T0" fmla="*/ 61 w 61"/>
                <a:gd name="T1" fmla="*/ 0 h 15"/>
                <a:gd name="T2" fmla="*/ 0 w 61"/>
                <a:gd name="T3" fmla="*/ 15 h 15"/>
                <a:gd name="T4" fmla="*/ 61 w 61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15">
                  <a:moveTo>
                    <a:pt x="61" y="0"/>
                  </a:moveTo>
                  <a:lnTo>
                    <a:pt x="0" y="15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9" name="Freeform 121">
              <a:extLst>
                <a:ext uri="{FF2B5EF4-FFF2-40B4-BE49-F238E27FC236}">
                  <a16:creationId xmlns:a16="http://schemas.microsoft.com/office/drawing/2014/main" id="{E7165FFB-CC93-46C2-6AA2-DDCD01DADAA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1384" y="3009615"/>
              <a:ext cx="72076" cy="36434"/>
            </a:xfrm>
            <a:custGeom>
              <a:avLst/>
              <a:gdLst>
                <a:gd name="T0" fmla="*/ 0 w 6"/>
                <a:gd name="T1" fmla="*/ 3 h 3"/>
                <a:gd name="T2" fmla="*/ 6 w 6"/>
                <a:gd name="T3" fmla="*/ 0 h 3"/>
                <a:gd name="T4" fmla="*/ 0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0" y="3"/>
                  </a:moveTo>
                  <a:cubicBezTo>
                    <a:pt x="2" y="1"/>
                    <a:pt x="5" y="1"/>
                    <a:pt x="6" y="0"/>
                  </a:cubicBezTo>
                  <a:cubicBezTo>
                    <a:pt x="5" y="1"/>
                    <a:pt x="3" y="3"/>
                    <a:pt x="0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0" name="Freeform 122">
              <a:extLst>
                <a:ext uri="{FF2B5EF4-FFF2-40B4-BE49-F238E27FC236}">
                  <a16:creationId xmlns:a16="http://schemas.microsoft.com/office/drawing/2014/main" id="{677B38A5-CEB4-9F0D-EBE1-67A1D8C6D4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742" y="2705472"/>
              <a:ext cx="47522" cy="36434"/>
            </a:xfrm>
            <a:custGeom>
              <a:avLst/>
              <a:gdLst>
                <a:gd name="T0" fmla="*/ 1 w 4"/>
                <a:gd name="T1" fmla="*/ 2 h 3"/>
                <a:gd name="T2" fmla="*/ 0 w 4"/>
                <a:gd name="T3" fmla="*/ 2 h 3"/>
                <a:gd name="T4" fmla="*/ 1 w 4"/>
                <a:gd name="T5" fmla="*/ 0 h 3"/>
                <a:gd name="T6" fmla="*/ 4 w 4"/>
                <a:gd name="T7" fmla="*/ 1 h 3"/>
                <a:gd name="T8" fmla="*/ 1 w 4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1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3" y="3"/>
                    <a:pt x="4" y="1"/>
                  </a:cubicBezTo>
                  <a:cubicBezTo>
                    <a:pt x="3" y="1"/>
                    <a:pt x="1" y="3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1" name="Freeform 123">
              <a:extLst>
                <a:ext uri="{FF2B5EF4-FFF2-40B4-BE49-F238E27FC236}">
                  <a16:creationId xmlns:a16="http://schemas.microsoft.com/office/drawing/2014/main" id="{2D532873-7D9C-5408-3061-653449B7F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2680" y="3373953"/>
              <a:ext cx="252660" cy="73660"/>
            </a:xfrm>
            <a:custGeom>
              <a:avLst/>
              <a:gdLst>
                <a:gd name="T0" fmla="*/ 18 w 21"/>
                <a:gd name="T1" fmla="*/ 2 h 6"/>
                <a:gd name="T2" fmla="*/ 20 w 21"/>
                <a:gd name="T3" fmla="*/ 3 h 6"/>
                <a:gd name="T4" fmla="*/ 16 w 21"/>
                <a:gd name="T5" fmla="*/ 4 h 6"/>
                <a:gd name="T6" fmla="*/ 14 w 21"/>
                <a:gd name="T7" fmla="*/ 3 h 6"/>
                <a:gd name="T8" fmla="*/ 13 w 21"/>
                <a:gd name="T9" fmla="*/ 5 h 6"/>
                <a:gd name="T10" fmla="*/ 5 w 21"/>
                <a:gd name="T11" fmla="*/ 5 h 6"/>
                <a:gd name="T12" fmla="*/ 5 w 21"/>
                <a:gd name="T13" fmla="*/ 6 h 6"/>
                <a:gd name="T14" fmla="*/ 0 w 21"/>
                <a:gd name="T15" fmla="*/ 6 h 6"/>
                <a:gd name="T16" fmla="*/ 1 w 21"/>
                <a:gd name="T17" fmla="*/ 6 h 6"/>
                <a:gd name="T18" fmla="*/ 3 w 21"/>
                <a:gd name="T19" fmla="*/ 5 h 6"/>
                <a:gd name="T20" fmla="*/ 3 w 21"/>
                <a:gd name="T21" fmla="*/ 4 h 6"/>
                <a:gd name="T22" fmla="*/ 7 w 21"/>
                <a:gd name="T23" fmla="*/ 3 h 6"/>
                <a:gd name="T24" fmla="*/ 8 w 21"/>
                <a:gd name="T25" fmla="*/ 2 h 6"/>
                <a:gd name="T26" fmla="*/ 6 w 21"/>
                <a:gd name="T27" fmla="*/ 1 h 6"/>
                <a:gd name="T28" fmla="*/ 5 w 21"/>
                <a:gd name="T29" fmla="*/ 2 h 6"/>
                <a:gd name="T30" fmla="*/ 4 w 21"/>
                <a:gd name="T31" fmla="*/ 2 h 6"/>
                <a:gd name="T32" fmla="*/ 14 w 21"/>
                <a:gd name="T33" fmla="*/ 1 h 6"/>
                <a:gd name="T34" fmla="*/ 14 w 21"/>
                <a:gd name="T35" fmla="*/ 2 h 6"/>
                <a:gd name="T36" fmla="*/ 13 w 21"/>
                <a:gd name="T37" fmla="*/ 2 h 6"/>
                <a:gd name="T38" fmla="*/ 14 w 21"/>
                <a:gd name="T39" fmla="*/ 3 h 6"/>
                <a:gd name="T40" fmla="*/ 17 w 21"/>
                <a:gd name="T41" fmla="*/ 2 h 6"/>
                <a:gd name="T42" fmla="*/ 15 w 21"/>
                <a:gd name="T43" fmla="*/ 1 h 6"/>
                <a:gd name="T44" fmla="*/ 21 w 21"/>
                <a:gd name="T45" fmla="*/ 1 h 6"/>
                <a:gd name="T46" fmla="*/ 18 w 21"/>
                <a:gd name="T4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" h="6">
                  <a:moveTo>
                    <a:pt x="18" y="2"/>
                  </a:moveTo>
                  <a:cubicBezTo>
                    <a:pt x="20" y="3"/>
                    <a:pt x="20" y="3"/>
                    <a:pt x="20" y="3"/>
                  </a:cubicBezTo>
                  <a:cubicBezTo>
                    <a:pt x="20" y="5"/>
                    <a:pt x="18" y="4"/>
                    <a:pt x="16" y="4"/>
                  </a:cubicBezTo>
                  <a:cubicBezTo>
                    <a:pt x="16" y="2"/>
                    <a:pt x="14" y="5"/>
                    <a:pt x="14" y="3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0" y="3"/>
                    <a:pt x="8" y="6"/>
                    <a:pt x="5" y="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5"/>
                    <a:pt x="1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5"/>
                    <a:pt x="3" y="4"/>
                    <a:pt x="3" y="4"/>
                  </a:cubicBezTo>
                  <a:cubicBezTo>
                    <a:pt x="4" y="4"/>
                    <a:pt x="8" y="4"/>
                    <a:pt x="7" y="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6" y="2"/>
                    <a:pt x="6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2"/>
                    <a:pt x="4" y="1"/>
                    <a:pt x="4" y="2"/>
                  </a:cubicBezTo>
                  <a:cubicBezTo>
                    <a:pt x="5" y="0"/>
                    <a:pt x="11" y="1"/>
                    <a:pt x="14" y="1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3"/>
                    <a:pt x="13" y="3"/>
                    <a:pt x="14" y="3"/>
                  </a:cubicBezTo>
                  <a:cubicBezTo>
                    <a:pt x="15" y="3"/>
                    <a:pt x="16" y="3"/>
                    <a:pt x="17" y="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8" y="0"/>
                    <a:pt x="19" y="1"/>
                    <a:pt x="21" y="1"/>
                  </a:cubicBezTo>
                  <a:cubicBezTo>
                    <a:pt x="20" y="2"/>
                    <a:pt x="19" y="0"/>
                    <a:pt x="18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2" name="Freeform 124">
              <a:extLst>
                <a:ext uri="{FF2B5EF4-FFF2-40B4-BE49-F238E27FC236}">
                  <a16:creationId xmlns:a16="http://schemas.microsoft.com/office/drawing/2014/main" id="{FC69A6FB-77D4-2C33-8498-C0BAA5E8A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1579" y="3641663"/>
              <a:ext cx="36434" cy="11881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0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1"/>
                    <a:pt x="2" y="0"/>
                    <a:pt x="3" y="1"/>
                  </a:cubicBezTo>
                  <a:cubicBezTo>
                    <a:pt x="3" y="1"/>
                    <a:pt x="1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3" name="Freeform 125">
              <a:extLst>
                <a:ext uri="{FF2B5EF4-FFF2-40B4-BE49-F238E27FC236}">
                  <a16:creationId xmlns:a16="http://schemas.microsoft.com/office/drawing/2014/main" id="{B71A8C98-7D8C-A107-DC1F-E671CBDDD2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3070" y="2608843"/>
              <a:ext cx="12673" cy="11881"/>
            </a:xfrm>
            <a:custGeom>
              <a:avLst/>
              <a:gdLst>
                <a:gd name="T0" fmla="*/ 0 w 16"/>
                <a:gd name="T1" fmla="*/ 15 h 15"/>
                <a:gd name="T2" fmla="*/ 16 w 16"/>
                <a:gd name="T3" fmla="*/ 0 h 15"/>
                <a:gd name="T4" fmla="*/ 16 w 16"/>
                <a:gd name="T5" fmla="*/ 15 h 15"/>
                <a:gd name="T6" fmla="*/ 0 w 16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5">
                  <a:moveTo>
                    <a:pt x="0" y="15"/>
                  </a:moveTo>
                  <a:lnTo>
                    <a:pt x="16" y="0"/>
                  </a:lnTo>
                  <a:lnTo>
                    <a:pt x="16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4" name="Rectangle 126">
              <a:extLst>
                <a:ext uri="{FF2B5EF4-FFF2-40B4-BE49-F238E27FC236}">
                  <a16:creationId xmlns:a16="http://schemas.microsoft.com/office/drawing/2014/main" id="{E5C4C141-A008-94B2-94DC-78F65B95FE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5145" y="3240891"/>
              <a:ext cx="12673" cy="1188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5" name="Freeform 127">
              <a:extLst>
                <a:ext uri="{FF2B5EF4-FFF2-40B4-BE49-F238E27FC236}">
                  <a16:creationId xmlns:a16="http://schemas.microsoft.com/office/drawing/2014/main" id="{35B16380-A105-74F9-0A34-F116512DC4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5145" y="3325639"/>
              <a:ext cx="24553" cy="11881"/>
            </a:xfrm>
            <a:custGeom>
              <a:avLst/>
              <a:gdLst>
                <a:gd name="T0" fmla="*/ 0 w 2"/>
                <a:gd name="T1" fmla="*/ 1 h 1"/>
                <a:gd name="T2" fmla="*/ 0 w 2"/>
                <a:gd name="T3" fmla="*/ 1 h 1"/>
                <a:gd name="T4" fmla="*/ 2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6" name="Freeform 128">
              <a:extLst>
                <a:ext uri="{FF2B5EF4-FFF2-40B4-BE49-F238E27FC236}">
                  <a16:creationId xmlns:a16="http://schemas.microsoft.com/office/drawing/2014/main" id="{078F7407-C5EA-65FF-3EC2-04979849C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7818" y="3434940"/>
              <a:ext cx="11881" cy="12673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1 w 1"/>
                <a:gd name="T5" fmla="*/ 1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7" name="Freeform 129">
              <a:extLst>
                <a:ext uri="{FF2B5EF4-FFF2-40B4-BE49-F238E27FC236}">
                  <a16:creationId xmlns:a16="http://schemas.microsoft.com/office/drawing/2014/main" id="{9D443590-D761-ADC4-2BB0-4227F68656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7428" y="3021496"/>
              <a:ext cx="72076" cy="36434"/>
            </a:xfrm>
            <a:custGeom>
              <a:avLst/>
              <a:gdLst>
                <a:gd name="T0" fmla="*/ 4 w 6"/>
                <a:gd name="T1" fmla="*/ 3 h 3"/>
                <a:gd name="T2" fmla="*/ 4 w 6"/>
                <a:gd name="T3" fmla="*/ 2 h 3"/>
                <a:gd name="T4" fmla="*/ 1 w 6"/>
                <a:gd name="T5" fmla="*/ 2 h 3"/>
                <a:gd name="T6" fmla="*/ 3 w 6"/>
                <a:gd name="T7" fmla="*/ 0 h 3"/>
                <a:gd name="T8" fmla="*/ 4 w 6"/>
                <a:gd name="T9" fmla="*/ 2 h 3"/>
                <a:gd name="T10" fmla="*/ 6 w 6"/>
                <a:gd name="T11" fmla="*/ 2 h 3"/>
                <a:gd name="T12" fmla="*/ 4 w 6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4" y="3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3" y="1"/>
                    <a:pt x="1" y="2"/>
                    <a:pt x="1" y="2"/>
                  </a:cubicBezTo>
                  <a:cubicBezTo>
                    <a:pt x="0" y="0"/>
                    <a:pt x="2" y="1"/>
                    <a:pt x="3" y="0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5" y="1"/>
                    <a:pt x="5" y="1"/>
                    <a:pt x="6" y="2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8" name="Freeform 130">
              <a:extLst>
                <a:ext uri="{FF2B5EF4-FFF2-40B4-BE49-F238E27FC236}">
                  <a16:creationId xmlns:a16="http://schemas.microsoft.com/office/drawing/2014/main" id="{7AA4D206-CDCA-BDA2-66F1-552B130556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1384" y="3350192"/>
              <a:ext cx="11881" cy="23761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2 h 2"/>
                <a:gd name="T4" fmla="*/ 0 w 1"/>
                <a:gd name="T5" fmla="*/ 1 h 2"/>
                <a:gd name="T6" fmla="*/ 1 w 1"/>
                <a:gd name="T7" fmla="*/ 1 h 2"/>
                <a:gd name="T8" fmla="*/ 1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9" name="Freeform 131">
              <a:extLst>
                <a:ext uri="{FF2B5EF4-FFF2-40B4-BE49-F238E27FC236}">
                  <a16:creationId xmlns:a16="http://schemas.microsoft.com/office/drawing/2014/main" id="{DFDBD454-8531-221D-A354-F467E53E4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3070" y="3653543"/>
              <a:ext cx="108509" cy="24553"/>
            </a:xfrm>
            <a:custGeom>
              <a:avLst/>
              <a:gdLst>
                <a:gd name="T0" fmla="*/ 8 w 9"/>
                <a:gd name="T1" fmla="*/ 2 h 2"/>
                <a:gd name="T2" fmla="*/ 0 w 9"/>
                <a:gd name="T3" fmla="*/ 2 h 2"/>
                <a:gd name="T4" fmla="*/ 1 w 9"/>
                <a:gd name="T5" fmla="*/ 1 h 2"/>
                <a:gd name="T6" fmla="*/ 2 w 9"/>
                <a:gd name="T7" fmla="*/ 1 h 2"/>
                <a:gd name="T8" fmla="*/ 9 w 9"/>
                <a:gd name="T9" fmla="*/ 1 h 2"/>
                <a:gd name="T10" fmla="*/ 8 w 9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">
                  <a:moveTo>
                    <a:pt x="8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0" y="0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2"/>
                    <a:pt x="8" y="2"/>
                    <a:pt x="8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0" name="Freeform 132">
              <a:extLst>
                <a:ext uri="{FF2B5EF4-FFF2-40B4-BE49-F238E27FC236}">
                  <a16:creationId xmlns:a16="http://schemas.microsoft.com/office/drawing/2014/main" id="{83F3E2A3-1E2D-421C-2BAE-44B570918E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9308" y="3216337"/>
              <a:ext cx="72076" cy="36434"/>
            </a:xfrm>
            <a:custGeom>
              <a:avLst/>
              <a:gdLst>
                <a:gd name="T0" fmla="*/ 5 w 6"/>
                <a:gd name="T1" fmla="*/ 3 h 3"/>
                <a:gd name="T2" fmla="*/ 5 w 6"/>
                <a:gd name="T3" fmla="*/ 3 h 3"/>
                <a:gd name="T4" fmla="*/ 4 w 6"/>
                <a:gd name="T5" fmla="*/ 3 h 3"/>
                <a:gd name="T6" fmla="*/ 1 w 6"/>
                <a:gd name="T7" fmla="*/ 3 h 3"/>
                <a:gd name="T8" fmla="*/ 2 w 6"/>
                <a:gd name="T9" fmla="*/ 3 h 3"/>
                <a:gd name="T10" fmla="*/ 1 w 6"/>
                <a:gd name="T11" fmla="*/ 2 h 3"/>
                <a:gd name="T12" fmla="*/ 2 w 6"/>
                <a:gd name="T13" fmla="*/ 1 h 3"/>
                <a:gd name="T14" fmla="*/ 2 w 6"/>
                <a:gd name="T15" fmla="*/ 2 h 3"/>
                <a:gd name="T16" fmla="*/ 4 w 6"/>
                <a:gd name="T17" fmla="*/ 0 h 3"/>
                <a:gd name="T18" fmla="*/ 3 w 6"/>
                <a:gd name="T19" fmla="*/ 2 h 3"/>
                <a:gd name="T20" fmla="*/ 4 w 6"/>
                <a:gd name="T21" fmla="*/ 2 h 3"/>
                <a:gd name="T22" fmla="*/ 5 w 6"/>
                <a:gd name="T23" fmla="*/ 1 h 3"/>
                <a:gd name="T24" fmla="*/ 5 w 6"/>
                <a:gd name="T2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3">
                  <a:moveTo>
                    <a:pt x="5" y="3"/>
                  </a:moveTo>
                  <a:cubicBezTo>
                    <a:pt x="5" y="3"/>
                    <a:pt x="6" y="3"/>
                    <a:pt x="5" y="3"/>
                  </a:cubicBezTo>
                  <a:cubicBezTo>
                    <a:pt x="5" y="2"/>
                    <a:pt x="4" y="3"/>
                    <a:pt x="4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2" y="2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0"/>
                    <a:pt x="4" y="1"/>
                    <a:pt x="4" y="0"/>
                  </a:cubicBezTo>
                  <a:cubicBezTo>
                    <a:pt x="4" y="0"/>
                    <a:pt x="3" y="1"/>
                    <a:pt x="3" y="2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4" y="2"/>
                    <a:pt x="5" y="1"/>
                    <a:pt x="5" y="1"/>
                  </a:cubicBezTo>
                  <a:cubicBezTo>
                    <a:pt x="6" y="2"/>
                    <a:pt x="5" y="3"/>
                    <a:pt x="5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1" name="Freeform 133">
              <a:extLst>
                <a:ext uri="{FF2B5EF4-FFF2-40B4-BE49-F238E27FC236}">
                  <a16:creationId xmlns:a16="http://schemas.microsoft.com/office/drawing/2014/main" id="{1F8BAEBE-AF63-5159-AA37-4D2F0FFFB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742" y="3289205"/>
              <a:ext cx="35642" cy="0"/>
            </a:xfrm>
            <a:custGeom>
              <a:avLst/>
              <a:gdLst>
                <a:gd name="T0" fmla="*/ 45 w 45"/>
                <a:gd name="T1" fmla="*/ 0 w 45"/>
                <a:gd name="T2" fmla="*/ 45 w 4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5">
                  <a:moveTo>
                    <a:pt x="45" y="0"/>
                  </a:moveTo>
                  <a:lnTo>
                    <a:pt x="0" y="0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2" name="Freeform 134">
              <a:extLst>
                <a:ext uri="{FF2B5EF4-FFF2-40B4-BE49-F238E27FC236}">
                  <a16:creationId xmlns:a16="http://schemas.microsoft.com/office/drawing/2014/main" id="{C633D60D-DDD6-7128-91E9-B69295BEE9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7428" y="2705472"/>
              <a:ext cx="11881" cy="12673"/>
            </a:xfrm>
            <a:custGeom>
              <a:avLst/>
              <a:gdLst>
                <a:gd name="T0" fmla="*/ 0 w 15"/>
                <a:gd name="T1" fmla="*/ 16 h 16"/>
                <a:gd name="T2" fmla="*/ 0 w 15"/>
                <a:gd name="T3" fmla="*/ 0 h 16"/>
                <a:gd name="T4" fmla="*/ 15 w 15"/>
                <a:gd name="T5" fmla="*/ 0 h 16"/>
                <a:gd name="T6" fmla="*/ 0 w 15"/>
                <a:gd name="T7" fmla="*/ 16 h 16"/>
                <a:gd name="T8" fmla="*/ 0 w 15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0" y="16"/>
                  </a:moveTo>
                  <a:lnTo>
                    <a:pt x="0" y="0"/>
                  </a:lnTo>
                  <a:lnTo>
                    <a:pt x="15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3" name="Freeform 135">
              <a:extLst>
                <a:ext uri="{FF2B5EF4-FFF2-40B4-BE49-F238E27FC236}">
                  <a16:creationId xmlns:a16="http://schemas.microsoft.com/office/drawing/2014/main" id="{16B47E6F-F53E-2AF1-9BD5-F72FAC077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7623" y="3325639"/>
              <a:ext cx="23761" cy="24553"/>
            </a:xfrm>
            <a:custGeom>
              <a:avLst/>
              <a:gdLst>
                <a:gd name="T0" fmla="*/ 1 w 2"/>
                <a:gd name="T1" fmla="*/ 1 h 2"/>
                <a:gd name="T2" fmla="*/ 0 w 2"/>
                <a:gd name="T3" fmla="*/ 2 h 2"/>
                <a:gd name="T4" fmla="*/ 0 w 2"/>
                <a:gd name="T5" fmla="*/ 0 h 2"/>
                <a:gd name="T6" fmla="*/ 2 w 2"/>
                <a:gd name="T7" fmla="*/ 0 h 2"/>
                <a:gd name="T8" fmla="*/ 1 w 2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1" y="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1" y="1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4" name="Freeform 136">
              <a:extLst>
                <a:ext uri="{FF2B5EF4-FFF2-40B4-BE49-F238E27FC236}">
                  <a16:creationId xmlns:a16="http://schemas.microsoft.com/office/drawing/2014/main" id="{D43B4001-DA67-7F28-659B-0E4936FD87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742" y="3204457"/>
              <a:ext cx="11881" cy="0"/>
            </a:xfrm>
            <a:custGeom>
              <a:avLst/>
              <a:gdLst>
                <a:gd name="T0" fmla="*/ 15 w 15"/>
                <a:gd name="T1" fmla="*/ 0 w 15"/>
                <a:gd name="T2" fmla="*/ 15 w 1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5">
                  <a:moveTo>
                    <a:pt x="15" y="0"/>
                  </a:moveTo>
                  <a:lnTo>
                    <a:pt x="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5" name="Freeform 137">
              <a:extLst>
                <a:ext uri="{FF2B5EF4-FFF2-40B4-BE49-F238E27FC236}">
                  <a16:creationId xmlns:a16="http://schemas.microsoft.com/office/drawing/2014/main" id="{5C6AD9C6-722F-A2CA-FD09-CDF645CA6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2875" y="2718145"/>
              <a:ext cx="12673" cy="11881"/>
            </a:xfrm>
            <a:custGeom>
              <a:avLst/>
              <a:gdLst>
                <a:gd name="T0" fmla="*/ 0 w 16"/>
                <a:gd name="T1" fmla="*/ 0 h 15"/>
                <a:gd name="T2" fmla="*/ 16 w 16"/>
                <a:gd name="T3" fmla="*/ 0 h 15"/>
                <a:gd name="T4" fmla="*/ 16 w 16"/>
                <a:gd name="T5" fmla="*/ 15 h 15"/>
                <a:gd name="T6" fmla="*/ 0 w 16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5">
                  <a:moveTo>
                    <a:pt x="0" y="0"/>
                  </a:moveTo>
                  <a:lnTo>
                    <a:pt x="16" y="0"/>
                  </a:lnTo>
                  <a:lnTo>
                    <a:pt x="16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6" name="Freeform 138">
              <a:extLst>
                <a:ext uri="{FF2B5EF4-FFF2-40B4-BE49-F238E27FC236}">
                  <a16:creationId xmlns:a16="http://schemas.microsoft.com/office/drawing/2014/main" id="{4008670F-20BA-ECD7-D117-3707BBE45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2875" y="4176289"/>
              <a:ext cx="205138" cy="85540"/>
            </a:xfrm>
            <a:custGeom>
              <a:avLst/>
              <a:gdLst>
                <a:gd name="T0" fmla="*/ 4 w 17"/>
                <a:gd name="T1" fmla="*/ 2 h 7"/>
                <a:gd name="T2" fmla="*/ 0 w 17"/>
                <a:gd name="T3" fmla="*/ 0 h 7"/>
                <a:gd name="T4" fmla="*/ 17 w 17"/>
                <a:gd name="T5" fmla="*/ 5 h 7"/>
                <a:gd name="T6" fmla="*/ 4 w 17"/>
                <a:gd name="T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7">
                  <a:moveTo>
                    <a:pt x="4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"/>
                    <a:pt x="11" y="4"/>
                    <a:pt x="17" y="5"/>
                  </a:cubicBezTo>
                  <a:cubicBezTo>
                    <a:pt x="12" y="7"/>
                    <a:pt x="8" y="3"/>
                    <a:pt x="4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7" name="Freeform 139">
              <a:extLst>
                <a:ext uri="{FF2B5EF4-FFF2-40B4-BE49-F238E27FC236}">
                  <a16:creationId xmlns:a16="http://schemas.microsoft.com/office/drawing/2014/main" id="{80D904AA-19B7-C7E1-CEF8-C30D33DE5D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9503" y="3678096"/>
              <a:ext cx="23761" cy="36434"/>
            </a:xfrm>
            <a:custGeom>
              <a:avLst/>
              <a:gdLst>
                <a:gd name="T0" fmla="*/ 0 w 2"/>
                <a:gd name="T1" fmla="*/ 2 h 3"/>
                <a:gd name="T2" fmla="*/ 2 w 2"/>
                <a:gd name="T3" fmla="*/ 2 h 3"/>
                <a:gd name="T4" fmla="*/ 0 w 2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0" y="2"/>
                  </a:moveTo>
                  <a:cubicBezTo>
                    <a:pt x="1" y="2"/>
                    <a:pt x="2" y="0"/>
                    <a:pt x="2" y="2"/>
                  </a:cubicBezTo>
                  <a:cubicBezTo>
                    <a:pt x="2" y="2"/>
                    <a:pt x="1" y="3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8" name="Freeform 140">
              <a:extLst>
                <a:ext uri="{FF2B5EF4-FFF2-40B4-BE49-F238E27FC236}">
                  <a16:creationId xmlns:a16="http://schemas.microsoft.com/office/drawing/2014/main" id="{1F2C2243-64DA-FE73-EBA1-C72FEF360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233" y="2730025"/>
              <a:ext cx="23761" cy="36434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2 h 3"/>
                <a:gd name="T4" fmla="*/ 2 w 2"/>
                <a:gd name="T5" fmla="*/ 3 h 3"/>
                <a:gd name="T6" fmla="*/ 2 w 2"/>
                <a:gd name="T7" fmla="*/ 2 h 3"/>
                <a:gd name="T8" fmla="*/ 0 w 2"/>
                <a:gd name="T9" fmla="*/ 0 h 3"/>
                <a:gd name="T10" fmla="*/ 2 w 2"/>
                <a:gd name="T11" fmla="*/ 0 h 3"/>
                <a:gd name="T12" fmla="*/ 0 w 2"/>
                <a:gd name="T1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1" y="1"/>
                    <a:pt x="2" y="1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0" y="1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9" name="Freeform 141">
              <a:extLst>
                <a:ext uri="{FF2B5EF4-FFF2-40B4-BE49-F238E27FC236}">
                  <a16:creationId xmlns:a16="http://schemas.microsoft.com/office/drawing/2014/main" id="{4CE2E912-25D0-4832-1E1E-79A346843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5547" y="3313758"/>
              <a:ext cx="60195" cy="36434"/>
            </a:xfrm>
            <a:custGeom>
              <a:avLst/>
              <a:gdLst>
                <a:gd name="T0" fmla="*/ 2 w 5"/>
                <a:gd name="T1" fmla="*/ 2 h 3"/>
                <a:gd name="T2" fmla="*/ 1 w 5"/>
                <a:gd name="T3" fmla="*/ 2 h 3"/>
                <a:gd name="T4" fmla="*/ 0 w 5"/>
                <a:gd name="T5" fmla="*/ 2 h 3"/>
                <a:gd name="T6" fmla="*/ 2 w 5"/>
                <a:gd name="T7" fmla="*/ 0 h 3"/>
                <a:gd name="T8" fmla="*/ 3 w 5"/>
                <a:gd name="T9" fmla="*/ 1 h 3"/>
                <a:gd name="T10" fmla="*/ 5 w 5"/>
                <a:gd name="T11" fmla="*/ 2 h 3"/>
                <a:gd name="T12" fmla="*/ 2 w 5"/>
                <a:gd name="T1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3">
                  <a:moveTo>
                    <a:pt x="2" y="2"/>
                  </a:moveTo>
                  <a:cubicBezTo>
                    <a:pt x="2" y="2"/>
                    <a:pt x="2" y="2"/>
                    <a:pt x="1" y="2"/>
                  </a:cubicBezTo>
                  <a:cubicBezTo>
                    <a:pt x="0" y="1"/>
                    <a:pt x="1" y="3"/>
                    <a:pt x="0" y="2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1"/>
                    <a:pt x="4" y="1"/>
                    <a:pt x="5" y="2"/>
                  </a:cubicBezTo>
                  <a:lnTo>
                    <a:pt x="2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0" name="Freeform 142">
              <a:extLst>
                <a:ext uri="{FF2B5EF4-FFF2-40B4-BE49-F238E27FC236}">
                  <a16:creationId xmlns:a16="http://schemas.microsoft.com/office/drawing/2014/main" id="{05DDE952-B043-6D14-74CF-3861D32FE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799" y="2973181"/>
              <a:ext cx="96629" cy="24553"/>
            </a:xfrm>
            <a:custGeom>
              <a:avLst/>
              <a:gdLst>
                <a:gd name="T0" fmla="*/ 0 w 8"/>
                <a:gd name="T1" fmla="*/ 1 h 2"/>
                <a:gd name="T2" fmla="*/ 8 w 8"/>
                <a:gd name="T3" fmla="*/ 0 h 2"/>
                <a:gd name="T4" fmla="*/ 0 w 8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0" y="1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2"/>
                    <a:pt x="3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1" name="Freeform 143">
              <a:extLst>
                <a:ext uri="{FF2B5EF4-FFF2-40B4-BE49-F238E27FC236}">
                  <a16:creationId xmlns:a16="http://schemas.microsoft.com/office/drawing/2014/main" id="{B8FE0C30-3C8E-DB97-1F9E-0FC2F1E0A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1384" y="3872938"/>
              <a:ext cx="23761" cy="11881"/>
            </a:xfrm>
            <a:custGeom>
              <a:avLst/>
              <a:gdLst>
                <a:gd name="T0" fmla="*/ 0 w 30"/>
                <a:gd name="T1" fmla="*/ 0 h 15"/>
                <a:gd name="T2" fmla="*/ 30 w 30"/>
                <a:gd name="T3" fmla="*/ 15 h 15"/>
                <a:gd name="T4" fmla="*/ 0 w 30"/>
                <a:gd name="T5" fmla="*/ 15 h 15"/>
                <a:gd name="T6" fmla="*/ 0 w 30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5">
                  <a:moveTo>
                    <a:pt x="0" y="0"/>
                  </a:moveTo>
                  <a:lnTo>
                    <a:pt x="30" y="15"/>
                  </a:lnTo>
                  <a:lnTo>
                    <a:pt x="0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2" name="Freeform 144">
              <a:extLst>
                <a:ext uri="{FF2B5EF4-FFF2-40B4-BE49-F238E27FC236}">
                  <a16:creationId xmlns:a16="http://schemas.microsoft.com/office/drawing/2014/main" id="{219915BE-B739-C59E-CE0B-FE07564CE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5352" y="3021496"/>
              <a:ext cx="72076" cy="36434"/>
            </a:xfrm>
            <a:custGeom>
              <a:avLst/>
              <a:gdLst>
                <a:gd name="T0" fmla="*/ 6 w 6"/>
                <a:gd name="T1" fmla="*/ 2 h 3"/>
                <a:gd name="T2" fmla="*/ 2 w 6"/>
                <a:gd name="T3" fmla="*/ 2 h 3"/>
                <a:gd name="T4" fmla="*/ 0 w 6"/>
                <a:gd name="T5" fmla="*/ 3 h 3"/>
                <a:gd name="T6" fmla="*/ 0 w 6"/>
                <a:gd name="T7" fmla="*/ 2 h 3"/>
                <a:gd name="T8" fmla="*/ 6 w 6"/>
                <a:gd name="T9" fmla="*/ 0 h 3"/>
                <a:gd name="T10" fmla="*/ 5 w 6"/>
                <a:gd name="T11" fmla="*/ 2 h 3"/>
                <a:gd name="T12" fmla="*/ 6 w 6"/>
                <a:gd name="T1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2"/>
                  </a:moveTo>
                  <a:cubicBezTo>
                    <a:pt x="4" y="3"/>
                    <a:pt x="3" y="2"/>
                    <a:pt x="2" y="2"/>
                  </a:cubicBezTo>
                  <a:cubicBezTo>
                    <a:pt x="2" y="3"/>
                    <a:pt x="1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4" y="1"/>
                    <a:pt x="6" y="0"/>
                  </a:cubicBezTo>
                  <a:cubicBezTo>
                    <a:pt x="5" y="2"/>
                    <a:pt x="5" y="2"/>
                    <a:pt x="5" y="2"/>
                  </a:cubicBezTo>
                  <a:lnTo>
                    <a:pt x="6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3" name="Freeform 145">
              <a:extLst>
                <a:ext uri="{FF2B5EF4-FFF2-40B4-BE49-F238E27FC236}">
                  <a16:creationId xmlns:a16="http://schemas.microsoft.com/office/drawing/2014/main" id="{3226D67E-8F87-6F23-91BA-4F21D8802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7428" y="3264652"/>
              <a:ext cx="23761" cy="12673"/>
            </a:xfrm>
            <a:custGeom>
              <a:avLst/>
              <a:gdLst>
                <a:gd name="T0" fmla="*/ 1 w 2"/>
                <a:gd name="T1" fmla="*/ 1 h 1"/>
                <a:gd name="T2" fmla="*/ 1 w 2"/>
                <a:gd name="T3" fmla="*/ 1 h 1"/>
                <a:gd name="T4" fmla="*/ 0 w 2"/>
                <a:gd name="T5" fmla="*/ 1 h 1"/>
                <a:gd name="T6" fmla="*/ 2 w 2"/>
                <a:gd name="T7" fmla="*/ 0 h 1"/>
                <a:gd name="T8" fmla="*/ 1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4" name="Freeform 146">
              <a:extLst>
                <a:ext uri="{FF2B5EF4-FFF2-40B4-BE49-F238E27FC236}">
                  <a16:creationId xmlns:a16="http://schemas.microsoft.com/office/drawing/2014/main" id="{7A73496D-7301-F17F-1BC6-84CEFA724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2875" y="3289205"/>
              <a:ext cx="48314" cy="11881"/>
            </a:xfrm>
            <a:custGeom>
              <a:avLst/>
              <a:gdLst>
                <a:gd name="T0" fmla="*/ 61 w 61"/>
                <a:gd name="T1" fmla="*/ 0 h 15"/>
                <a:gd name="T2" fmla="*/ 61 w 61"/>
                <a:gd name="T3" fmla="*/ 0 h 15"/>
                <a:gd name="T4" fmla="*/ 0 w 61"/>
                <a:gd name="T5" fmla="*/ 15 h 15"/>
                <a:gd name="T6" fmla="*/ 0 w 61"/>
                <a:gd name="T7" fmla="*/ 0 h 15"/>
                <a:gd name="T8" fmla="*/ 61 w 61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5">
                  <a:moveTo>
                    <a:pt x="61" y="0"/>
                  </a:moveTo>
                  <a:lnTo>
                    <a:pt x="61" y="0"/>
                  </a:lnTo>
                  <a:lnTo>
                    <a:pt x="0" y="15"/>
                  </a:lnTo>
                  <a:lnTo>
                    <a:pt x="0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5" name="Freeform 147">
              <a:extLst>
                <a:ext uri="{FF2B5EF4-FFF2-40B4-BE49-F238E27FC236}">
                  <a16:creationId xmlns:a16="http://schemas.microsoft.com/office/drawing/2014/main" id="{DEA29C21-8C5F-4185-3A44-6FA8376601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0604" y="3191784"/>
              <a:ext cx="168704" cy="72868"/>
            </a:xfrm>
            <a:custGeom>
              <a:avLst/>
              <a:gdLst>
                <a:gd name="T0" fmla="*/ 13 w 14"/>
                <a:gd name="T1" fmla="*/ 4 h 6"/>
                <a:gd name="T2" fmla="*/ 7 w 14"/>
                <a:gd name="T3" fmla="*/ 4 h 6"/>
                <a:gd name="T4" fmla="*/ 9 w 14"/>
                <a:gd name="T5" fmla="*/ 3 h 6"/>
                <a:gd name="T6" fmla="*/ 6 w 14"/>
                <a:gd name="T7" fmla="*/ 5 h 6"/>
                <a:gd name="T8" fmla="*/ 3 w 14"/>
                <a:gd name="T9" fmla="*/ 5 h 6"/>
                <a:gd name="T10" fmla="*/ 3 w 14"/>
                <a:gd name="T11" fmla="*/ 3 h 6"/>
                <a:gd name="T12" fmla="*/ 1 w 14"/>
                <a:gd name="T13" fmla="*/ 5 h 6"/>
                <a:gd name="T14" fmla="*/ 1 w 14"/>
                <a:gd name="T15" fmla="*/ 5 h 6"/>
                <a:gd name="T16" fmla="*/ 1 w 14"/>
                <a:gd name="T17" fmla="*/ 3 h 6"/>
                <a:gd name="T18" fmla="*/ 0 w 14"/>
                <a:gd name="T19" fmla="*/ 3 h 6"/>
                <a:gd name="T20" fmla="*/ 6 w 14"/>
                <a:gd name="T21" fmla="*/ 2 h 6"/>
                <a:gd name="T22" fmla="*/ 4 w 14"/>
                <a:gd name="T23" fmla="*/ 1 h 6"/>
                <a:gd name="T24" fmla="*/ 9 w 14"/>
                <a:gd name="T25" fmla="*/ 1 h 6"/>
                <a:gd name="T26" fmla="*/ 7 w 14"/>
                <a:gd name="T27" fmla="*/ 2 h 6"/>
                <a:gd name="T28" fmla="*/ 10 w 14"/>
                <a:gd name="T29" fmla="*/ 3 h 6"/>
                <a:gd name="T30" fmla="*/ 14 w 14"/>
                <a:gd name="T31" fmla="*/ 2 h 6"/>
                <a:gd name="T32" fmla="*/ 13 w 14"/>
                <a:gd name="T33" fmla="*/ 2 h 6"/>
                <a:gd name="T34" fmla="*/ 13 w 14"/>
                <a:gd name="T3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6">
                  <a:moveTo>
                    <a:pt x="13" y="4"/>
                  </a:moveTo>
                  <a:cubicBezTo>
                    <a:pt x="11" y="5"/>
                    <a:pt x="9" y="5"/>
                    <a:pt x="7" y="4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7" y="2"/>
                    <a:pt x="6" y="4"/>
                    <a:pt x="6" y="5"/>
                  </a:cubicBezTo>
                  <a:cubicBezTo>
                    <a:pt x="5" y="5"/>
                    <a:pt x="4" y="3"/>
                    <a:pt x="3" y="5"/>
                  </a:cubicBezTo>
                  <a:cubicBezTo>
                    <a:pt x="3" y="4"/>
                    <a:pt x="3" y="4"/>
                    <a:pt x="3" y="3"/>
                  </a:cubicBezTo>
                  <a:cubicBezTo>
                    <a:pt x="3" y="4"/>
                    <a:pt x="1" y="6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4"/>
                    <a:pt x="1" y="4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2"/>
                    <a:pt x="8" y="1"/>
                    <a:pt x="7" y="2"/>
                  </a:cubicBezTo>
                  <a:cubicBezTo>
                    <a:pt x="7" y="4"/>
                    <a:pt x="9" y="2"/>
                    <a:pt x="10" y="3"/>
                  </a:cubicBezTo>
                  <a:cubicBezTo>
                    <a:pt x="9" y="0"/>
                    <a:pt x="13" y="3"/>
                    <a:pt x="14" y="2"/>
                  </a:cubicBezTo>
                  <a:cubicBezTo>
                    <a:pt x="13" y="2"/>
                    <a:pt x="13" y="2"/>
                    <a:pt x="13" y="2"/>
                  </a:cubicBezTo>
                  <a:lnTo>
                    <a:pt x="13" y="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6" name="Freeform 148">
              <a:extLst>
                <a:ext uri="{FF2B5EF4-FFF2-40B4-BE49-F238E27FC236}">
                  <a16:creationId xmlns:a16="http://schemas.microsoft.com/office/drawing/2014/main" id="{22EEE6BC-25C1-E8C9-FF37-E1AA5D217A8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799" y="3848385"/>
              <a:ext cx="192465" cy="60987"/>
            </a:xfrm>
            <a:custGeom>
              <a:avLst/>
              <a:gdLst>
                <a:gd name="T0" fmla="*/ 0 w 16"/>
                <a:gd name="T1" fmla="*/ 5 h 5"/>
                <a:gd name="T2" fmla="*/ 16 w 16"/>
                <a:gd name="T3" fmla="*/ 0 h 5"/>
                <a:gd name="T4" fmla="*/ 0 w 16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5">
                  <a:moveTo>
                    <a:pt x="0" y="5"/>
                  </a:moveTo>
                  <a:cubicBezTo>
                    <a:pt x="5" y="4"/>
                    <a:pt x="10" y="0"/>
                    <a:pt x="16" y="0"/>
                  </a:cubicBezTo>
                  <a:cubicBezTo>
                    <a:pt x="10" y="1"/>
                    <a:pt x="6" y="5"/>
                    <a:pt x="0" y="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7" name="Freeform 149">
              <a:extLst>
                <a:ext uri="{FF2B5EF4-FFF2-40B4-BE49-F238E27FC236}">
                  <a16:creationId xmlns:a16="http://schemas.microsoft.com/office/drawing/2014/main" id="{D65CE5FE-3A00-618C-9AC5-7A6551A78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7623" y="3702650"/>
              <a:ext cx="11881" cy="11881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8" name="Freeform 150">
              <a:extLst>
                <a:ext uri="{FF2B5EF4-FFF2-40B4-BE49-F238E27FC236}">
                  <a16:creationId xmlns:a16="http://schemas.microsoft.com/office/drawing/2014/main" id="{A2A1EC14-6CF6-4D0D-055F-A508F32AB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233" y="2827446"/>
              <a:ext cx="23761" cy="11881"/>
            </a:xfrm>
            <a:custGeom>
              <a:avLst/>
              <a:gdLst>
                <a:gd name="T0" fmla="*/ 15 w 30"/>
                <a:gd name="T1" fmla="*/ 0 h 15"/>
                <a:gd name="T2" fmla="*/ 30 w 30"/>
                <a:gd name="T3" fmla="*/ 0 h 15"/>
                <a:gd name="T4" fmla="*/ 0 w 30"/>
                <a:gd name="T5" fmla="*/ 15 h 15"/>
                <a:gd name="T6" fmla="*/ 0 w 30"/>
                <a:gd name="T7" fmla="*/ 0 h 15"/>
                <a:gd name="T8" fmla="*/ 15 w 3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5">
                  <a:moveTo>
                    <a:pt x="15" y="0"/>
                  </a:moveTo>
                  <a:lnTo>
                    <a:pt x="30" y="0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9" name="Freeform 151">
              <a:extLst>
                <a:ext uri="{FF2B5EF4-FFF2-40B4-BE49-F238E27FC236}">
                  <a16:creationId xmlns:a16="http://schemas.microsoft.com/office/drawing/2014/main" id="{F3A5DFFF-0E10-7E71-94A2-01601340E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799" y="2741906"/>
              <a:ext cx="24553" cy="12673"/>
            </a:xfrm>
            <a:custGeom>
              <a:avLst/>
              <a:gdLst>
                <a:gd name="T0" fmla="*/ 0 w 31"/>
                <a:gd name="T1" fmla="*/ 16 h 16"/>
                <a:gd name="T2" fmla="*/ 31 w 31"/>
                <a:gd name="T3" fmla="*/ 0 h 16"/>
                <a:gd name="T4" fmla="*/ 15 w 31"/>
                <a:gd name="T5" fmla="*/ 0 h 16"/>
                <a:gd name="T6" fmla="*/ 0 w 31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16">
                  <a:moveTo>
                    <a:pt x="0" y="16"/>
                  </a:moveTo>
                  <a:lnTo>
                    <a:pt x="31" y="0"/>
                  </a:lnTo>
                  <a:lnTo>
                    <a:pt x="15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0" name="Freeform 152">
              <a:extLst>
                <a:ext uri="{FF2B5EF4-FFF2-40B4-BE49-F238E27FC236}">
                  <a16:creationId xmlns:a16="http://schemas.microsoft.com/office/drawing/2014/main" id="{D9E2F070-9303-4054-AF84-E2A618EFA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9308" y="3556914"/>
              <a:ext cx="11881" cy="23761"/>
            </a:xfrm>
            <a:custGeom>
              <a:avLst/>
              <a:gdLst>
                <a:gd name="T0" fmla="*/ 0 w 1"/>
                <a:gd name="T1" fmla="*/ 2 h 2"/>
                <a:gd name="T2" fmla="*/ 1 w 1"/>
                <a:gd name="T3" fmla="*/ 1 h 2"/>
                <a:gd name="T4" fmla="*/ 0 w 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2"/>
                    <a:pt x="0" y="0"/>
                    <a:pt x="1" y="1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1" name="Freeform 153">
              <a:extLst>
                <a:ext uri="{FF2B5EF4-FFF2-40B4-BE49-F238E27FC236}">
                  <a16:creationId xmlns:a16="http://schemas.microsoft.com/office/drawing/2014/main" id="{BD14565D-97AA-2D10-7C7F-6230C65E41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0994" y="3702650"/>
              <a:ext cx="84748" cy="24553"/>
            </a:xfrm>
            <a:custGeom>
              <a:avLst/>
              <a:gdLst>
                <a:gd name="T0" fmla="*/ 7 w 7"/>
                <a:gd name="T1" fmla="*/ 2 h 2"/>
                <a:gd name="T2" fmla="*/ 3 w 7"/>
                <a:gd name="T3" fmla="*/ 1 h 2"/>
                <a:gd name="T4" fmla="*/ 3 w 7"/>
                <a:gd name="T5" fmla="*/ 2 h 2"/>
                <a:gd name="T6" fmla="*/ 0 w 7"/>
                <a:gd name="T7" fmla="*/ 1 h 2"/>
                <a:gd name="T8" fmla="*/ 1 w 7"/>
                <a:gd name="T9" fmla="*/ 1 h 2"/>
                <a:gd name="T10" fmla="*/ 2 w 7"/>
                <a:gd name="T11" fmla="*/ 2 h 2"/>
                <a:gd name="T12" fmla="*/ 4 w 7"/>
                <a:gd name="T13" fmla="*/ 1 h 2"/>
                <a:gd name="T14" fmla="*/ 7 w 7"/>
                <a:gd name="T15" fmla="*/ 1 h 2"/>
                <a:gd name="T16" fmla="*/ 7 w 7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2">
                  <a:moveTo>
                    <a:pt x="7" y="2"/>
                  </a:moveTo>
                  <a:cubicBezTo>
                    <a:pt x="6" y="1"/>
                    <a:pt x="4" y="2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1"/>
                    <a:pt x="0" y="2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2" y="1"/>
                    <a:pt x="2" y="2"/>
                  </a:cubicBezTo>
                  <a:cubicBezTo>
                    <a:pt x="2" y="0"/>
                    <a:pt x="4" y="1"/>
                    <a:pt x="4" y="1"/>
                  </a:cubicBezTo>
                  <a:cubicBezTo>
                    <a:pt x="5" y="1"/>
                    <a:pt x="6" y="1"/>
                    <a:pt x="7" y="1"/>
                  </a:cubicBezTo>
                  <a:lnTo>
                    <a:pt x="7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2" name="Freeform 154">
              <a:extLst>
                <a:ext uri="{FF2B5EF4-FFF2-40B4-BE49-F238E27FC236}">
                  <a16:creationId xmlns:a16="http://schemas.microsoft.com/office/drawing/2014/main" id="{BBB12700-3A93-4957-ACE2-54D922641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918" y="2863880"/>
              <a:ext cx="36434" cy="24553"/>
            </a:xfrm>
            <a:custGeom>
              <a:avLst/>
              <a:gdLst>
                <a:gd name="T0" fmla="*/ 0 w 3"/>
                <a:gd name="T1" fmla="*/ 2 h 2"/>
                <a:gd name="T2" fmla="*/ 3 w 3"/>
                <a:gd name="T3" fmla="*/ 2 h 2"/>
                <a:gd name="T4" fmla="*/ 0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1" y="2"/>
                    <a:pt x="2" y="0"/>
                    <a:pt x="3" y="2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3" name="Freeform 155">
              <a:extLst>
                <a:ext uri="{FF2B5EF4-FFF2-40B4-BE49-F238E27FC236}">
                  <a16:creationId xmlns:a16="http://schemas.microsoft.com/office/drawing/2014/main" id="{10482106-C24C-DC5D-29DA-D15F1D8D4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5352" y="3252771"/>
              <a:ext cx="35642" cy="48314"/>
            </a:xfrm>
            <a:custGeom>
              <a:avLst/>
              <a:gdLst>
                <a:gd name="T0" fmla="*/ 0 w 3"/>
                <a:gd name="T1" fmla="*/ 3 h 4"/>
                <a:gd name="T2" fmla="*/ 3 w 3"/>
                <a:gd name="T3" fmla="*/ 1 h 4"/>
                <a:gd name="T4" fmla="*/ 0 w 3"/>
                <a:gd name="T5" fmla="*/ 1 h 4"/>
                <a:gd name="T6" fmla="*/ 3 w 3"/>
                <a:gd name="T7" fmla="*/ 1 h 4"/>
                <a:gd name="T8" fmla="*/ 0 w 3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3"/>
                  </a:moveTo>
                  <a:cubicBezTo>
                    <a:pt x="1" y="2"/>
                    <a:pt x="2" y="2"/>
                    <a:pt x="3" y="1"/>
                  </a:cubicBezTo>
                  <a:cubicBezTo>
                    <a:pt x="2" y="1"/>
                    <a:pt x="1" y="0"/>
                    <a:pt x="0" y="1"/>
                  </a:cubicBezTo>
                  <a:cubicBezTo>
                    <a:pt x="1" y="1"/>
                    <a:pt x="3" y="0"/>
                    <a:pt x="3" y="1"/>
                  </a:cubicBezTo>
                  <a:cubicBezTo>
                    <a:pt x="3" y="4"/>
                    <a:pt x="1" y="1"/>
                    <a:pt x="0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4" name="Freeform 156">
              <a:extLst>
                <a:ext uri="{FF2B5EF4-FFF2-40B4-BE49-F238E27FC236}">
                  <a16:creationId xmlns:a16="http://schemas.microsoft.com/office/drawing/2014/main" id="{0CD2F146-2148-C531-8923-947DBB013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233" y="3459494"/>
              <a:ext cx="35642" cy="24553"/>
            </a:xfrm>
            <a:custGeom>
              <a:avLst/>
              <a:gdLst>
                <a:gd name="T0" fmla="*/ 0 w 3"/>
                <a:gd name="T1" fmla="*/ 2 h 2"/>
                <a:gd name="T2" fmla="*/ 3 w 3"/>
                <a:gd name="T3" fmla="*/ 1 h 2"/>
                <a:gd name="T4" fmla="*/ 0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0" y="0"/>
                    <a:pt x="2" y="2"/>
                    <a:pt x="3" y="1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5" name="Freeform 157">
              <a:extLst>
                <a:ext uri="{FF2B5EF4-FFF2-40B4-BE49-F238E27FC236}">
                  <a16:creationId xmlns:a16="http://schemas.microsoft.com/office/drawing/2014/main" id="{5A45CD61-F6E1-CAD9-0BFC-7BC292D49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3070" y="4127975"/>
              <a:ext cx="24553" cy="11881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1 h 1"/>
                <a:gd name="T4" fmla="*/ 2 w 2"/>
                <a:gd name="T5" fmla="*/ 0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1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6" name="Freeform 158">
              <a:extLst>
                <a:ext uri="{FF2B5EF4-FFF2-40B4-BE49-F238E27FC236}">
                  <a16:creationId xmlns:a16="http://schemas.microsoft.com/office/drawing/2014/main" id="{EB189EF5-CF99-444C-9A1D-6D1576911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0604" y="2681711"/>
              <a:ext cx="24553" cy="11881"/>
            </a:xfrm>
            <a:custGeom>
              <a:avLst/>
              <a:gdLst>
                <a:gd name="T0" fmla="*/ 31 w 31"/>
                <a:gd name="T1" fmla="*/ 0 h 15"/>
                <a:gd name="T2" fmla="*/ 31 w 31"/>
                <a:gd name="T3" fmla="*/ 0 h 15"/>
                <a:gd name="T4" fmla="*/ 0 w 31"/>
                <a:gd name="T5" fmla="*/ 15 h 15"/>
                <a:gd name="T6" fmla="*/ 0 w 31"/>
                <a:gd name="T7" fmla="*/ 0 h 15"/>
                <a:gd name="T8" fmla="*/ 31 w 31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5">
                  <a:moveTo>
                    <a:pt x="31" y="0"/>
                  </a:moveTo>
                  <a:lnTo>
                    <a:pt x="31" y="0"/>
                  </a:lnTo>
                  <a:lnTo>
                    <a:pt x="0" y="15"/>
                  </a:lnTo>
                  <a:lnTo>
                    <a:pt x="0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7" name="Rectangle 159">
              <a:extLst>
                <a:ext uri="{FF2B5EF4-FFF2-40B4-BE49-F238E27FC236}">
                  <a16:creationId xmlns:a16="http://schemas.microsoft.com/office/drawing/2014/main" id="{B5B1F23D-A2FE-B2EB-42B3-3586582A82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70604" y="2645277"/>
              <a:ext cx="1188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8" name="Freeform 160">
              <a:extLst>
                <a:ext uri="{FF2B5EF4-FFF2-40B4-BE49-F238E27FC236}">
                  <a16:creationId xmlns:a16="http://schemas.microsoft.com/office/drawing/2014/main" id="{AE7ED544-29F6-037B-5223-C7996D6A0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2680" y="3046049"/>
              <a:ext cx="0" cy="24553"/>
            </a:xfrm>
            <a:custGeom>
              <a:avLst/>
              <a:gdLst>
                <a:gd name="T0" fmla="*/ 0 h 31"/>
                <a:gd name="T1" fmla="*/ 31 h 31"/>
                <a:gd name="T2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1">
                  <a:moveTo>
                    <a:pt x="0" y="0"/>
                  </a:move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9" name="Freeform 161">
              <a:extLst>
                <a:ext uri="{FF2B5EF4-FFF2-40B4-BE49-F238E27FC236}">
                  <a16:creationId xmlns:a16="http://schemas.microsoft.com/office/drawing/2014/main" id="{D836CA71-1384-A72B-E85F-8F2A74966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9377" y="3168023"/>
              <a:ext cx="1299736" cy="352457"/>
            </a:xfrm>
            <a:custGeom>
              <a:avLst/>
              <a:gdLst>
                <a:gd name="T0" fmla="*/ 106 w 108"/>
                <a:gd name="T1" fmla="*/ 18 h 29"/>
                <a:gd name="T2" fmla="*/ 100 w 108"/>
                <a:gd name="T3" fmla="*/ 21 h 29"/>
                <a:gd name="T4" fmla="*/ 99 w 108"/>
                <a:gd name="T5" fmla="*/ 21 h 29"/>
                <a:gd name="T6" fmla="*/ 89 w 108"/>
                <a:gd name="T7" fmla="*/ 21 h 29"/>
                <a:gd name="T8" fmla="*/ 88 w 108"/>
                <a:gd name="T9" fmla="*/ 21 h 29"/>
                <a:gd name="T10" fmla="*/ 87 w 108"/>
                <a:gd name="T11" fmla="*/ 19 h 29"/>
                <a:gd name="T12" fmla="*/ 74 w 108"/>
                <a:gd name="T13" fmla="*/ 21 h 29"/>
                <a:gd name="T14" fmla="*/ 73 w 108"/>
                <a:gd name="T15" fmla="*/ 21 h 29"/>
                <a:gd name="T16" fmla="*/ 65 w 108"/>
                <a:gd name="T17" fmla="*/ 23 h 29"/>
                <a:gd name="T18" fmla="*/ 58 w 108"/>
                <a:gd name="T19" fmla="*/ 28 h 29"/>
                <a:gd name="T20" fmla="*/ 48 w 108"/>
                <a:gd name="T21" fmla="*/ 28 h 29"/>
                <a:gd name="T22" fmla="*/ 50 w 108"/>
                <a:gd name="T23" fmla="*/ 26 h 29"/>
                <a:gd name="T24" fmla="*/ 47 w 108"/>
                <a:gd name="T25" fmla="*/ 24 h 29"/>
                <a:gd name="T26" fmla="*/ 40 w 108"/>
                <a:gd name="T27" fmla="*/ 22 h 29"/>
                <a:gd name="T28" fmla="*/ 26 w 108"/>
                <a:gd name="T29" fmla="*/ 19 h 29"/>
                <a:gd name="T30" fmla="*/ 31 w 108"/>
                <a:gd name="T31" fmla="*/ 20 h 29"/>
                <a:gd name="T32" fmla="*/ 43 w 108"/>
                <a:gd name="T33" fmla="*/ 16 h 29"/>
                <a:gd name="T34" fmla="*/ 53 w 108"/>
                <a:gd name="T35" fmla="*/ 14 h 29"/>
                <a:gd name="T36" fmla="*/ 50 w 108"/>
                <a:gd name="T37" fmla="*/ 12 h 29"/>
                <a:gd name="T38" fmla="*/ 39 w 108"/>
                <a:gd name="T39" fmla="*/ 16 h 29"/>
                <a:gd name="T40" fmla="*/ 23 w 108"/>
                <a:gd name="T41" fmla="*/ 16 h 29"/>
                <a:gd name="T42" fmla="*/ 18 w 108"/>
                <a:gd name="T43" fmla="*/ 16 h 29"/>
                <a:gd name="T44" fmla="*/ 12 w 108"/>
                <a:gd name="T45" fmla="*/ 21 h 29"/>
                <a:gd name="T46" fmla="*/ 11 w 108"/>
                <a:gd name="T47" fmla="*/ 22 h 29"/>
                <a:gd name="T48" fmla="*/ 9 w 108"/>
                <a:gd name="T49" fmla="*/ 24 h 29"/>
                <a:gd name="T50" fmla="*/ 5 w 108"/>
                <a:gd name="T51" fmla="*/ 23 h 29"/>
                <a:gd name="T52" fmla="*/ 7 w 108"/>
                <a:gd name="T53" fmla="*/ 22 h 29"/>
                <a:gd name="T54" fmla="*/ 4 w 108"/>
                <a:gd name="T55" fmla="*/ 19 h 29"/>
                <a:gd name="T56" fmla="*/ 3 w 108"/>
                <a:gd name="T57" fmla="*/ 18 h 29"/>
                <a:gd name="T58" fmla="*/ 2 w 108"/>
                <a:gd name="T59" fmla="*/ 10 h 29"/>
                <a:gd name="T60" fmla="*/ 27 w 108"/>
                <a:gd name="T61" fmla="*/ 8 h 29"/>
                <a:gd name="T62" fmla="*/ 36 w 108"/>
                <a:gd name="T63" fmla="*/ 11 h 29"/>
                <a:gd name="T64" fmla="*/ 31 w 108"/>
                <a:gd name="T65" fmla="*/ 11 h 29"/>
                <a:gd name="T66" fmla="*/ 27 w 108"/>
                <a:gd name="T67" fmla="*/ 12 h 29"/>
                <a:gd name="T68" fmla="*/ 42 w 108"/>
                <a:gd name="T69" fmla="*/ 12 h 29"/>
                <a:gd name="T70" fmla="*/ 43 w 108"/>
                <a:gd name="T71" fmla="*/ 12 h 29"/>
                <a:gd name="T72" fmla="*/ 71 w 108"/>
                <a:gd name="T73" fmla="*/ 10 h 29"/>
                <a:gd name="T74" fmla="*/ 79 w 108"/>
                <a:gd name="T75" fmla="*/ 9 h 29"/>
                <a:gd name="T76" fmla="*/ 72 w 108"/>
                <a:gd name="T77" fmla="*/ 7 h 29"/>
                <a:gd name="T78" fmla="*/ 57 w 108"/>
                <a:gd name="T79" fmla="*/ 6 h 29"/>
                <a:gd name="T80" fmla="*/ 53 w 108"/>
                <a:gd name="T81" fmla="*/ 5 h 29"/>
                <a:gd name="T82" fmla="*/ 47 w 108"/>
                <a:gd name="T83" fmla="*/ 5 h 29"/>
                <a:gd name="T84" fmla="*/ 54 w 108"/>
                <a:gd name="T85" fmla="*/ 3 h 29"/>
                <a:gd name="T86" fmla="*/ 56 w 108"/>
                <a:gd name="T87" fmla="*/ 3 h 29"/>
                <a:gd name="T88" fmla="*/ 59 w 108"/>
                <a:gd name="T89" fmla="*/ 2 h 29"/>
                <a:gd name="T90" fmla="*/ 75 w 108"/>
                <a:gd name="T91" fmla="*/ 2 h 29"/>
                <a:gd name="T92" fmla="*/ 85 w 108"/>
                <a:gd name="T93" fmla="*/ 3 h 29"/>
                <a:gd name="T94" fmla="*/ 96 w 108"/>
                <a:gd name="T95" fmla="*/ 6 h 29"/>
                <a:gd name="T96" fmla="*/ 85 w 108"/>
                <a:gd name="T97" fmla="*/ 8 h 29"/>
                <a:gd name="T98" fmla="*/ 82 w 108"/>
                <a:gd name="T99" fmla="*/ 9 h 29"/>
                <a:gd name="T100" fmla="*/ 84 w 108"/>
                <a:gd name="T101" fmla="*/ 11 h 29"/>
                <a:gd name="T102" fmla="*/ 90 w 108"/>
                <a:gd name="T103" fmla="*/ 12 h 29"/>
                <a:gd name="T104" fmla="*/ 88 w 108"/>
                <a:gd name="T105" fmla="*/ 16 h 29"/>
                <a:gd name="T106" fmla="*/ 92 w 108"/>
                <a:gd name="T107" fmla="*/ 17 h 29"/>
                <a:gd name="T108" fmla="*/ 96 w 108"/>
                <a:gd name="T109" fmla="*/ 18 h 29"/>
                <a:gd name="T110" fmla="*/ 105 w 108"/>
                <a:gd name="T111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8" h="29">
                  <a:moveTo>
                    <a:pt x="108" y="20"/>
                  </a:moveTo>
                  <a:cubicBezTo>
                    <a:pt x="107" y="20"/>
                    <a:pt x="107" y="20"/>
                    <a:pt x="107" y="20"/>
                  </a:cubicBezTo>
                  <a:cubicBezTo>
                    <a:pt x="107" y="19"/>
                    <a:pt x="107" y="19"/>
                    <a:pt x="108" y="18"/>
                  </a:cubicBezTo>
                  <a:cubicBezTo>
                    <a:pt x="107" y="18"/>
                    <a:pt x="107" y="18"/>
                    <a:pt x="106" y="18"/>
                  </a:cubicBezTo>
                  <a:cubicBezTo>
                    <a:pt x="107" y="21"/>
                    <a:pt x="103" y="19"/>
                    <a:pt x="103" y="20"/>
                  </a:cubicBezTo>
                  <a:cubicBezTo>
                    <a:pt x="102" y="19"/>
                    <a:pt x="102" y="20"/>
                    <a:pt x="102" y="20"/>
                  </a:cubicBezTo>
                  <a:cubicBezTo>
                    <a:pt x="102" y="21"/>
                    <a:pt x="102" y="21"/>
                    <a:pt x="102" y="21"/>
                  </a:cubicBezTo>
                  <a:cubicBezTo>
                    <a:pt x="101" y="20"/>
                    <a:pt x="100" y="21"/>
                    <a:pt x="100" y="21"/>
                  </a:cubicBezTo>
                  <a:cubicBezTo>
                    <a:pt x="101" y="21"/>
                    <a:pt x="101" y="20"/>
                    <a:pt x="102" y="20"/>
                  </a:cubicBezTo>
                  <a:cubicBezTo>
                    <a:pt x="101" y="19"/>
                    <a:pt x="99" y="19"/>
                    <a:pt x="98" y="19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9" y="21"/>
                    <a:pt x="99" y="21"/>
                    <a:pt x="99" y="21"/>
                  </a:cubicBezTo>
                  <a:cubicBezTo>
                    <a:pt x="97" y="21"/>
                    <a:pt x="93" y="20"/>
                    <a:pt x="91" y="21"/>
                  </a:cubicBezTo>
                  <a:cubicBezTo>
                    <a:pt x="92" y="21"/>
                    <a:pt x="94" y="21"/>
                    <a:pt x="94" y="20"/>
                  </a:cubicBezTo>
                  <a:cubicBezTo>
                    <a:pt x="92" y="17"/>
                    <a:pt x="91" y="20"/>
                    <a:pt x="89" y="20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6" y="21"/>
                    <a:pt x="87" y="21"/>
                    <a:pt x="88" y="21"/>
                  </a:cubicBezTo>
                  <a:cubicBezTo>
                    <a:pt x="87" y="19"/>
                    <a:pt x="86" y="20"/>
                    <a:pt x="85" y="20"/>
                  </a:cubicBezTo>
                  <a:cubicBezTo>
                    <a:pt x="84" y="22"/>
                    <a:pt x="83" y="21"/>
                    <a:pt x="82" y="21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3" y="19"/>
                    <a:pt x="86" y="21"/>
                    <a:pt x="87" y="19"/>
                  </a:cubicBezTo>
                  <a:cubicBezTo>
                    <a:pt x="85" y="18"/>
                    <a:pt x="85" y="18"/>
                    <a:pt x="85" y="18"/>
                  </a:cubicBezTo>
                  <a:cubicBezTo>
                    <a:pt x="82" y="20"/>
                    <a:pt x="78" y="17"/>
                    <a:pt x="76" y="2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74" y="22"/>
                    <a:pt x="73" y="22"/>
                    <a:pt x="72" y="22"/>
                  </a:cubicBezTo>
                  <a:cubicBezTo>
                    <a:pt x="72" y="22"/>
                    <a:pt x="73" y="23"/>
                    <a:pt x="73" y="2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2" y="20"/>
                    <a:pt x="71" y="23"/>
                    <a:pt x="70" y="22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2"/>
                    <a:pt x="69" y="22"/>
                    <a:pt x="68" y="22"/>
                  </a:cubicBezTo>
                  <a:cubicBezTo>
                    <a:pt x="67" y="21"/>
                    <a:pt x="66" y="24"/>
                    <a:pt x="65" y="23"/>
                  </a:cubicBezTo>
                  <a:cubicBezTo>
                    <a:pt x="66" y="26"/>
                    <a:pt x="62" y="25"/>
                    <a:pt x="62" y="26"/>
                  </a:cubicBezTo>
                  <a:cubicBezTo>
                    <a:pt x="62" y="25"/>
                    <a:pt x="60" y="29"/>
                    <a:pt x="58" y="26"/>
                  </a:cubicBezTo>
                  <a:cubicBezTo>
                    <a:pt x="56" y="27"/>
                    <a:pt x="54" y="25"/>
                    <a:pt x="53" y="27"/>
                  </a:cubicBezTo>
                  <a:cubicBezTo>
                    <a:pt x="54" y="29"/>
                    <a:pt x="57" y="27"/>
                    <a:pt x="58" y="28"/>
                  </a:cubicBezTo>
                  <a:cubicBezTo>
                    <a:pt x="56" y="29"/>
                    <a:pt x="55" y="29"/>
                    <a:pt x="54" y="29"/>
                  </a:cubicBezTo>
                  <a:cubicBezTo>
                    <a:pt x="52" y="29"/>
                    <a:pt x="49" y="29"/>
                    <a:pt x="46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8" y="29"/>
                    <a:pt x="48" y="28"/>
                    <a:pt x="48" y="28"/>
                  </a:cubicBezTo>
                  <a:cubicBezTo>
                    <a:pt x="45" y="27"/>
                    <a:pt x="40" y="28"/>
                    <a:pt x="36" y="28"/>
                  </a:cubicBezTo>
                  <a:cubicBezTo>
                    <a:pt x="36" y="28"/>
                    <a:pt x="40" y="29"/>
                    <a:pt x="39" y="27"/>
                  </a:cubicBezTo>
                  <a:cubicBezTo>
                    <a:pt x="42" y="26"/>
                    <a:pt x="47" y="27"/>
                    <a:pt x="50" y="25"/>
                  </a:cubicBezTo>
                  <a:cubicBezTo>
                    <a:pt x="50" y="25"/>
                    <a:pt x="50" y="26"/>
                    <a:pt x="50" y="26"/>
                  </a:cubicBezTo>
                  <a:cubicBezTo>
                    <a:pt x="51" y="26"/>
                    <a:pt x="53" y="27"/>
                    <a:pt x="54" y="25"/>
                  </a:cubicBezTo>
                  <a:cubicBezTo>
                    <a:pt x="53" y="25"/>
                    <a:pt x="55" y="26"/>
                    <a:pt x="55" y="24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3" y="22"/>
                    <a:pt x="49" y="24"/>
                    <a:pt x="47" y="24"/>
                  </a:cubicBezTo>
                  <a:cubicBezTo>
                    <a:pt x="46" y="24"/>
                    <a:pt x="44" y="24"/>
                    <a:pt x="43" y="24"/>
                  </a:cubicBezTo>
                  <a:cubicBezTo>
                    <a:pt x="43" y="24"/>
                    <a:pt x="46" y="22"/>
                    <a:pt x="47" y="24"/>
                  </a:cubicBezTo>
                  <a:cubicBezTo>
                    <a:pt x="48" y="23"/>
                    <a:pt x="47" y="23"/>
                    <a:pt x="48" y="23"/>
                  </a:cubicBezTo>
                  <a:cubicBezTo>
                    <a:pt x="45" y="20"/>
                    <a:pt x="42" y="23"/>
                    <a:pt x="40" y="22"/>
                  </a:cubicBezTo>
                  <a:cubicBezTo>
                    <a:pt x="41" y="22"/>
                    <a:pt x="43" y="21"/>
                    <a:pt x="43" y="20"/>
                  </a:cubicBezTo>
                  <a:cubicBezTo>
                    <a:pt x="42" y="20"/>
                    <a:pt x="41" y="20"/>
                    <a:pt x="39" y="19"/>
                  </a:cubicBezTo>
                  <a:cubicBezTo>
                    <a:pt x="35" y="21"/>
                    <a:pt x="31" y="20"/>
                    <a:pt x="27" y="21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0" y="20"/>
                    <a:pt x="31" y="20"/>
                  </a:cubicBezTo>
                  <a:cubicBezTo>
                    <a:pt x="32" y="20"/>
                    <a:pt x="33" y="19"/>
                    <a:pt x="33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5" y="18"/>
                    <a:pt x="36" y="18"/>
                    <a:pt x="37" y="18"/>
                  </a:cubicBezTo>
                  <a:cubicBezTo>
                    <a:pt x="40" y="19"/>
                    <a:pt x="41" y="16"/>
                    <a:pt x="43" y="16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5" y="16"/>
                    <a:pt x="48" y="16"/>
                    <a:pt x="51" y="15"/>
                  </a:cubicBezTo>
                  <a:cubicBezTo>
                    <a:pt x="52" y="15"/>
                    <a:pt x="52" y="16"/>
                    <a:pt x="53" y="16"/>
                  </a:cubicBezTo>
                  <a:cubicBezTo>
                    <a:pt x="55" y="15"/>
                    <a:pt x="53" y="14"/>
                    <a:pt x="53" y="14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3"/>
                    <a:pt x="52" y="13"/>
                    <a:pt x="51" y="13"/>
                  </a:cubicBezTo>
                  <a:cubicBezTo>
                    <a:pt x="54" y="12"/>
                    <a:pt x="57" y="15"/>
                    <a:pt x="58" y="12"/>
                  </a:cubicBezTo>
                  <a:cubicBezTo>
                    <a:pt x="55" y="11"/>
                    <a:pt x="52" y="11"/>
                    <a:pt x="50" y="12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48" y="14"/>
                    <a:pt x="45" y="12"/>
                    <a:pt x="44" y="15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3" y="16"/>
                    <a:pt x="40" y="11"/>
                    <a:pt x="39" y="16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4" y="13"/>
                    <a:pt x="32" y="17"/>
                    <a:pt x="26" y="16"/>
                  </a:cubicBezTo>
                  <a:cubicBezTo>
                    <a:pt x="28" y="14"/>
                    <a:pt x="29" y="16"/>
                    <a:pt x="30" y="14"/>
                  </a:cubicBezTo>
                  <a:cubicBezTo>
                    <a:pt x="26" y="11"/>
                    <a:pt x="27" y="18"/>
                    <a:pt x="23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2" y="16"/>
                    <a:pt x="23" y="16"/>
                    <a:pt x="23" y="15"/>
                  </a:cubicBezTo>
                  <a:cubicBezTo>
                    <a:pt x="20" y="14"/>
                    <a:pt x="21" y="15"/>
                    <a:pt x="20" y="17"/>
                  </a:cubicBezTo>
                  <a:cubicBezTo>
                    <a:pt x="19" y="16"/>
                    <a:pt x="19" y="15"/>
                    <a:pt x="18" y="16"/>
                  </a:cubicBezTo>
                  <a:cubicBezTo>
                    <a:pt x="18" y="16"/>
                    <a:pt x="17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9" y="18"/>
                    <a:pt x="16" y="17"/>
                    <a:pt x="17" y="18"/>
                  </a:cubicBezTo>
                  <a:cubicBezTo>
                    <a:pt x="16" y="18"/>
                    <a:pt x="14" y="21"/>
                    <a:pt x="12" y="21"/>
                  </a:cubicBezTo>
                  <a:cubicBezTo>
                    <a:pt x="13" y="23"/>
                    <a:pt x="15" y="22"/>
                    <a:pt x="17" y="22"/>
                  </a:cubicBezTo>
                  <a:cubicBezTo>
                    <a:pt x="17" y="23"/>
                    <a:pt x="13" y="21"/>
                    <a:pt x="13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3"/>
                    <a:pt x="11" y="23"/>
                    <a:pt x="11" y="22"/>
                  </a:cubicBezTo>
                  <a:cubicBezTo>
                    <a:pt x="11" y="22"/>
                    <a:pt x="10" y="22"/>
                    <a:pt x="10" y="23"/>
                  </a:cubicBezTo>
                  <a:cubicBezTo>
                    <a:pt x="10" y="23"/>
                    <a:pt x="10" y="24"/>
                    <a:pt x="10" y="24"/>
                  </a:cubicBezTo>
                  <a:cubicBezTo>
                    <a:pt x="10" y="23"/>
                    <a:pt x="9" y="22"/>
                    <a:pt x="8" y="22"/>
                  </a:cubicBezTo>
                  <a:cubicBezTo>
                    <a:pt x="8" y="22"/>
                    <a:pt x="8" y="24"/>
                    <a:pt x="9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7" y="23"/>
                    <a:pt x="6" y="24"/>
                    <a:pt x="5" y="24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3"/>
                    <a:pt x="7" y="23"/>
                    <a:pt x="7" y="22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9" y="20"/>
                    <a:pt x="14" y="22"/>
                    <a:pt x="15" y="18"/>
                  </a:cubicBezTo>
                  <a:cubicBezTo>
                    <a:pt x="13" y="17"/>
                    <a:pt x="12" y="17"/>
                    <a:pt x="11" y="18"/>
                  </a:cubicBezTo>
                  <a:cubicBezTo>
                    <a:pt x="10" y="19"/>
                    <a:pt x="9" y="18"/>
                    <a:pt x="9" y="18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4" y="20"/>
                    <a:pt x="3" y="19"/>
                    <a:pt x="3" y="18"/>
                  </a:cubicBezTo>
                  <a:cubicBezTo>
                    <a:pt x="7" y="18"/>
                    <a:pt x="10" y="15"/>
                    <a:pt x="13" y="15"/>
                  </a:cubicBezTo>
                  <a:cubicBezTo>
                    <a:pt x="9" y="14"/>
                    <a:pt x="4" y="16"/>
                    <a:pt x="0" y="16"/>
                  </a:cubicBezTo>
                  <a:cubicBezTo>
                    <a:pt x="2" y="16"/>
                    <a:pt x="2" y="15"/>
                    <a:pt x="3" y="14"/>
                  </a:cubicBezTo>
                  <a:cubicBezTo>
                    <a:pt x="2" y="12"/>
                    <a:pt x="2" y="12"/>
                    <a:pt x="2" y="10"/>
                  </a:cubicBezTo>
                  <a:cubicBezTo>
                    <a:pt x="8" y="10"/>
                    <a:pt x="13" y="8"/>
                    <a:pt x="19" y="6"/>
                  </a:cubicBezTo>
                  <a:cubicBezTo>
                    <a:pt x="18" y="7"/>
                    <a:pt x="18" y="6"/>
                    <a:pt x="18" y="7"/>
                  </a:cubicBezTo>
                  <a:cubicBezTo>
                    <a:pt x="19" y="10"/>
                    <a:pt x="22" y="5"/>
                    <a:pt x="23" y="8"/>
                  </a:cubicBezTo>
                  <a:cubicBezTo>
                    <a:pt x="24" y="7"/>
                    <a:pt x="26" y="8"/>
                    <a:pt x="27" y="8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30" y="9"/>
                    <a:pt x="33" y="8"/>
                    <a:pt x="35" y="10"/>
                  </a:cubicBezTo>
                  <a:cubicBezTo>
                    <a:pt x="36" y="9"/>
                    <a:pt x="36" y="8"/>
                    <a:pt x="37" y="9"/>
                  </a:cubicBezTo>
                  <a:cubicBezTo>
                    <a:pt x="37" y="9"/>
                    <a:pt x="36" y="10"/>
                    <a:pt x="36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31" y="10"/>
                    <a:pt x="31" y="11"/>
                    <a:pt x="31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30" y="12"/>
                    <a:pt x="30" y="11"/>
                    <a:pt x="30" y="11"/>
                  </a:cubicBezTo>
                  <a:cubicBezTo>
                    <a:pt x="29" y="10"/>
                    <a:pt x="28" y="12"/>
                    <a:pt x="27" y="12"/>
                  </a:cubicBezTo>
                  <a:cubicBezTo>
                    <a:pt x="26" y="14"/>
                    <a:pt x="23" y="10"/>
                    <a:pt x="23" y="14"/>
                  </a:cubicBezTo>
                  <a:cubicBezTo>
                    <a:pt x="25" y="14"/>
                    <a:pt x="27" y="12"/>
                    <a:pt x="30" y="14"/>
                  </a:cubicBezTo>
                  <a:cubicBezTo>
                    <a:pt x="32" y="11"/>
                    <a:pt x="34" y="15"/>
                    <a:pt x="36" y="12"/>
                  </a:cubicBezTo>
                  <a:cubicBezTo>
                    <a:pt x="37" y="14"/>
                    <a:pt x="40" y="12"/>
                    <a:pt x="42" y="12"/>
                  </a:cubicBezTo>
                  <a:cubicBezTo>
                    <a:pt x="42" y="13"/>
                    <a:pt x="41" y="13"/>
                    <a:pt x="41" y="13"/>
                  </a:cubicBezTo>
                  <a:cubicBezTo>
                    <a:pt x="42" y="13"/>
                    <a:pt x="42" y="14"/>
                    <a:pt x="42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9" y="10"/>
                    <a:pt x="58" y="10"/>
                  </a:cubicBezTo>
                  <a:cubicBezTo>
                    <a:pt x="61" y="8"/>
                    <a:pt x="70" y="12"/>
                    <a:pt x="72" y="9"/>
                  </a:cubicBezTo>
                  <a:cubicBezTo>
                    <a:pt x="71" y="9"/>
                    <a:pt x="71" y="10"/>
                    <a:pt x="71" y="10"/>
                  </a:cubicBezTo>
                  <a:cubicBezTo>
                    <a:pt x="73" y="11"/>
                    <a:pt x="77" y="11"/>
                    <a:pt x="79" y="11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9" y="9"/>
                    <a:pt x="78" y="9"/>
                    <a:pt x="78" y="8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79" y="9"/>
                    <a:pt x="80" y="11"/>
                    <a:pt x="81" y="10"/>
                  </a:cubicBezTo>
                  <a:cubicBezTo>
                    <a:pt x="80" y="7"/>
                    <a:pt x="85" y="9"/>
                    <a:pt x="83" y="6"/>
                  </a:cubicBezTo>
                  <a:cubicBezTo>
                    <a:pt x="80" y="7"/>
                    <a:pt x="75" y="7"/>
                    <a:pt x="72" y="7"/>
                  </a:cubicBezTo>
                  <a:cubicBezTo>
                    <a:pt x="71" y="8"/>
                    <a:pt x="70" y="8"/>
                    <a:pt x="69" y="7"/>
                  </a:cubicBezTo>
                  <a:cubicBezTo>
                    <a:pt x="69" y="6"/>
                    <a:pt x="67" y="7"/>
                    <a:pt x="66" y="7"/>
                  </a:cubicBezTo>
                  <a:cubicBezTo>
                    <a:pt x="64" y="8"/>
                    <a:pt x="63" y="7"/>
                    <a:pt x="61" y="8"/>
                  </a:cubicBezTo>
                  <a:cubicBezTo>
                    <a:pt x="60" y="6"/>
                    <a:pt x="58" y="7"/>
                    <a:pt x="57" y="6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6" y="5"/>
                    <a:pt x="55" y="7"/>
                    <a:pt x="53" y="7"/>
                  </a:cubicBezTo>
                  <a:cubicBezTo>
                    <a:pt x="53" y="6"/>
                    <a:pt x="53" y="6"/>
                    <a:pt x="52" y="5"/>
                  </a:cubicBezTo>
                  <a:cubicBezTo>
                    <a:pt x="53" y="6"/>
                    <a:pt x="53" y="5"/>
                    <a:pt x="53" y="5"/>
                  </a:cubicBezTo>
                  <a:cubicBezTo>
                    <a:pt x="53" y="5"/>
                    <a:pt x="53" y="5"/>
                    <a:pt x="53" y="4"/>
                  </a:cubicBezTo>
                  <a:cubicBezTo>
                    <a:pt x="52" y="4"/>
                    <a:pt x="52" y="5"/>
                    <a:pt x="51" y="6"/>
                  </a:cubicBezTo>
                  <a:cubicBezTo>
                    <a:pt x="50" y="5"/>
                    <a:pt x="46" y="6"/>
                    <a:pt x="45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6"/>
                    <a:pt x="48" y="6"/>
                  </a:cubicBezTo>
                  <a:cubicBezTo>
                    <a:pt x="49" y="6"/>
                    <a:pt x="48" y="5"/>
                    <a:pt x="49" y="5"/>
                  </a:cubicBezTo>
                  <a:cubicBezTo>
                    <a:pt x="50" y="6"/>
                    <a:pt x="50" y="3"/>
                    <a:pt x="51" y="5"/>
                  </a:cubicBezTo>
                  <a:cubicBezTo>
                    <a:pt x="52" y="4"/>
                    <a:pt x="53" y="4"/>
                    <a:pt x="54" y="3"/>
                  </a:cubicBezTo>
                  <a:cubicBezTo>
                    <a:pt x="54" y="4"/>
                    <a:pt x="54" y="4"/>
                    <a:pt x="55" y="4"/>
                  </a:cubicBezTo>
                  <a:cubicBezTo>
                    <a:pt x="55" y="4"/>
                    <a:pt x="53" y="4"/>
                    <a:pt x="54" y="5"/>
                  </a:cubicBezTo>
                  <a:cubicBezTo>
                    <a:pt x="55" y="6"/>
                    <a:pt x="56" y="5"/>
                    <a:pt x="57" y="5"/>
                  </a:cubicBezTo>
                  <a:cubicBezTo>
                    <a:pt x="58" y="5"/>
                    <a:pt x="57" y="4"/>
                    <a:pt x="56" y="3"/>
                  </a:cubicBezTo>
                  <a:cubicBezTo>
                    <a:pt x="57" y="3"/>
                    <a:pt x="57" y="3"/>
                    <a:pt x="58" y="3"/>
                  </a:cubicBezTo>
                  <a:cubicBezTo>
                    <a:pt x="57" y="3"/>
                    <a:pt x="57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8" y="4"/>
                    <a:pt x="60" y="2"/>
                    <a:pt x="61" y="3"/>
                  </a:cubicBezTo>
                  <a:cubicBezTo>
                    <a:pt x="62" y="2"/>
                    <a:pt x="64" y="3"/>
                    <a:pt x="65" y="1"/>
                  </a:cubicBezTo>
                  <a:cubicBezTo>
                    <a:pt x="65" y="1"/>
                    <a:pt x="66" y="2"/>
                    <a:pt x="66" y="2"/>
                  </a:cubicBezTo>
                  <a:cubicBezTo>
                    <a:pt x="69" y="0"/>
                    <a:pt x="72" y="2"/>
                    <a:pt x="75" y="2"/>
                  </a:cubicBezTo>
                  <a:cubicBezTo>
                    <a:pt x="76" y="2"/>
                    <a:pt x="76" y="1"/>
                    <a:pt x="76" y="1"/>
                  </a:cubicBezTo>
                  <a:cubicBezTo>
                    <a:pt x="77" y="3"/>
                    <a:pt x="80" y="2"/>
                    <a:pt x="81" y="2"/>
                  </a:cubicBezTo>
                  <a:cubicBezTo>
                    <a:pt x="81" y="3"/>
                    <a:pt x="81" y="3"/>
                    <a:pt x="81" y="3"/>
                  </a:cubicBezTo>
                  <a:cubicBezTo>
                    <a:pt x="83" y="4"/>
                    <a:pt x="84" y="1"/>
                    <a:pt x="85" y="3"/>
                  </a:cubicBezTo>
                  <a:cubicBezTo>
                    <a:pt x="89" y="1"/>
                    <a:pt x="93" y="4"/>
                    <a:pt x="98" y="3"/>
                  </a:cubicBezTo>
                  <a:cubicBezTo>
                    <a:pt x="95" y="3"/>
                    <a:pt x="91" y="2"/>
                    <a:pt x="88" y="4"/>
                  </a:cubicBezTo>
                  <a:cubicBezTo>
                    <a:pt x="91" y="5"/>
                    <a:pt x="94" y="4"/>
                    <a:pt x="98" y="4"/>
                  </a:cubicBezTo>
                  <a:cubicBezTo>
                    <a:pt x="99" y="5"/>
                    <a:pt x="97" y="5"/>
                    <a:pt x="96" y="6"/>
                  </a:cubicBezTo>
                  <a:cubicBezTo>
                    <a:pt x="95" y="6"/>
                    <a:pt x="94" y="5"/>
                    <a:pt x="94" y="4"/>
                  </a:cubicBezTo>
                  <a:cubicBezTo>
                    <a:pt x="92" y="6"/>
                    <a:pt x="88" y="5"/>
                    <a:pt x="86" y="5"/>
                  </a:cubicBezTo>
                  <a:cubicBezTo>
                    <a:pt x="86" y="8"/>
                    <a:pt x="88" y="6"/>
                    <a:pt x="89" y="7"/>
                  </a:cubicBezTo>
                  <a:cubicBezTo>
                    <a:pt x="88" y="6"/>
                    <a:pt x="86" y="7"/>
                    <a:pt x="85" y="8"/>
                  </a:cubicBezTo>
                  <a:cubicBezTo>
                    <a:pt x="86" y="9"/>
                    <a:pt x="88" y="8"/>
                    <a:pt x="88" y="9"/>
                  </a:cubicBezTo>
                  <a:cubicBezTo>
                    <a:pt x="87" y="8"/>
                    <a:pt x="85" y="9"/>
                    <a:pt x="85" y="10"/>
                  </a:cubicBezTo>
                  <a:cubicBezTo>
                    <a:pt x="84" y="10"/>
                    <a:pt x="87" y="9"/>
                    <a:pt x="85" y="8"/>
                  </a:cubicBezTo>
                  <a:cubicBezTo>
                    <a:pt x="84" y="9"/>
                    <a:pt x="82" y="8"/>
                    <a:pt x="82" y="9"/>
                  </a:cubicBezTo>
                  <a:cubicBezTo>
                    <a:pt x="82" y="11"/>
                    <a:pt x="84" y="9"/>
                    <a:pt x="83" y="10"/>
                  </a:cubicBezTo>
                  <a:cubicBezTo>
                    <a:pt x="83" y="10"/>
                    <a:pt x="82" y="10"/>
                    <a:pt x="82" y="11"/>
                  </a:cubicBezTo>
                  <a:cubicBezTo>
                    <a:pt x="82" y="11"/>
                    <a:pt x="84" y="11"/>
                    <a:pt x="84" y="12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6" y="12"/>
                    <a:pt x="86" y="11"/>
                    <a:pt x="87" y="11"/>
                  </a:cubicBezTo>
                  <a:cubicBezTo>
                    <a:pt x="87" y="12"/>
                    <a:pt x="87" y="12"/>
                    <a:pt x="87" y="12"/>
                  </a:cubicBezTo>
                  <a:cubicBezTo>
                    <a:pt x="88" y="13"/>
                    <a:pt x="89" y="10"/>
                    <a:pt x="90" y="12"/>
                  </a:cubicBezTo>
                  <a:cubicBezTo>
                    <a:pt x="90" y="13"/>
                    <a:pt x="87" y="13"/>
                    <a:pt x="88" y="15"/>
                  </a:cubicBezTo>
                  <a:cubicBezTo>
                    <a:pt x="87" y="14"/>
                    <a:pt x="87" y="14"/>
                    <a:pt x="87" y="14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88" y="15"/>
                    <a:pt x="90" y="17"/>
                    <a:pt x="91" y="17"/>
                  </a:cubicBezTo>
                  <a:cubicBezTo>
                    <a:pt x="92" y="16"/>
                    <a:pt x="93" y="16"/>
                    <a:pt x="93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18"/>
                    <a:pt x="93" y="18"/>
                    <a:pt x="93" y="19"/>
                  </a:cubicBezTo>
                  <a:cubicBezTo>
                    <a:pt x="93" y="19"/>
                    <a:pt x="94" y="19"/>
                    <a:pt x="94" y="18"/>
                  </a:cubicBezTo>
                  <a:cubicBezTo>
                    <a:pt x="94" y="18"/>
                    <a:pt x="94" y="19"/>
                    <a:pt x="94" y="19"/>
                  </a:cubicBezTo>
                  <a:cubicBezTo>
                    <a:pt x="95" y="20"/>
                    <a:pt x="95" y="18"/>
                    <a:pt x="96" y="18"/>
                  </a:cubicBezTo>
                  <a:cubicBezTo>
                    <a:pt x="98" y="18"/>
                    <a:pt x="100" y="18"/>
                    <a:pt x="102" y="16"/>
                  </a:cubicBezTo>
                  <a:cubicBezTo>
                    <a:pt x="102" y="17"/>
                    <a:pt x="102" y="17"/>
                    <a:pt x="102" y="17"/>
                  </a:cubicBezTo>
                  <a:cubicBezTo>
                    <a:pt x="101" y="18"/>
                    <a:pt x="99" y="17"/>
                    <a:pt x="99" y="19"/>
                  </a:cubicBezTo>
                  <a:cubicBezTo>
                    <a:pt x="105" y="19"/>
                    <a:pt x="105" y="19"/>
                    <a:pt x="105" y="19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8" y="18"/>
                    <a:pt x="108" y="18"/>
                    <a:pt x="108" y="18"/>
                  </a:cubicBezTo>
                  <a:cubicBezTo>
                    <a:pt x="107" y="18"/>
                    <a:pt x="108" y="19"/>
                    <a:pt x="108" y="2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0" name="Rectangle 162">
              <a:extLst>
                <a:ext uri="{FF2B5EF4-FFF2-40B4-BE49-F238E27FC236}">
                  <a16:creationId xmlns:a16="http://schemas.microsoft.com/office/drawing/2014/main" id="{44F3A1C8-D3FE-BBE9-176F-9942F7E290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9113" y="3593348"/>
              <a:ext cx="2376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1" name="Freeform 163">
              <a:extLst>
                <a:ext uri="{FF2B5EF4-FFF2-40B4-BE49-F238E27FC236}">
                  <a16:creationId xmlns:a16="http://schemas.microsoft.com/office/drawing/2014/main" id="{E271CEF6-4726-F084-95E8-B59AB0702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233" y="3653543"/>
              <a:ext cx="35642" cy="12673"/>
            </a:xfrm>
            <a:custGeom>
              <a:avLst/>
              <a:gdLst>
                <a:gd name="T0" fmla="*/ 0 w 45"/>
                <a:gd name="T1" fmla="*/ 16 h 16"/>
                <a:gd name="T2" fmla="*/ 45 w 45"/>
                <a:gd name="T3" fmla="*/ 0 h 16"/>
                <a:gd name="T4" fmla="*/ 15 w 45"/>
                <a:gd name="T5" fmla="*/ 16 h 16"/>
                <a:gd name="T6" fmla="*/ 0 w 45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16">
                  <a:moveTo>
                    <a:pt x="0" y="16"/>
                  </a:moveTo>
                  <a:lnTo>
                    <a:pt x="45" y="0"/>
                  </a:lnTo>
                  <a:lnTo>
                    <a:pt x="15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2" name="Freeform 164">
              <a:extLst>
                <a:ext uri="{FF2B5EF4-FFF2-40B4-BE49-F238E27FC236}">
                  <a16:creationId xmlns:a16="http://schemas.microsoft.com/office/drawing/2014/main" id="{CA8DC2A4-5F67-6BE3-9FBA-ACE9C81663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2875" y="3689977"/>
              <a:ext cx="12673" cy="12673"/>
            </a:xfrm>
            <a:custGeom>
              <a:avLst/>
              <a:gdLst>
                <a:gd name="T0" fmla="*/ 0 w 16"/>
                <a:gd name="T1" fmla="*/ 16 h 16"/>
                <a:gd name="T2" fmla="*/ 16 w 16"/>
                <a:gd name="T3" fmla="*/ 0 h 16"/>
                <a:gd name="T4" fmla="*/ 16 w 16"/>
                <a:gd name="T5" fmla="*/ 16 h 16"/>
                <a:gd name="T6" fmla="*/ 0 w 16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6">
                  <a:moveTo>
                    <a:pt x="0" y="16"/>
                  </a:move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3" name="Freeform 165">
              <a:extLst>
                <a:ext uri="{FF2B5EF4-FFF2-40B4-BE49-F238E27FC236}">
                  <a16:creationId xmlns:a16="http://schemas.microsoft.com/office/drawing/2014/main" id="{41503092-4815-9C90-5AAC-4A67DF76E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038" y="2985062"/>
              <a:ext cx="11881" cy="12673"/>
            </a:xfrm>
            <a:custGeom>
              <a:avLst/>
              <a:gdLst>
                <a:gd name="T0" fmla="*/ 0 w 15"/>
                <a:gd name="T1" fmla="*/ 16 h 16"/>
                <a:gd name="T2" fmla="*/ 15 w 15"/>
                <a:gd name="T3" fmla="*/ 0 h 16"/>
                <a:gd name="T4" fmla="*/ 15 w 15"/>
                <a:gd name="T5" fmla="*/ 16 h 16"/>
                <a:gd name="T6" fmla="*/ 0 w 15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0" y="16"/>
                  </a:moveTo>
                  <a:lnTo>
                    <a:pt x="15" y="0"/>
                  </a:lnTo>
                  <a:lnTo>
                    <a:pt x="15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4" name="Freeform 166">
              <a:extLst>
                <a:ext uri="{FF2B5EF4-FFF2-40B4-BE49-F238E27FC236}">
                  <a16:creationId xmlns:a16="http://schemas.microsoft.com/office/drawing/2014/main" id="{AE764554-A713-5795-2CF0-7A3F0DBE4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0994" y="4139855"/>
              <a:ext cx="72076" cy="24553"/>
            </a:xfrm>
            <a:custGeom>
              <a:avLst/>
              <a:gdLst>
                <a:gd name="T0" fmla="*/ 0 w 6"/>
                <a:gd name="T1" fmla="*/ 2 h 2"/>
                <a:gd name="T2" fmla="*/ 6 w 6"/>
                <a:gd name="T3" fmla="*/ 0 h 2"/>
                <a:gd name="T4" fmla="*/ 0 w 6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0" y="2"/>
                  </a:moveTo>
                  <a:cubicBezTo>
                    <a:pt x="1" y="0"/>
                    <a:pt x="4" y="0"/>
                    <a:pt x="6" y="0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5" name="Freeform 167">
              <a:extLst>
                <a:ext uri="{FF2B5EF4-FFF2-40B4-BE49-F238E27FC236}">
                  <a16:creationId xmlns:a16="http://schemas.microsoft.com/office/drawing/2014/main" id="{C369830F-BD6F-1A03-12A8-CB565F717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038" y="3057930"/>
              <a:ext cx="11881" cy="24553"/>
            </a:xfrm>
            <a:custGeom>
              <a:avLst/>
              <a:gdLst>
                <a:gd name="T0" fmla="*/ 0 w 15"/>
                <a:gd name="T1" fmla="*/ 16 h 31"/>
                <a:gd name="T2" fmla="*/ 0 w 15"/>
                <a:gd name="T3" fmla="*/ 31 h 31"/>
                <a:gd name="T4" fmla="*/ 0 w 15"/>
                <a:gd name="T5" fmla="*/ 16 h 31"/>
                <a:gd name="T6" fmla="*/ 15 w 15"/>
                <a:gd name="T7" fmla="*/ 16 h 31"/>
                <a:gd name="T8" fmla="*/ 15 w 15"/>
                <a:gd name="T9" fmla="*/ 0 h 31"/>
                <a:gd name="T10" fmla="*/ 15 w 15"/>
                <a:gd name="T11" fmla="*/ 31 h 31"/>
                <a:gd name="T12" fmla="*/ 0 w 15"/>
                <a:gd name="T13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31">
                  <a:moveTo>
                    <a:pt x="0" y="16"/>
                  </a:moveTo>
                  <a:lnTo>
                    <a:pt x="0" y="31"/>
                  </a:lnTo>
                  <a:lnTo>
                    <a:pt x="0" y="16"/>
                  </a:lnTo>
                  <a:lnTo>
                    <a:pt x="15" y="16"/>
                  </a:lnTo>
                  <a:lnTo>
                    <a:pt x="15" y="0"/>
                  </a:lnTo>
                  <a:lnTo>
                    <a:pt x="15" y="31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6" name="Freeform 168">
              <a:extLst>
                <a:ext uri="{FF2B5EF4-FFF2-40B4-BE49-F238E27FC236}">
                  <a16:creationId xmlns:a16="http://schemas.microsoft.com/office/drawing/2014/main" id="{C1360F23-61F2-E2CD-FE85-F193EA1DC2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799" y="3228218"/>
              <a:ext cx="11881" cy="12673"/>
            </a:xfrm>
            <a:custGeom>
              <a:avLst/>
              <a:gdLst>
                <a:gd name="T0" fmla="*/ 0 w 15"/>
                <a:gd name="T1" fmla="*/ 16 h 16"/>
                <a:gd name="T2" fmla="*/ 15 w 15"/>
                <a:gd name="T3" fmla="*/ 0 h 16"/>
                <a:gd name="T4" fmla="*/ 15 w 15"/>
                <a:gd name="T5" fmla="*/ 0 h 16"/>
                <a:gd name="T6" fmla="*/ 0 w 15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0" y="16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7" name="Freeform 169">
              <a:extLst>
                <a:ext uri="{FF2B5EF4-FFF2-40B4-BE49-F238E27FC236}">
                  <a16:creationId xmlns:a16="http://schemas.microsoft.com/office/drawing/2014/main" id="{AF164CBA-2261-A052-6453-2878A57F6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038" y="3277325"/>
              <a:ext cx="35642" cy="11881"/>
            </a:xfrm>
            <a:custGeom>
              <a:avLst/>
              <a:gdLst>
                <a:gd name="T0" fmla="*/ 1 w 3"/>
                <a:gd name="T1" fmla="*/ 1 h 1"/>
                <a:gd name="T2" fmla="*/ 3 w 3"/>
                <a:gd name="T3" fmla="*/ 0 h 1"/>
                <a:gd name="T4" fmla="*/ 1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1" y="1"/>
                  </a:moveTo>
                  <a:cubicBezTo>
                    <a:pt x="0" y="0"/>
                    <a:pt x="2" y="0"/>
                    <a:pt x="3" y="0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8" name="Rectangle 170">
              <a:extLst>
                <a:ext uri="{FF2B5EF4-FFF2-40B4-BE49-F238E27FC236}">
                  <a16:creationId xmlns:a16="http://schemas.microsoft.com/office/drawing/2014/main" id="{2F047534-12AF-36F3-31F9-2A3100B59B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6843" y="2645277"/>
              <a:ext cx="11881" cy="1188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9" name="Rectangle 171">
              <a:extLst>
                <a:ext uri="{FF2B5EF4-FFF2-40B4-BE49-F238E27FC236}">
                  <a16:creationId xmlns:a16="http://schemas.microsoft.com/office/drawing/2014/main" id="{7051D34B-D58E-1C1E-0963-7EB8E713D3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6843" y="2754579"/>
              <a:ext cx="2376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0" name="Freeform 172">
              <a:extLst>
                <a:ext uri="{FF2B5EF4-FFF2-40B4-BE49-F238E27FC236}">
                  <a16:creationId xmlns:a16="http://schemas.microsoft.com/office/drawing/2014/main" id="{2DDD7083-6E9C-2432-F81F-21CDF431C8B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799" y="3471374"/>
              <a:ext cx="24553" cy="12673"/>
            </a:xfrm>
            <a:custGeom>
              <a:avLst/>
              <a:gdLst>
                <a:gd name="T0" fmla="*/ 0 w 31"/>
                <a:gd name="T1" fmla="*/ 16 h 16"/>
                <a:gd name="T2" fmla="*/ 31 w 31"/>
                <a:gd name="T3" fmla="*/ 0 h 16"/>
                <a:gd name="T4" fmla="*/ 15 w 31"/>
                <a:gd name="T5" fmla="*/ 16 h 16"/>
                <a:gd name="T6" fmla="*/ 0 w 31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16">
                  <a:moveTo>
                    <a:pt x="0" y="16"/>
                  </a:moveTo>
                  <a:lnTo>
                    <a:pt x="31" y="0"/>
                  </a:lnTo>
                  <a:lnTo>
                    <a:pt x="15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1" name="Freeform 173">
              <a:extLst>
                <a:ext uri="{FF2B5EF4-FFF2-40B4-BE49-F238E27FC236}">
                  <a16:creationId xmlns:a16="http://schemas.microsoft.com/office/drawing/2014/main" id="{E250130B-8D43-CCC2-4F42-06C4EBC07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6843" y="2973181"/>
              <a:ext cx="35642" cy="24553"/>
            </a:xfrm>
            <a:custGeom>
              <a:avLst/>
              <a:gdLst>
                <a:gd name="T0" fmla="*/ 0 w 3"/>
                <a:gd name="T1" fmla="*/ 2 h 2"/>
                <a:gd name="T2" fmla="*/ 0 w 3"/>
                <a:gd name="T3" fmla="*/ 1 h 2"/>
                <a:gd name="T4" fmla="*/ 3 w 3"/>
                <a:gd name="T5" fmla="*/ 0 h 2"/>
                <a:gd name="T6" fmla="*/ 0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1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2" name="Freeform 174">
              <a:extLst>
                <a:ext uri="{FF2B5EF4-FFF2-40B4-BE49-F238E27FC236}">
                  <a16:creationId xmlns:a16="http://schemas.microsoft.com/office/drawing/2014/main" id="{8CDBA8BB-1504-5927-8050-BEBE97450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5157" y="3434940"/>
              <a:ext cx="47522" cy="36434"/>
            </a:xfrm>
            <a:custGeom>
              <a:avLst/>
              <a:gdLst>
                <a:gd name="T0" fmla="*/ 0 w 4"/>
                <a:gd name="T1" fmla="*/ 3 h 3"/>
                <a:gd name="T2" fmla="*/ 0 w 4"/>
                <a:gd name="T3" fmla="*/ 0 h 3"/>
                <a:gd name="T4" fmla="*/ 4 w 4"/>
                <a:gd name="T5" fmla="*/ 0 h 3"/>
                <a:gd name="T6" fmla="*/ 0 w 4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2" y="2"/>
                    <a:pt x="0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3" name="Freeform 175">
              <a:extLst>
                <a:ext uri="{FF2B5EF4-FFF2-40B4-BE49-F238E27FC236}">
                  <a16:creationId xmlns:a16="http://schemas.microsoft.com/office/drawing/2014/main" id="{CB79F05B-1367-6D1E-2DC5-5CBBA5DEDA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2680" y="3593348"/>
              <a:ext cx="12673" cy="11881"/>
            </a:xfrm>
            <a:custGeom>
              <a:avLst/>
              <a:gdLst>
                <a:gd name="T0" fmla="*/ 0 w 16"/>
                <a:gd name="T1" fmla="*/ 15 h 15"/>
                <a:gd name="T2" fmla="*/ 16 w 16"/>
                <a:gd name="T3" fmla="*/ 0 h 15"/>
                <a:gd name="T4" fmla="*/ 16 w 16"/>
                <a:gd name="T5" fmla="*/ 15 h 15"/>
                <a:gd name="T6" fmla="*/ 0 w 16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5">
                  <a:moveTo>
                    <a:pt x="0" y="15"/>
                  </a:moveTo>
                  <a:lnTo>
                    <a:pt x="16" y="0"/>
                  </a:lnTo>
                  <a:lnTo>
                    <a:pt x="16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4" name="Rectangle 176">
              <a:extLst>
                <a:ext uri="{FF2B5EF4-FFF2-40B4-BE49-F238E27FC236}">
                  <a16:creationId xmlns:a16="http://schemas.microsoft.com/office/drawing/2014/main" id="{199F9401-D054-DE75-B4AB-E525948B6F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10409" y="2681711"/>
              <a:ext cx="36434" cy="1188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5" name="Freeform 177">
              <a:extLst>
                <a:ext uri="{FF2B5EF4-FFF2-40B4-BE49-F238E27FC236}">
                  <a16:creationId xmlns:a16="http://schemas.microsoft.com/office/drawing/2014/main" id="{DCC577DA-E199-2EF0-5020-59A46C0F9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0409" y="2936748"/>
              <a:ext cx="48314" cy="36434"/>
            </a:xfrm>
            <a:custGeom>
              <a:avLst/>
              <a:gdLst>
                <a:gd name="T0" fmla="*/ 0 w 4"/>
                <a:gd name="T1" fmla="*/ 2 h 3"/>
                <a:gd name="T2" fmla="*/ 4 w 4"/>
                <a:gd name="T3" fmla="*/ 1 h 3"/>
                <a:gd name="T4" fmla="*/ 0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cubicBezTo>
                    <a:pt x="1" y="1"/>
                    <a:pt x="3" y="0"/>
                    <a:pt x="4" y="1"/>
                  </a:cubicBezTo>
                  <a:cubicBezTo>
                    <a:pt x="4" y="3"/>
                    <a:pt x="1" y="1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6" name="Freeform 178">
              <a:extLst>
                <a:ext uri="{FF2B5EF4-FFF2-40B4-BE49-F238E27FC236}">
                  <a16:creationId xmlns:a16="http://schemas.microsoft.com/office/drawing/2014/main" id="{84DF38C4-58FA-0A78-B042-CCBD426CA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0409" y="2645277"/>
              <a:ext cx="11881" cy="11881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0 w 1"/>
                <a:gd name="T5" fmla="*/ 0 h 1"/>
                <a:gd name="T6" fmla="*/ 1 w 1"/>
                <a:gd name="T7" fmla="*/ 0 h 1"/>
                <a:gd name="T8" fmla="*/ 0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7" name="Freeform 179">
              <a:extLst>
                <a:ext uri="{FF2B5EF4-FFF2-40B4-BE49-F238E27FC236}">
                  <a16:creationId xmlns:a16="http://schemas.microsoft.com/office/drawing/2014/main" id="{41EB6A8B-B7AD-9218-79F2-0E84033C6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4962" y="3009615"/>
              <a:ext cx="23761" cy="36434"/>
            </a:xfrm>
            <a:custGeom>
              <a:avLst/>
              <a:gdLst>
                <a:gd name="T0" fmla="*/ 0 w 2"/>
                <a:gd name="T1" fmla="*/ 2 h 3"/>
                <a:gd name="T2" fmla="*/ 2 w 2"/>
                <a:gd name="T3" fmla="*/ 1 h 3"/>
                <a:gd name="T4" fmla="*/ 0 w 2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0" y="2"/>
                  </a:moveTo>
                  <a:cubicBezTo>
                    <a:pt x="0" y="0"/>
                    <a:pt x="2" y="3"/>
                    <a:pt x="2" y="1"/>
                  </a:cubicBezTo>
                  <a:cubicBezTo>
                    <a:pt x="2" y="2"/>
                    <a:pt x="1" y="2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8" name="Freeform 180">
              <a:extLst>
                <a:ext uri="{FF2B5EF4-FFF2-40B4-BE49-F238E27FC236}">
                  <a16:creationId xmlns:a16="http://schemas.microsoft.com/office/drawing/2014/main" id="{F9593A57-99A9-08B5-BB19-1FE0C0236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8334" y="2754579"/>
              <a:ext cx="83956" cy="24553"/>
            </a:xfrm>
            <a:custGeom>
              <a:avLst/>
              <a:gdLst>
                <a:gd name="T0" fmla="*/ 5 w 7"/>
                <a:gd name="T1" fmla="*/ 1 h 2"/>
                <a:gd name="T2" fmla="*/ 4 w 7"/>
                <a:gd name="T3" fmla="*/ 1 h 2"/>
                <a:gd name="T4" fmla="*/ 2 w 7"/>
                <a:gd name="T5" fmla="*/ 2 h 2"/>
                <a:gd name="T6" fmla="*/ 1 w 7"/>
                <a:gd name="T7" fmla="*/ 1 h 2"/>
                <a:gd name="T8" fmla="*/ 4 w 7"/>
                <a:gd name="T9" fmla="*/ 0 h 2"/>
                <a:gd name="T10" fmla="*/ 5 w 7"/>
                <a:gd name="T11" fmla="*/ 0 h 2"/>
                <a:gd name="T12" fmla="*/ 5 w 7"/>
                <a:gd name="T13" fmla="*/ 0 h 2"/>
                <a:gd name="T14" fmla="*/ 7 w 7"/>
                <a:gd name="T15" fmla="*/ 1 h 2"/>
                <a:gd name="T16" fmla="*/ 5 w 7"/>
                <a:gd name="T1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2">
                  <a:moveTo>
                    <a:pt x="5" y="1"/>
                  </a:moveTo>
                  <a:cubicBezTo>
                    <a:pt x="5" y="1"/>
                    <a:pt x="5" y="1"/>
                    <a:pt x="4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1"/>
                    <a:pt x="1" y="1"/>
                  </a:cubicBezTo>
                  <a:cubicBezTo>
                    <a:pt x="0" y="1"/>
                    <a:pt x="3" y="1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6" y="1"/>
                    <a:pt x="5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9" name="Freeform 181">
              <a:extLst>
                <a:ext uri="{FF2B5EF4-FFF2-40B4-BE49-F238E27FC236}">
                  <a16:creationId xmlns:a16="http://schemas.microsoft.com/office/drawing/2014/main" id="{900C9E12-BED3-6271-AC45-C9E941B65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767" y="3301086"/>
              <a:ext cx="107717" cy="49106"/>
            </a:xfrm>
            <a:custGeom>
              <a:avLst/>
              <a:gdLst>
                <a:gd name="T0" fmla="*/ 7 w 9"/>
                <a:gd name="T1" fmla="*/ 2 h 4"/>
                <a:gd name="T2" fmla="*/ 6 w 9"/>
                <a:gd name="T3" fmla="*/ 3 h 4"/>
                <a:gd name="T4" fmla="*/ 6 w 9"/>
                <a:gd name="T5" fmla="*/ 2 h 4"/>
                <a:gd name="T6" fmla="*/ 1 w 9"/>
                <a:gd name="T7" fmla="*/ 2 h 4"/>
                <a:gd name="T8" fmla="*/ 0 w 9"/>
                <a:gd name="T9" fmla="*/ 2 h 4"/>
                <a:gd name="T10" fmla="*/ 1 w 9"/>
                <a:gd name="T11" fmla="*/ 1 h 4"/>
                <a:gd name="T12" fmla="*/ 3 w 9"/>
                <a:gd name="T13" fmla="*/ 0 h 4"/>
                <a:gd name="T14" fmla="*/ 9 w 9"/>
                <a:gd name="T15" fmla="*/ 2 h 4"/>
                <a:gd name="T16" fmla="*/ 7 w 9"/>
                <a:gd name="T1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4">
                  <a:moveTo>
                    <a:pt x="7" y="2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5" y="3"/>
                    <a:pt x="2" y="0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2"/>
                    <a:pt x="2" y="0"/>
                    <a:pt x="3" y="0"/>
                  </a:cubicBezTo>
                  <a:cubicBezTo>
                    <a:pt x="5" y="0"/>
                    <a:pt x="7" y="1"/>
                    <a:pt x="9" y="2"/>
                  </a:cubicBezTo>
                  <a:cubicBezTo>
                    <a:pt x="9" y="2"/>
                    <a:pt x="8" y="4"/>
                    <a:pt x="7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0" name="Freeform 182">
              <a:extLst>
                <a:ext uri="{FF2B5EF4-FFF2-40B4-BE49-F238E27FC236}">
                  <a16:creationId xmlns:a16="http://schemas.microsoft.com/office/drawing/2014/main" id="{35FD0914-4FFF-B487-AC5F-5196500AA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0604" y="3629782"/>
              <a:ext cx="60195" cy="36434"/>
            </a:xfrm>
            <a:custGeom>
              <a:avLst/>
              <a:gdLst>
                <a:gd name="T0" fmla="*/ 5 w 5"/>
                <a:gd name="T1" fmla="*/ 2 h 3"/>
                <a:gd name="T2" fmla="*/ 2 w 5"/>
                <a:gd name="T3" fmla="*/ 3 h 3"/>
                <a:gd name="T4" fmla="*/ 1 w 5"/>
                <a:gd name="T5" fmla="*/ 3 h 3"/>
                <a:gd name="T6" fmla="*/ 2 w 5"/>
                <a:gd name="T7" fmla="*/ 2 h 3"/>
                <a:gd name="T8" fmla="*/ 1 w 5"/>
                <a:gd name="T9" fmla="*/ 1 h 3"/>
                <a:gd name="T10" fmla="*/ 4 w 5"/>
                <a:gd name="T11" fmla="*/ 0 h 3"/>
                <a:gd name="T12" fmla="*/ 5 w 5"/>
                <a:gd name="T1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3">
                  <a:moveTo>
                    <a:pt x="5" y="2"/>
                  </a:moveTo>
                  <a:cubicBezTo>
                    <a:pt x="4" y="3"/>
                    <a:pt x="2" y="1"/>
                    <a:pt x="2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3" y="1"/>
                    <a:pt x="4" y="0"/>
                  </a:cubicBezTo>
                  <a:cubicBezTo>
                    <a:pt x="4" y="1"/>
                    <a:pt x="5" y="1"/>
                    <a:pt x="5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1" name="Freeform 183">
              <a:extLst>
                <a:ext uri="{FF2B5EF4-FFF2-40B4-BE49-F238E27FC236}">
                  <a16:creationId xmlns:a16="http://schemas.microsoft.com/office/drawing/2014/main" id="{9C3F11FD-DA82-8FC9-FCBA-9DE6A83E6D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8529" y="3046049"/>
              <a:ext cx="48314" cy="24553"/>
            </a:xfrm>
            <a:custGeom>
              <a:avLst/>
              <a:gdLst>
                <a:gd name="T0" fmla="*/ 0 w 4"/>
                <a:gd name="T1" fmla="*/ 1 h 2"/>
                <a:gd name="T2" fmla="*/ 2 w 4"/>
                <a:gd name="T3" fmla="*/ 1 h 2"/>
                <a:gd name="T4" fmla="*/ 3 w 4"/>
                <a:gd name="T5" fmla="*/ 2 h 2"/>
                <a:gd name="T6" fmla="*/ 4 w 4"/>
                <a:gd name="T7" fmla="*/ 0 h 2"/>
                <a:gd name="T8" fmla="*/ 0 w 4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3" y="1"/>
                    <a:pt x="3" y="2"/>
                  </a:cubicBezTo>
                  <a:cubicBezTo>
                    <a:pt x="3" y="1"/>
                    <a:pt x="3" y="0"/>
                    <a:pt x="4" y="0"/>
                  </a:cubicBezTo>
                  <a:cubicBezTo>
                    <a:pt x="3" y="2"/>
                    <a:pt x="2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2" name="Freeform 184">
              <a:extLst>
                <a:ext uri="{FF2B5EF4-FFF2-40B4-BE49-F238E27FC236}">
                  <a16:creationId xmlns:a16="http://schemas.microsoft.com/office/drawing/2014/main" id="{3C5BED8B-C833-1006-C5EC-ADF250E73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5157" y="3739083"/>
              <a:ext cx="35642" cy="24553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1 h 2"/>
                <a:gd name="T6" fmla="*/ 3 w 3"/>
                <a:gd name="T7" fmla="*/ 1 h 2"/>
                <a:gd name="T8" fmla="*/ 1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1"/>
                    <a:pt x="2" y="1"/>
                    <a:pt x="2" y="0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2" y="2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3" name="Freeform 185">
              <a:extLst>
                <a:ext uri="{FF2B5EF4-FFF2-40B4-BE49-F238E27FC236}">
                  <a16:creationId xmlns:a16="http://schemas.microsoft.com/office/drawing/2014/main" id="{D64E89F6-ABE5-DD74-CD3C-7C744D488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8724" y="3277325"/>
              <a:ext cx="11881" cy="11881"/>
            </a:xfrm>
            <a:custGeom>
              <a:avLst/>
              <a:gdLst>
                <a:gd name="T0" fmla="*/ 15 w 15"/>
                <a:gd name="T1" fmla="*/ 0 h 15"/>
                <a:gd name="T2" fmla="*/ 15 w 15"/>
                <a:gd name="T3" fmla="*/ 0 h 15"/>
                <a:gd name="T4" fmla="*/ 0 w 15"/>
                <a:gd name="T5" fmla="*/ 15 h 15"/>
                <a:gd name="T6" fmla="*/ 0 w 15"/>
                <a:gd name="T7" fmla="*/ 0 h 15"/>
                <a:gd name="T8" fmla="*/ 15 w 1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0"/>
                  </a:moveTo>
                  <a:lnTo>
                    <a:pt x="15" y="0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4" name="Freeform 186">
              <a:extLst>
                <a:ext uri="{FF2B5EF4-FFF2-40B4-BE49-F238E27FC236}">
                  <a16:creationId xmlns:a16="http://schemas.microsoft.com/office/drawing/2014/main" id="{ED1243A2-389D-00A7-3199-8C0D6CC3D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2680" y="4152528"/>
              <a:ext cx="36434" cy="11881"/>
            </a:xfrm>
            <a:custGeom>
              <a:avLst/>
              <a:gdLst>
                <a:gd name="T0" fmla="*/ 0 w 46"/>
                <a:gd name="T1" fmla="*/ 15 h 15"/>
                <a:gd name="T2" fmla="*/ 46 w 46"/>
                <a:gd name="T3" fmla="*/ 0 h 15"/>
                <a:gd name="T4" fmla="*/ 16 w 46"/>
                <a:gd name="T5" fmla="*/ 15 h 15"/>
                <a:gd name="T6" fmla="*/ 0 w 46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15">
                  <a:moveTo>
                    <a:pt x="0" y="15"/>
                  </a:moveTo>
                  <a:lnTo>
                    <a:pt x="46" y="0"/>
                  </a:lnTo>
                  <a:lnTo>
                    <a:pt x="16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5" name="Freeform 187">
              <a:extLst>
                <a:ext uri="{FF2B5EF4-FFF2-40B4-BE49-F238E27FC236}">
                  <a16:creationId xmlns:a16="http://schemas.microsoft.com/office/drawing/2014/main" id="{083C0239-7FE1-6E25-0945-9F7B0B0FB2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4377" y="3021496"/>
              <a:ext cx="167912" cy="97421"/>
            </a:xfrm>
            <a:custGeom>
              <a:avLst/>
              <a:gdLst>
                <a:gd name="T0" fmla="*/ 8 w 14"/>
                <a:gd name="T1" fmla="*/ 3 h 8"/>
                <a:gd name="T2" fmla="*/ 7 w 14"/>
                <a:gd name="T3" fmla="*/ 2 h 8"/>
                <a:gd name="T4" fmla="*/ 7 w 14"/>
                <a:gd name="T5" fmla="*/ 3 h 8"/>
                <a:gd name="T6" fmla="*/ 8 w 14"/>
                <a:gd name="T7" fmla="*/ 4 h 8"/>
                <a:gd name="T8" fmla="*/ 4 w 14"/>
                <a:gd name="T9" fmla="*/ 7 h 8"/>
                <a:gd name="T10" fmla="*/ 3 w 14"/>
                <a:gd name="T11" fmla="*/ 5 h 8"/>
                <a:gd name="T12" fmla="*/ 3 w 14"/>
                <a:gd name="T13" fmla="*/ 7 h 8"/>
                <a:gd name="T14" fmla="*/ 2 w 14"/>
                <a:gd name="T15" fmla="*/ 8 h 8"/>
                <a:gd name="T16" fmla="*/ 3 w 14"/>
                <a:gd name="T17" fmla="*/ 7 h 8"/>
                <a:gd name="T18" fmla="*/ 1 w 14"/>
                <a:gd name="T19" fmla="*/ 6 h 8"/>
                <a:gd name="T20" fmla="*/ 3 w 14"/>
                <a:gd name="T21" fmla="*/ 5 h 8"/>
                <a:gd name="T22" fmla="*/ 0 w 14"/>
                <a:gd name="T23" fmla="*/ 5 h 8"/>
                <a:gd name="T24" fmla="*/ 3 w 14"/>
                <a:gd name="T25" fmla="*/ 3 h 8"/>
                <a:gd name="T26" fmla="*/ 3 w 14"/>
                <a:gd name="T27" fmla="*/ 5 h 8"/>
                <a:gd name="T28" fmla="*/ 3 w 14"/>
                <a:gd name="T29" fmla="*/ 5 h 8"/>
                <a:gd name="T30" fmla="*/ 7 w 14"/>
                <a:gd name="T31" fmla="*/ 3 h 8"/>
                <a:gd name="T32" fmla="*/ 5 w 14"/>
                <a:gd name="T33" fmla="*/ 2 h 8"/>
                <a:gd name="T34" fmla="*/ 5 w 14"/>
                <a:gd name="T35" fmla="*/ 2 h 8"/>
                <a:gd name="T36" fmla="*/ 14 w 14"/>
                <a:gd name="T37" fmla="*/ 0 h 8"/>
                <a:gd name="T38" fmla="*/ 8 w 14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8">
                  <a:moveTo>
                    <a:pt x="8" y="3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2" y="6"/>
                    <a:pt x="2" y="7"/>
                    <a:pt x="3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7"/>
                    <a:pt x="3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5"/>
                    <a:pt x="3" y="6"/>
                    <a:pt x="3" y="5"/>
                  </a:cubicBezTo>
                  <a:cubicBezTo>
                    <a:pt x="2" y="4"/>
                    <a:pt x="1" y="5"/>
                    <a:pt x="0" y="5"/>
                  </a:cubicBezTo>
                  <a:cubicBezTo>
                    <a:pt x="1" y="4"/>
                    <a:pt x="3" y="2"/>
                    <a:pt x="3" y="3"/>
                  </a:cubicBezTo>
                  <a:cubicBezTo>
                    <a:pt x="3" y="4"/>
                    <a:pt x="2" y="4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3"/>
                    <a:pt x="5" y="3"/>
                    <a:pt x="7" y="3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8" y="1"/>
                    <a:pt x="11" y="2"/>
                    <a:pt x="14" y="0"/>
                  </a:cubicBezTo>
                  <a:cubicBezTo>
                    <a:pt x="12" y="3"/>
                    <a:pt x="9" y="1"/>
                    <a:pt x="8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6" name="Freeform 188">
              <a:extLst>
                <a:ext uri="{FF2B5EF4-FFF2-40B4-BE49-F238E27FC236}">
                  <a16:creationId xmlns:a16="http://schemas.microsoft.com/office/drawing/2014/main" id="{669DE898-44FE-E5E4-7E69-D91E6F549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7554" y="3423060"/>
              <a:ext cx="373050" cy="84748"/>
            </a:xfrm>
            <a:custGeom>
              <a:avLst/>
              <a:gdLst>
                <a:gd name="T0" fmla="*/ 30 w 31"/>
                <a:gd name="T1" fmla="*/ 3 h 7"/>
                <a:gd name="T2" fmla="*/ 29 w 31"/>
                <a:gd name="T3" fmla="*/ 3 h 7"/>
                <a:gd name="T4" fmla="*/ 20 w 31"/>
                <a:gd name="T5" fmla="*/ 4 h 7"/>
                <a:gd name="T6" fmla="*/ 14 w 31"/>
                <a:gd name="T7" fmla="*/ 5 h 7"/>
                <a:gd name="T8" fmla="*/ 11 w 31"/>
                <a:gd name="T9" fmla="*/ 4 h 7"/>
                <a:gd name="T10" fmla="*/ 8 w 31"/>
                <a:gd name="T11" fmla="*/ 6 h 7"/>
                <a:gd name="T12" fmla="*/ 5 w 31"/>
                <a:gd name="T13" fmla="*/ 5 h 7"/>
                <a:gd name="T14" fmla="*/ 6 w 31"/>
                <a:gd name="T15" fmla="*/ 5 h 7"/>
                <a:gd name="T16" fmla="*/ 6 w 31"/>
                <a:gd name="T17" fmla="*/ 4 h 7"/>
                <a:gd name="T18" fmla="*/ 1 w 31"/>
                <a:gd name="T19" fmla="*/ 4 h 7"/>
                <a:gd name="T20" fmla="*/ 0 w 31"/>
                <a:gd name="T21" fmla="*/ 3 h 7"/>
                <a:gd name="T22" fmla="*/ 0 w 31"/>
                <a:gd name="T23" fmla="*/ 2 h 7"/>
                <a:gd name="T24" fmla="*/ 1 w 31"/>
                <a:gd name="T25" fmla="*/ 3 h 7"/>
                <a:gd name="T26" fmla="*/ 13 w 31"/>
                <a:gd name="T27" fmla="*/ 2 h 7"/>
                <a:gd name="T28" fmla="*/ 14 w 31"/>
                <a:gd name="T29" fmla="*/ 3 h 7"/>
                <a:gd name="T30" fmla="*/ 14 w 31"/>
                <a:gd name="T31" fmla="*/ 2 h 7"/>
                <a:gd name="T32" fmla="*/ 21 w 31"/>
                <a:gd name="T33" fmla="*/ 1 h 7"/>
                <a:gd name="T34" fmla="*/ 27 w 31"/>
                <a:gd name="T35" fmla="*/ 1 h 7"/>
                <a:gd name="T36" fmla="*/ 26 w 31"/>
                <a:gd name="T37" fmla="*/ 2 h 7"/>
                <a:gd name="T38" fmla="*/ 27 w 31"/>
                <a:gd name="T39" fmla="*/ 3 h 7"/>
                <a:gd name="T40" fmla="*/ 29 w 31"/>
                <a:gd name="T41" fmla="*/ 2 h 7"/>
                <a:gd name="T42" fmla="*/ 31 w 31"/>
                <a:gd name="T43" fmla="*/ 3 h 7"/>
                <a:gd name="T44" fmla="*/ 30 w 31"/>
                <a:gd name="T4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7">
                  <a:moveTo>
                    <a:pt x="30" y="3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26" y="2"/>
                    <a:pt x="22" y="5"/>
                    <a:pt x="20" y="4"/>
                  </a:cubicBezTo>
                  <a:cubicBezTo>
                    <a:pt x="18" y="4"/>
                    <a:pt x="16" y="6"/>
                    <a:pt x="14" y="5"/>
                  </a:cubicBezTo>
                  <a:cubicBezTo>
                    <a:pt x="14" y="4"/>
                    <a:pt x="12" y="5"/>
                    <a:pt x="11" y="4"/>
                  </a:cubicBezTo>
                  <a:cubicBezTo>
                    <a:pt x="10" y="7"/>
                    <a:pt x="8" y="2"/>
                    <a:pt x="8" y="6"/>
                  </a:cubicBezTo>
                  <a:cubicBezTo>
                    <a:pt x="6" y="7"/>
                    <a:pt x="5" y="5"/>
                    <a:pt x="5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4"/>
                  </a:cubicBezTo>
                  <a:cubicBezTo>
                    <a:pt x="4" y="3"/>
                    <a:pt x="3" y="4"/>
                    <a:pt x="1" y="4"/>
                  </a:cubicBezTo>
                  <a:cubicBezTo>
                    <a:pt x="1" y="5"/>
                    <a:pt x="1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3"/>
                    <a:pt x="13" y="3"/>
                    <a:pt x="14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7" y="1"/>
                    <a:pt x="20" y="4"/>
                    <a:pt x="21" y="1"/>
                  </a:cubicBezTo>
                  <a:cubicBezTo>
                    <a:pt x="23" y="3"/>
                    <a:pt x="26" y="0"/>
                    <a:pt x="27" y="1"/>
                  </a:cubicBezTo>
                  <a:cubicBezTo>
                    <a:pt x="27" y="1"/>
                    <a:pt x="26" y="1"/>
                    <a:pt x="26" y="2"/>
                  </a:cubicBezTo>
                  <a:cubicBezTo>
                    <a:pt x="26" y="2"/>
                    <a:pt x="26" y="3"/>
                    <a:pt x="27" y="3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31" y="3"/>
                    <a:pt x="31" y="3"/>
                  </a:cubicBezTo>
                  <a:cubicBezTo>
                    <a:pt x="31" y="4"/>
                    <a:pt x="30" y="3"/>
                    <a:pt x="30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7" name="Freeform 189">
              <a:extLst>
                <a:ext uri="{FF2B5EF4-FFF2-40B4-BE49-F238E27FC236}">
                  <a16:creationId xmlns:a16="http://schemas.microsoft.com/office/drawing/2014/main" id="{76E535C9-6DC7-3D0C-9B88-126EA07AD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8529" y="3666216"/>
              <a:ext cx="108509" cy="23761"/>
            </a:xfrm>
            <a:custGeom>
              <a:avLst/>
              <a:gdLst>
                <a:gd name="T0" fmla="*/ 6 w 9"/>
                <a:gd name="T1" fmla="*/ 2 h 2"/>
                <a:gd name="T2" fmla="*/ 2 w 9"/>
                <a:gd name="T3" fmla="*/ 1 h 2"/>
                <a:gd name="T4" fmla="*/ 1 w 9"/>
                <a:gd name="T5" fmla="*/ 2 h 2"/>
                <a:gd name="T6" fmla="*/ 9 w 9"/>
                <a:gd name="T7" fmla="*/ 1 h 2"/>
                <a:gd name="T8" fmla="*/ 6 w 9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">
                  <a:moveTo>
                    <a:pt x="6" y="2"/>
                  </a:moveTo>
                  <a:cubicBezTo>
                    <a:pt x="6" y="1"/>
                    <a:pt x="4" y="2"/>
                    <a:pt x="2" y="1"/>
                  </a:cubicBezTo>
                  <a:cubicBezTo>
                    <a:pt x="3" y="2"/>
                    <a:pt x="0" y="2"/>
                    <a:pt x="1" y="2"/>
                  </a:cubicBezTo>
                  <a:cubicBezTo>
                    <a:pt x="3" y="1"/>
                    <a:pt x="7" y="0"/>
                    <a:pt x="9" y="1"/>
                  </a:cubicBezTo>
                  <a:lnTo>
                    <a:pt x="6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8" name="Freeform 190">
              <a:extLst>
                <a:ext uri="{FF2B5EF4-FFF2-40B4-BE49-F238E27FC236}">
                  <a16:creationId xmlns:a16="http://schemas.microsoft.com/office/drawing/2014/main" id="{65AB2273-F845-3724-C5F4-A16A43894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2887" y="2693592"/>
              <a:ext cx="11881" cy="11881"/>
            </a:xfrm>
            <a:custGeom>
              <a:avLst/>
              <a:gdLst>
                <a:gd name="T0" fmla="*/ 0 w 15"/>
                <a:gd name="T1" fmla="*/ 15 h 15"/>
                <a:gd name="T2" fmla="*/ 15 w 15"/>
                <a:gd name="T3" fmla="*/ 0 h 15"/>
                <a:gd name="T4" fmla="*/ 15 w 15"/>
                <a:gd name="T5" fmla="*/ 15 h 15"/>
                <a:gd name="T6" fmla="*/ 0 w 15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15"/>
                  </a:moveTo>
                  <a:lnTo>
                    <a:pt x="15" y="0"/>
                  </a:lnTo>
                  <a:lnTo>
                    <a:pt x="15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9" name="Freeform 191">
              <a:extLst>
                <a:ext uri="{FF2B5EF4-FFF2-40B4-BE49-F238E27FC236}">
                  <a16:creationId xmlns:a16="http://schemas.microsoft.com/office/drawing/2014/main" id="{BD1FEA92-0C6D-15A5-278A-BA62EE932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038" y="3811951"/>
              <a:ext cx="11881" cy="11881"/>
            </a:xfrm>
            <a:custGeom>
              <a:avLst/>
              <a:gdLst>
                <a:gd name="T0" fmla="*/ 0 w 15"/>
                <a:gd name="T1" fmla="*/ 15 h 15"/>
                <a:gd name="T2" fmla="*/ 15 w 15"/>
                <a:gd name="T3" fmla="*/ 0 h 15"/>
                <a:gd name="T4" fmla="*/ 0 w 15"/>
                <a:gd name="T5" fmla="*/ 15 h 15"/>
                <a:gd name="T6" fmla="*/ 0 w 15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15"/>
                  </a:moveTo>
                  <a:lnTo>
                    <a:pt x="15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0" name="Freeform 192">
              <a:extLst>
                <a:ext uri="{FF2B5EF4-FFF2-40B4-BE49-F238E27FC236}">
                  <a16:creationId xmlns:a16="http://schemas.microsoft.com/office/drawing/2014/main" id="{E4C745FE-8E20-10E0-0AAD-C38BE1419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214" y="3264652"/>
              <a:ext cx="84748" cy="49106"/>
            </a:xfrm>
            <a:custGeom>
              <a:avLst/>
              <a:gdLst>
                <a:gd name="T0" fmla="*/ 5 w 7"/>
                <a:gd name="T1" fmla="*/ 2 h 4"/>
                <a:gd name="T2" fmla="*/ 0 w 7"/>
                <a:gd name="T3" fmla="*/ 2 h 4"/>
                <a:gd name="T4" fmla="*/ 2 w 7"/>
                <a:gd name="T5" fmla="*/ 1 h 4"/>
                <a:gd name="T6" fmla="*/ 2 w 7"/>
                <a:gd name="T7" fmla="*/ 1 h 4"/>
                <a:gd name="T8" fmla="*/ 1 w 7"/>
                <a:gd name="T9" fmla="*/ 1 h 4"/>
                <a:gd name="T10" fmla="*/ 7 w 7"/>
                <a:gd name="T11" fmla="*/ 1 h 4"/>
                <a:gd name="T12" fmla="*/ 5 w 7"/>
                <a:gd name="T13" fmla="*/ 1 h 4"/>
                <a:gd name="T14" fmla="*/ 5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5" y="2"/>
                  </a:moveTo>
                  <a:cubicBezTo>
                    <a:pt x="3" y="0"/>
                    <a:pt x="2" y="4"/>
                    <a:pt x="0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5" y="1"/>
                    <a:pt x="5" y="1"/>
                    <a:pt x="5" y="1"/>
                  </a:cubicBezTo>
                  <a:lnTo>
                    <a:pt x="5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1" name="Freeform 193">
              <a:extLst>
                <a:ext uri="{FF2B5EF4-FFF2-40B4-BE49-F238E27FC236}">
                  <a16:creationId xmlns:a16="http://schemas.microsoft.com/office/drawing/2014/main" id="{A4A706D4-6ECC-FA87-01A8-522864951A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0019" y="2948628"/>
              <a:ext cx="108509" cy="24553"/>
            </a:xfrm>
            <a:custGeom>
              <a:avLst/>
              <a:gdLst>
                <a:gd name="T0" fmla="*/ 0 w 137"/>
                <a:gd name="T1" fmla="*/ 31 h 31"/>
                <a:gd name="T2" fmla="*/ 137 w 137"/>
                <a:gd name="T3" fmla="*/ 0 h 31"/>
                <a:gd name="T4" fmla="*/ 137 w 137"/>
                <a:gd name="T5" fmla="*/ 16 h 31"/>
                <a:gd name="T6" fmla="*/ 0 w 137"/>
                <a:gd name="T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7" h="31">
                  <a:moveTo>
                    <a:pt x="0" y="31"/>
                  </a:moveTo>
                  <a:lnTo>
                    <a:pt x="137" y="0"/>
                  </a:lnTo>
                  <a:lnTo>
                    <a:pt x="137" y="16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2" name="Freeform 194">
              <a:extLst>
                <a:ext uri="{FF2B5EF4-FFF2-40B4-BE49-F238E27FC236}">
                  <a16:creationId xmlns:a16="http://schemas.microsoft.com/office/drawing/2014/main" id="{EC5DF806-2F88-EB7E-02B4-4CE8BADABA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8529" y="3082483"/>
              <a:ext cx="11881" cy="1267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3" name="Freeform 195">
              <a:extLst>
                <a:ext uri="{FF2B5EF4-FFF2-40B4-BE49-F238E27FC236}">
                  <a16:creationId xmlns:a16="http://schemas.microsoft.com/office/drawing/2014/main" id="{E82674B9-6AC4-123C-634C-2AC9C5B6C7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0409" y="3398506"/>
              <a:ext cx="36434" cy="12673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0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1"/>
                    <a:pt x="2" y="0"/>
                    <a:pt x="3" y="1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4" name="Rectangle 196">
              <a:extLst>
                <a:ext uri="{FF2B5EF4-FFF2-40B4-BE49-F238E27FC236}">
                  <a16:creationId xmlns:a16="http://schemas.microsoft.com/office/drawing/2014/main" id="{935453CD-0DF0-8029-66C9-6AC991AE0E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50214" y="2863880"/>
              <a:ext cx="24553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5" name="Freeform 197">
              <a:extLst>
                <a:ext uri="{FF2B5EF4-FFF2-40B4-BE49-F238E27FC236}">
                  <a16:creationId xmlns:a16="http://schemas.microsoft.com/office/drawing/2014/main" id="{4F4863F5-31BA-78FC-6631-B1DF44D3B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214" y="3057930"/>
              <a:ext cx="36434" cy="24553"/>
            </a:xfrm>
            <a:custGeom>
              <a:avLst/>
              <a:gdLst>
                <a:gd name="T0" fmla="*/ 2 w 3"/>
                <a:gd name="T1" fmla="*/ 1 h 2"/>
                <a:gd name="T2" fmla="*/ 0 w 3"/>
                <a:gd name="T3" fmla="*/ 1 h 2"/>
                <a:gd name="T4" fmla="*/ 1 w 3"/>
                <a:gd name="T5" fmla="*/ 0 h 2"/>
                <a:gd name="T6" fmla="*/ 3 w 3"/>
                <a:gd name="T7" fmla="*/ 1 h 2"/>
                <a:gd name="T8" fmla="*/ 2 w 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1"/>
                  </a:moveTo>
                  <a:cubicBezTo>
                    <a:pt x="2" y="2"/>
                    <a:pt x="1" y="2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6" name="Freeform 198">
              <a:extLst>
                <a:ext uri="{FF2B5EF4-FFF2-40B4-BE49-F238E27FC236}">
                  <a16:creationId xmlns:a16="http://schemas.microsoft.com/office/drawing/2014/main" id="{A3CA06D7-B23A-CB48-6CDF-634AA295B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8724" y="3811951"/>
              <a:ext cx="23761" cy="11881"/>
            </a:xfrm>
            <a:custGeom>
              <a:avLst/>
              <a:gdLst>
                <a:gd name="T0" fmla="*/ 0 w 30"/>
                <a:gd name="T1" fmla="*/ 15 h 15"/>
                <a:gd name="T2" fmla="*/ 30 w 30"/>
                <a:gd name="T3" fmla="*/ 0 h 15"/>
                <a:gd name="T4" fmla="*/ 15 w 30"/>
                <a:gd name="T5" fmla="*/ 15 h 15"/>
                <a:gd name="T6" fmla="*/ 0 w 30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5">
                  <a:moveTo>
                    <a:pt x="0" y="15"/>
                  </a:moveTo>
                  <a:lnTo>
                    <a:pt x="30" y="0"/>
                  </a:lnTo>
                  <a:lnTo>
                    <a:pt x="15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7" name="Freeform 199">
              <a:extLst>
                <a:ext uri="{FF2B5EF4-FFF2-40B4-BE49-F238E27FC236}">
                  <a16:creationId xmlns:a16="http://schemas.microsoft.com/office/drawing/2014/main" id="{C3701C9B-56F4-DA48-77A6-B5DB85202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918" y="4322024"/>
              <a:ext cx="11881" cy="12673"/>
            </a:xfrm>
            <a:custGeom>
              <a:avLst/>
              <a:gdLst>
                <a:gd name="T0" fmla="*/ 0 w 15"/>
                <a:gd name="T1" fmla="*/ 16 h 16"/>
                <a:gd name="T2" fmla="*/ 15 w 15"/>
                <a:gd name="T3" fmla="*/ 0 h 16"/>
                <a:gd name="T4" fmla="*/ 0 w 15"/>
                <a:gd name="T5" fmla="*/ 16 h 16"/>
                <a:gd name="T6" fmla="*/ 0 w 15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0" y="16"/>
                  </a:moveTo>
                  <a:lnTo>
                    <a:pt x="15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8" name="Rectangle 200">
              <a:extLst>
                <a:ext uri="{FF2B5EF4-FFF2-40B4-BE49-F238E27FC236}">
                  <a16:creationId xmlns:a16="http://schemas.microsoft.com/office/drawing/2014/main" id="{95C39DB0-BC49-E963-4D42-6C38D1AEE5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4767" y="3252771"/>
              <a:ext cx="2376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9" name="Freeform 201">
              <a:extLst>
                <a:ext uri="{FF2B5EF4-FFF2-40B4-BE49-F238E27FC236}">
                  <a16:creationId xmlns:a16="http://schemas.microsoft.com/office/drawing/2014/main" id="{8603C5CE-5CB2-4DC1-0E12-07C2727298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7944" y="2693592"/>
              <a:ext cx="96629" cy="11881"/>
            </a:xfrm>
            <a:custGeom>
              <a:avLst/>
              <a:gdLst>
                <a:gd name="T0" fmla="*/ 122 w 122"/>
                <a:gd name="T1" fmla="*/ 0 h 15"/>
                <a:gd name="T2" fmla="*/ 0 w 122"/>
                <a:gd name="T3" fmla="*/ 15 h 15"/>
                <a:gd name="T4" fmla="*/ 122 w 12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2" h="15">
                  <a:moveTo>
                    <a:pt x="122" y="0"/>
                  </a:moveTo>
                  <a:lnTo>
                    <a:pt x="0" y="15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20" name="Freeform 202">
              <a:extLst>
                <a:ext uri="{FF2B5EF4-FFF2-40B4-BE49-F238E27FC236}">
                  <a16:creationId xmlns:a16="http://schemas.microsoft.com/office/drawing/2014/main" id="{2E14269E-5870-79AA-45B3-E2DA1FD63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767" y="3447613"/>
              <a:ext cx="35642" cy="11881"/>
            </a:xfrm>
            <a:custGeom>
              <a:avLst/>
              <a:gdLst>
                <a:gd name="T0" fmla="*/ 0 w 45"/>
                <a:gd name="T1" fmla="*/ 15 h 15"/>
                <a:gd name="T2" fmla="*/ 45 w 45"/>
                <a:gd name="T3" fmla="*/ 0 h 15"/>
                <a:gd name="T4" fmla="*/ 30 w 45"/>
                <a:gd name="T5" fmla="*/ 15 h 15"/>
                <a:gd name="T6" fmla="*/ 0 w 45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15">
                  <a:moveTo>
                    <a:pt x="0" y="15"/>
                  </a:moveTo>
                  <a:lnTo>
                    <a:pt x="45" y="0"/>
                  </a:lnTo>
                  <a:lnTo>
                    <a:pt x="3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21" name="Rectangle 203">
              <a:extLst>
                <a:ext uri="{FF2B5EF4-FFF2-40B4-BE49-F238E27FC236}">
                  <a16:creationId xmlns:a16="http://schemas.microsoft.com/office/drawing/2014/main" id="{EBF68C98-337A-24A6-3753-75E6B8E209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4962" y="3823832"/>
              <a:ext cx="1188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22" name="Freeform 204">
              <a:extLst>
                <a:ext uri="{FF2B5EF4-FFF2-40B4-BE49-F238E27FC236}">
                  <a16:creationId xmlns:a16="http://schemas.microsoft.com/office/drawing/2014/main" id="{2B2C40FC-A338-E6E2-E1AE-90B7099AF00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0409" y="3836504"/>
              <a:ext cx="36434" cy="11881"/>
            </a:xfrm>
            <a:custGeom>
              <a:avLst/>
              <a:gdLst>
                <a:gd name="T0" fmla="*/ 0 w 46"/>
                <a:gd name="T1" fmla="*/ 0 h 15"/>
                <a:gd name="T2" fmla="*/ 46 w 46"/>
                <a:gd name="T3" fmla="*/ 15 h 15"/>
                <a:gd name="T4" fmla="*/ 15 w 46"/>
                <a:gd name="T5" fmla="*/ 15 h 15"/>
                <a:gd name="T6" fmla="*/ 0 w 46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15">
                  <a:moveTo>
                    <a:pt x="0" y="0"/>
                  </a:moveTo>
                  <a:lnTo>
                    <a:pt x="46" y="15"/>
                  </a:lnTo>
                  <a:lnTo>
                    <a:pt x="15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pic>
        <p:nvPicPr>
          <p:cNvPr id="5" name="图片 4">
            <a:extLst>
              <a:ext uri="{FF2B5EF4-FFF2-40B4-BE49-F238E27FC236}">
                <a16:creationId xmlns:a16="http://schemas.microsoft.com/office/drawing/2014/main" id="{87553C25-BEE8-2BEC-17A1-79B5DFE551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5089" b="98935" l="0" r="99000">
                        <a14:foregroundMark x1="23167" y1="27929" x2="23167" y2="27692"/>
                        <a14:foregroundMark x1="19500" y1="25089" x2="21500" y2="18107"/>
                        <a14:foregroundMark x1="21500" y1="18107" x2="31333" y2="10059"/>
                        <a14:foregroundMark x1="31333" y1="10059" x2="42500" y2="5325"/>
                        <a14:foregroundMark x1="67133" y1="9983" x2="71566" y2="11937"/>
                        <a14:foregroundMark x1="78007" y1="21260" x2="78167" y2="21893"/>
                        <a14:foregroundMark x1="78167" y1="21893" x2="76291" y2="27221"/>
                        <a14:foregroundMark x1="73500" y1="38580" x2="73832" y2="41253"/>
                        <a14:foregroundMark x1="59333" y1="34320" x2="56667" y2="34556"/>
                        <a14:foregroundMark x1="36000" y1="36095" x2="32500" y2="35503"/>
                        <a14:foregroundMark x1="25000" y1="39172" x2="24556" y2="40813"/>
                        <a14:foregroundMark x1="23833" y1="38935" x2="23735" y2="39443"/>
                        <a14:foregroundMark x1="25167" y1="39172" x2="25167" y2="41834"/>
                        <a14:foregroundMark x1="73636" y1="38285" x2="74377" y2="40455"/>
                        <a14:foregroundMark x1="24000" y1="38225" x2="20833" y2="37633"/>
                        <a14:foregroundMark x1="39333" y1="67219" x2="44500" y2="77988"/>
                        <a14:foregroundMark x1="44500" y1="77988" x2="57833" y2="82722"/>
                        <a14:foregroundMark x1="57833" y1="82722" x2="81333" y2="79408"/>
                        <a14:foregroundMark x1="81333" y1="79408" x2="35500" y2="84024"/>
                        <a14:foregroundMark x1="35500" y1="84024" x2="66000" y2="84024"/>
                        <a14:foregroundMark x1="66000" y1="84024" x2="37500" y2="84852"/>
                        <a14:foregroundMark x1="37500" y1="84852" x2="63667" y2="78462"/>
                        <a14:foregroundMark x1="63667" y1="78462" x2="46500" y2="70888"/>
                        <a14:foregroundMark x1="46500" y1="70888" x2="54833" y2="72781"/>
                        <a14:foregroundMark x1="83500" y1="76331" x2="74333" y2="85089"/>
                        <a14:foregroundMark x1="77667" y1="89231" x2="43833" y2="92426"/>
                        <a14:foregroundMark x1="43833" y1="92426" x2="59667" y2="86627"/>
                        <a14:foregroundMark x1="68500" y1="96923" x2="18167" y2="97278"/>
                        <a14:foregroundMark x1="18167" y1="97278" x2="62833" y2="93964"/>
                        <a14:foregroundMark x1="62833" y1="93964" x2="22333" y2="95266"/>
                        <a14:foregroundMark x1="35833" y1="99053" x2="1500" y2="98107"/>
                        <a14:foregroundMark x1="19167" y1="74793" x2="9000" y2="78343"/>
                        <a14:foregroundMark x1="9000" y1="78343" x2="2000" y2="93018"/>
                        <a14:foregroundMark x1="82000" y1="64142" x2="97833" y2="69586"/>
                        <a14:foregroundMark x1="20404" y1="40714" x2="21667" y2="44852"/>
                        <a14:foregroundMark x1="21667" y1="44852" x2="26167" y2="48521"/>
                        <a14:foregroundMark x1="21959" y1="40629" x2="23333" y2="45089"/>
                        <a14:foregroundMark x1="21000" y1="37515" x2="21837" y2="40233"/>
                        <a14:foregroundMark x1="23333" y1="45089" x2="27667" y2="49586"/>
                        <a14:foregroundMark x1="74167" y1="35976" x2="75688" y2="38244"/>
                        <a14:foregroundMark x1="75333" y1="35385" x2="76167" y2="36590"/>
                        <a14:foregroundMark x1="76500" y1="34793" x2="76676" y2="34835"/>
                        <a14:foregroundMark x1="41833" y1="5089" x2="41500" y2="5680"/>
                        <a14:foregroundMark x1="42833" y1="5917" x2="56500" y2="6864"/>
                        <a14:foregroundMark x1="56500" y1="6864" x2="68667" y2="10888"/>
                        <a14:foregroundMark x1="67167" y1="9941" x2="58667" y2="6509"/>
                        <a14:foregroundMark x1="59833" y1="6864" x2="67667" y2="9467"/>
                        <a14:foregroundMark x1="74667" y1="34793" x2="75972" y2="37264"/>
                        <a14:foregroundMark x1="74833" y1="35503" x2="76000" y2="35030"/>
                        <a14:foregroundMark x1="74833" y1="35503" x2="76427" y2="35695"/>
                        <a14:foregroundMark x1="74833" y1="34911" x2="77012" y2="36326"/>
                        <a14:foregroundMark x1="74333" y1="35030" x2="77071" y2="36174"/>
                        <a14:foregroundMark x1="76167" y1="34675" x2="77232" y2="34956"/>
                        <a14:foregroundMark x1="74667" y1="34793" x2="77234" y2="34954"/>
                        <a14:foregroundMark x1="77167" y1="34556" x2="77306" y2="34874"/>
                        <a14:foregroundMark x1="75000" y1="34438" x2="77327" y2="34851"/>
                        <a14:foregroundMark x1="79473" y1="34501" x2="79661" y2="34571"/>
                        <a14:foregroundMark x1="75333" y1="34438" x2="77615" y2="35796"/>
                        <a14:foregroundMark x1="79987" y1="33928" x2="80333" y2="33846"/>
                        <a14:foregroundMark x1="74833" y1="35148" x2="77661" y2="34479"/>
                        <a14:foregroundMark x1="75833" y1="34556" x2="77574" y2="36815"/>
                        <a14:foregroundMark x1="77667" y1="34083" x2="79001" y2="35828"/>
                        <a14:foregroundMark x1="80333" y1="34201" x2="80407" y2="34398"/>
                        <a14:foregroundMark x1="74667" y1="35148" x2="77592" y2="36769"/>
                        <a14:foregroundMark x1="75500" y1="34556" x2="77411" y2="37221"/>
                        <a14:foregroundMark x1="80167" y1="35030" x2="80167" y2="36151"/>
                        <a14:foregroundMark x1="80000" y1="35030" x2="80451" y2="36190"/>
                        <a14:foregroundMark x1="79167" y1="34201" x2="81791" y2="36375"/>
                        <a14:foregroundMark x1="79333" y1="33491" x2="81500" y2="34675"/>
                        <a14:foregroundMark x1="81210" y1="33976" x2="81333" y2="33964"/>
                        <a14:foregroundMark x1="75500" y1="34556" x2="81180" y2="33980"/>
                        <a14:foregroundMark x1="74667" y1="34911" x2="79333" y2="33254"/>
                        <a14:foregroundMark x1="78833" y1="34320" x2="79602" y2="36073"/>
                        <a14:foregroundMark x1="81333" y1="34911" x2="79786" y2="38426"/>
                        <a14:foregroundMark x1="80667" y1="34438" x2="79733" y2="38416"/>
                        <a14:foregroundMark x1="81667" y1="36923" x2="80625" y2="38574"/>
                        <a14:foregroundMark x1="81333" y1="38107" x2="81068" y2="38652"/>
                        <a14:foregroundMark x1="78833" y1="34201" x2="79419" y2="38361"/>
                        <a14:foregroundMark x1="73251" y1="50275" x2="73000" y2="50414"/>
                        <a14:foregroundMark x1="81000" y1="33846" x2="80000" y2="40947"/>
                        <a14:foregroundMark x1="80000" y1="40947" x2="73500" y2="48757"/>
                        <a14:backgroundMark x1="25691" y1="50427" x2="36167" y2="67929"/>
                        <a14:backgroundMark x1="36167" y1="67929" x2="26333" y2="72899"/>
                        <a14:backgroundMark x1="26333" y1="72899" x2="18634" y2="74371"/>
                        <a14:backgroundMark x1="440" y1="92656" x2="167" y2="93254"/>
                        <a14:backgroundMark x1="77167" y1="27337" x2="75523" y2="33491"/>
                        <a14:backgroundMark x1="73551" y1="52198" x2="73167" y2="52781"/>
                        <a14:backgroundMark x1="73167" y1="52781" x2="78167" y2="59053"/>
                        <a14:backgroundMark x1="78167" y1="59053" x2="84071" y2="62495"/>
                        <a14:backgroundMark x1="99242" y1="68466" x2="99833" y2="68639"/>
                        <a14:backgroundMark x1="74500" y1="34083" x2="74989" y2="34546"/>
                        <a14:backgroundMark x1="72333" y1="11598" x2="77000" y2="16213"/>
                        <a14:backgroundMark x1="75167" y1="13846" x2="79167" y2="20947"/>
                        <a14:backgroundMark x1="79167" y1="20947" x2="78167" y2="21420"/>
                        <a14:backgroundMark x1="57491" y1="5828" x2="57690" y2="5905"/>
                        <a14:backgroundMark x1="73126" y1="50383" x2="73333" y2="51361"/>
                        <a14:backgroundMark x1="19833" y1="37515" x2="19167" y2="37633"/>
                        <a14:backgroundMark x1="19833" y1="38107" x2="17667" y2="38225"/>
                        <a14:backgroundMark x1="86500" y1="39408" x2="85333" y2="38935"/>
                        <a14:backgroundMark x1="81208" y1="41032" x2="81091" y2="41360"/>
                        <a14:backgroundMark x1="75021" y1="49334" x2="73500" y2="5041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287" r="-55" b="4631"/>
          <a:stretch/>
        </p:blipFill>
        <p:spPr>
          <a:xfrm>
            <a:off x="7068483" y="0"/>
            <a:ext cx="5123517" cy="6858000"/>
          </a:xfrm>
          <a:prstGeom prst="rect">
            <a:avLst/>
          </a:prstGeom>
        </p:spPr>
      </p:pic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5E5F54DE-B0E9-5095-01F4-B995EE0774A0}"/>
              </a:ext>
            </a:extLst>
          </p:cNvPr>
          <p:cNvSpPr>
            <a:spLocks/>
          </p:cNvSpPr>
          <p:nvPr/>
        </p:nvSpPr>
        <p:spPr bwMode="auto">
          <a:xfrm>
            <a:off x="3102603" y="2222465"/>
            <a:ext cx="3387829" cy="1069960"/>
          </a:xfrm>
          <a:custGeom>
            <a:avLst/>
            <a:gdLst>
              <a:gd name="connsiteX0" fmla="*/ 883995 w 5227821"/>
              <a:gd name="connsiteY0" fmla="*/ 1158893 h 1257266"/>
              <a:gd name="connsiteX1" fmla="*/ 891058 w 5227821"/>
              <a:gd name="connsiteY1" fmla="*/ 1159121 h 1257266"/>
              <a:gd name="connsiteX2" fmla="*/ 883539 w 5227821"/>
              <a:gd name="connsiteY2" fmla="*/ 1159121 h 1257266"/>
              <a:gd name="connsiteX3" fmla="*/ 4615788 w 5227821"/>
              <a:gd name="connsiteY3" fmla="*/ 826594 h 1257266"/>
              <a:gd name="connsiteX4" fmla="*/ 4616959 w 5227821"/>
              <a:gd name="connsiteY4" fmla="*/ 827767 h 1257266"/>
              <a:gd name="connsiteX5" fmla="*/ 4617450 w 5227821"/>
              <a:gd name="connsiteY5" fmla="*/ 827029 h 1257266"/>
              <a:gd name="connsiteX6" fmla="*/ 4610559 w 5227821"/>
              <a:gd name="connsiteY6" fmla="*/ 825984 h 1257266"/>
              <a:gd name="connsiteX7" fmla="*/ 4591373 w 5227821"/>
              <a:gd name="connsiteY7" fmla="*/ 828386 h 1257266"/>
              <a:gd name="connsiteX8" fmla="*/ 4584680 w 5227821"/>
              <a:gd name="connsiteY8" fmla="*/ 830752 h 1257266"/>
              <a:gd name="connsiteX9" fmla="*/ 4583122 w 5227821"/>
              <a:gd name="connsiteY9" fmla="*/ 831532 h 1257266"/>
              <a:gd name="connsiteX10" fmla="*/ 4598161 w 5227821"/>
              <a:gd name="connsiteY10" fmla="*/ 835298 h 1257266"/>
              <a:gd name="connsiteX11" fmla="*/ 4600041 w 5227821"/>
              <a:gd name="connsiteY11" fmla="*/ 833886 h 1257266"/>
              <a:gd name="connsiteX12" fmla="*/ 4763331 w 5227821"/>
              <a:gd name="connsiteY12" fmla="*/ 809097 h 1257266"/>
              <a:gd name="connsiteX13" fmla="*/ 4764025 w 5227821"/>
              <a:gd name="connsiteY13" fmla="*/ 815097 h 1257266"/>
              <a:gd name="connsiteX14" fmla="*/ 4768080 w 5227821"/>
              <a:gd name="connsiteY14" fmla="*/ 809559 h 1257266"/>
              <a:gd name="connsiteX15" fmla="*/ 4653526 w 5227821"/>
              <a:gd name="connsiteY15" fmla="*/ 808089 h 1257266"/>
              <a:gd name="connsiteX16" fmla="*/ 4644009 w 5227821"/>
              <a:gd name="connsiteY16" fmla="*/ 820856 h 1257266"/>
              <a:gd name="connsiteX17" fmla="*/ 4659047 w 5227821"/>
              <a:gd name="connsiteY17" fmla="*/ 828386 h 1257266"/>
              <a:gd name="connsiteX18" fmla="*/ 4642634 w 5227821"/>
              <a:gd name="connsiteY18" fmla="*/ 833009 h 1257266"/>
              <a:gd name="connsiteX19" fmla="*/ 4658317 w 5227821"/>
              <a:gd name="connsiteY19" fmla="*/ 846594 h 1257266"/>
              <a:gd name="connsiteX20" fmla="*/ 4684635 w 5227821"/>
              <a:gd name="connsiteY20" fmla="*/ 816471 h 1257266"/>
              <a:gd name="connsiteX21" fmla="*/ 4683861 w 5227821"/>
              <a:gd name="connsiteY21" fmla="*/ 813370 h 1257266"/>
              <a:gd name="connsiteX22" fmla="*/ 4669387 w 5227821"/>
              <a:gd name="connsiteY22" fmla="*/ 809089 h 1257266"/>
              <a:gd name="connsiteX23" fmla="*/ 4653526 w 5227821"/>
              <a:gd name="connsiteY23" fmla="*/ 808089 h 1257266"/>
              <a:gd name="connsiteX24" fmla="*/ 4720496 w 5227821"/>
              <a:gd name="connsiteY24" fmla="*/ 800558 h 1257266"/>
              <a:gd name="connsiteX25" fmla="*/ 4704165 w 5227821"/>
              <a:gd name="connsiteY25" fmla="*/ 809559 h 1257266"/>
              <a:gd name="connsiteX26" fmla="*/ 4711684 w 5227821"/>
              <a:gd name="connsiteY26" fmla="*/ 817090 h 1257266"/>
              <a:gd name="connsiteX27" fmla="*/ 4703433 w 5227821"/>
              <a:gd name="connsiteY27" fmla="*/ 816325 h 1257266"/>
              <a:gd name="connsiteX28" fmla="*/ 4703433 w 5227821"/>
              <a:gd name="connsiteY28" fmla="*/ 824001 h 1257266"/>
              <a:gd name="connsiteX29" fmla="*/ 4718473 w 5227821"/>
              <a:gd name="connsiteY29" fmla="*/ 820236 h 1257266"/>
              <a:gd name="connsiteX30" fmla="*/ 4733511 w 5227821"/>
              <a:gd name="connsiteY30" fmla="*/ 846594 h 1257266"/>
              <a:gd name="connsiteX31" fmla="*/ 4710953 w 5227821"/>
              <a:gd name="connsiteY31" fmla="*/ 850359 h 1257266"/>
              <a:gd name="connsiteX32" fmla="*/ 4692155 w 5227821"/>
              <a:gd name="connsiteY32" fmla="*/ 842828 h 1257266"/>
              <a:gd name="connsiteX33" fmla="*/ 4658317 w 5227821"/>
              <a:gd name="connsiteY33" fmla="*/ 854125 h 1257266"/>
              <a:gd name="connsiteX34" fmla="*/ 4677115 w 5227821"/>
              <a:gd name="connsiteY34" fmla="*/ 854125 h 1257266"/>
              <a:gd name="connsiteX35" fmla="*/ 4673355 w 5227821"/>
              <a:gd name="connsiteY35" fmla="*/ 857890 h 1257266"/>
              <a:gd name="connsiteX36" fmla="*/ 4741031 w 5227821"/>
              <a:gd name="connsiteY36" fmla="*/ 857890 h 1257266"/>
              <a:gd name="connsiteX37" fmla="*/ 4748551 w 5227821"/>
              <a:gd name="connsiteY37" fmla="*/ 861655 h 1257266"/>
              <a:gd name="connsiteX38" fmla="*/ 4752310 w 5227821"/>
              <a:gd name="connsiteY38" fmla="*/ 857890 h 1257266"/>
              <a:gd name="connsiteX39" fmla="*/ 4763589 w 5227821"/>
              <a:gd name="connsiteY39" fmla="*/ 854125 h 1257266"/>
              <a:gd name="connsiteX40" fmla="*/ 4752310 w 5227821"/>
              <a:gd name="connsiteY40" fmla="*/ 854125 h 1257266"/>
              <a:gd name="connsiteX41" fmla="*/ 4756070 w 5227821"/>
              <a:gd name="connsiteY41" fmla="*/ 835298 h 1257266"/>
              <a:gd name="connsiteX42" fmla="*/ 4744321 w 5227821"/>
              <a:gd name="connsiteY42" fmla="*/ 817412 h 1257266"/>
              <a:gd name="connsiteX43" fmla="*/ 4747974 w 5227821"/>
              <a:gd name="connsiteY43" fmla="*/ 806649 h 1257266"/>
              <a:gd name="connsiteX44" fmla="*/ 4736122 w 5227821"/>
              <a:gd name="connsiteY44" fmla="*/ 802499 h 1257266"/>
              <a:gd name="connsiteX45" fmla="*/ 4720496 w 5227821"/>
              <a:gd name="connsiteY45" fmla="*/ 800558 h 1257266"/>
              <a:gd name="connsiteX46" fmla="*/ 1676438 w 5227821"/>
              <a:gd name="connsiteY46" fmla="*/ 90716 h 1257266"/>
              <a:gd name="connsiteX47" fmla="*/ 1850993 w 5227821"/>
              <a:gd name="connsiteY47" fmla="*/ 94135 h 1257266"/>
              <a:gd name="connsiteX48" fmla="*/ 2046029 w 5227821"/>
              <a:gd name="connsiteY48" fmla="*/ 97900 h 1257266"/>
              <a:gd name="connsiteX49" fmla="*/ 2057308 w 5227821"/>
              <a:gd name="connsiteY49" fmla="*/ 101666 h 1257266"/>
              <a:gd name="connsiteX50" fmla="*/ 1850523 w 5227821"/>
              <a:gd name="connsiteY50" fmla="*/ 97900 h 1257266"/>
              <a:gd name="connsiteX51" fmla="*/ 1692614 w 5227821"/>
              <a:gd name="connsiteY51" fmla="*/ 94135 h 1257266"/>
              <a:gd name="connsiteX52" fmla="*/ 1675636 w 5227821"/>
              <a:gd name="connsiteY52" fmla="*/ 90546 h 1257266"/>
              <a:gd name="connsiteX53" fmla="*/ 1676438 w 5227821"/>
              <a:gd name="connsiteY53" fmla="*/ 90716 h 1257266"/>
              <a:gd name="connsiteX54" fmla="*/ 1674865 w 5227821"/>
              <a:gd name="connsiteY54" fmla="*/ 90685 h 1257266"/>
              <a:gd name="connsiteX55" fmla="*/ 2005634 w 5227821"/>
              <a:gd name="connsiteY55" fmla="*/ 36919 h 1257266"/>
              <a:gd name="connsiteX56" fmla="*/ 2008432 w 5227821"/>
              <a:gd name="connsiteY56" fmla="*/ 37654 h 1257266"/>
              <a:gd name="connsiteX57" fmla="*/ 2000912 w 5227821"/>
              <a:gd name="connsiteY57" fmla="*/ 37654 h 1257266"/>
              <a:gd name="connsiteX58" fmla="*/ 1594861 w 5227821"/>
              <a:gd name="connsiteY58" fmla="*/ 0 h 1257266"/>
              <a:gd name="connsiteX59" fmla="*/ 1655016 w 5227821"/>
              <a:gd name="connsiteY59" fmla="*/ 11296 h 1257266"/>
              <a:gd name="connsiteX60" fmla="*/ 1651257 w 5227821"/>
              <a:gd name="connsiteY60" fmla="*/ 18827 h 1257266"/>
              <a:gd name="connsiteX61" fmla="*/ 1767809 w 5227821"/>
              <a:gd name="connsiteY61" fmla="*/ 22593 h 1257266"/>
              <a:gd name="connsiteX62" fmla="*/ 2230256 w 5227821"/>
              <a:gd name="connsiteY62" fmla="*/ 26358 h 1257266"/>
              <a:gd name="connsiteX63" fmla="*/ 2275373 w 5227821"/>
              <a:gd name="connsiteY63" fmla="*/ 30123 h 1257266"/>
              <a:gd name="connsiteX64" fmla="*/ 2046029 w 5227821"/>
              <a:gd name="connsiteY64" fmla="*/ 33889 h 1257266"/>
              <a:gd name="connsiteX65" fmla="*/ 2022061 w 5227821"/>
              <a:gd name="connsiteY65" fmla="*/ 34359 h 1257266"/>
              <a:gd name="connsiteX66" fmla="*/ 2005634 w 5227821"/>
              <a:gd name="connsiteY66" fmla="*/ 36919 h 1257266"/>
              <a:gd name="connsiteX67" fmla="*/ 1983817 w 5227821"/>
              <a:gd name="connsiteY67" fmla="*/ 31183 h 1257266"/>
              <a:gd name="connsiteX68" fmla="*/ 1888120 w 5227821"/>
              <a:gd name="connsiteY68" fmla="*/ 30123 h 1257266"/>
              <a:gd name="connsiteX69" fmla="*/ 1662536 w 5227821"/>
              <a:gd name="connsiteY69" fmla="*/ 26358 h 1257266"/>
              <a:gd name="connsiteX70" fmla="*/ 1655016 w 5227821"/>
              <a:gd name="connsiteY70" fmla="*/ 37654 h 1257266"/>
              <a:gd name="connsiteX71" fmla="*/ 1609900 w 5227821"/>
              <a:gd name="connsiteY71" fmla="*/ 30123 h 1257266"/>
              <a:gd name="connsiteX72" fmla="*/ 1553503 w 5227821"/>
              <a:gd name="connsiteY72" fmla="*/ 52716 h 1257266"/>
              <a:gd name="connsiteX73" fmla="*/ 1587341 w 5227821"/>
              <a:gd name="connsiteY73" fmla="*/ 56481 h 1257266"/>
              <a:gd name="connsiteX74" fmla="*/ 1542224 w 5227821"/>
              <a:gd name="connsiteY74" fmla="*/ 56481 h 1257266"/>
              <a:gd name="connsiteX75" fmla="*/ 1527185 w 5227821"/>
              <a:gd name="connsiteY75" fmla="*/ 71543 h 1257266"/>
              <a:gd name="connsiteX76" fmla="*/ 1478309 w 5227821"/>
              <a:gd name="connsiteY76" fmla="*/ 79073 h 1257266"/>
              <a:gd name="connsiteX77" fmla="*/ 1658776 w 5227821"/>
              <a:gd name="connsiteY77" fmla="*/ 90370 h 1257266"/>
              <a:gd name="connsiteX78" fmla="*/ 1674865 w 5227821"/>
              <a:gd name="connsiteY78" fmla="*/ 90685 h 1257266"/>
              <a:gd name="connsiteX79" fmla="*/ 1658306 w 5227821"/>
              <a:gd name="connsiteY79" fmla="*/ 93664 h 1257266"/>
              <a:gd name="connsiteX80" fmla="*/ 1621179 w 5227821"/>
              <a:gd name="connsiteY80" fmla="*/ 101666 h 1257266"/>
              <a:gd name="connsiteX81" fmla="*/ 1579822 w 5227821"/>
              <a:gd name="connsiteY81" fmla="*/ 128024 h 1257266"/>
              <a:gd name="connsiteX82" fmla="*/ 1576062 w 5227821"/>
              <a:gd name="connsiteY82" fmla="*/ 120493 h 1257266"/>
              <a:gd name="connsiteX83" fmla="*/ 1598620 w 5227821"/>
              <a:gd name="connsiteY83" fmla="*/ 112962 h 1257266"/>
              <a:gd name="connsiteX84" fmla="*/ 1587341 w 5227821"/>
              <a:gd name="connsiteY84" fmla="*/ 109197 h 1257266"/>
              <a:gd name="connsiteX85" fmla="*/ 1564783 w 5227821"/>
              <a:gd name="connsiteY85" fmla="*/ 109197 h 1257266"/>
              <a:gd name="connsiteX86" fmla="*/ 1553503 w 5227821"/>
              <a:gd name="connsiteY86" fmla="*/ 105431 h 1257266"/>
              <a:gd name="connsiteX87" fmla="*/ 1621179 w 5227821"/>
              <a:gd name="connsiteY87" fmla="*/ 94135 h 1257266"/>
              <a:gd name="connsiteX88" fmla="*/ 1448231 w 5227821"/>
              <a:gd name="connsiteY88" fmla="*/ 86604 h 1257266"/>
              <a:gd name="connsiteX89" fmla="*/ 1410633 w 5227821"/>
              <a:gd name="connsiteY89" fmla="*/ 97900 h 1257266"/>
              <a:gd name="connsiteX90" fmla="*/ 1444471 w 5227821"/>
              <a:gd name="connsiteY90" fmla="*/ 101666 h 1257266"/>
              <a:gd name="connsiteX91" fmla="*/ 1380555 w 5227821"/>
              <a:gd name="connsiteY91" fmla="*/ 131789 h 1257266"/>
              <a:gd name="connsiteX92" fmla="*/ 1380555 w 5227821"/>
              <a:gd name="connsiteY92" fmla="*/ 112962 h 1257266"/>
              <a:gd name="connsiteX93" fmla="*/ 1369276 w 5227821"/>
              <a:gd name="connsiteY93" fmla="*/ 131789 h 1257266"/>
              <a:gd name="connsiteX94" fmla="*/ 1357997 w 5227821"/>
              <a:gd name="connsiteY94" fmla="*/ 131789 h 1257266"/>
              <a:gd name="connsiteX95" fmla="*/ 1354237 w 5227821"/>
              <a:gd name="connsiteY95" fmla="*/ 146851 h 1257266"/>
              <a:gd name="connsiteX96" fmla="*/ 1350478 w 5227821"/>
              <a:gd name="connsiteY96" fmla="*/ 139320 h 1257266"/>
              <a:gd name="connsiteX97" fmla="*/ 1327919 w 5227821"/>
              <a:gd name="connsiteY97" fmla="*/ 161912 h 1257266"/>
              <a:gd name="connsiteX98" fmla="*/ 1436952 w 5227821"/>
              <a:gd name="connsiteY98" fmla="*/ 173208 h 1257266"/>
              <a:gd name="connsiteX99" fmla="*/ 1459510 w 5227821"/>
              <a:gd name="connsiteY99" fmla="*/ 192035 h 1257266"/>
              <a:gd name="connsiteX100" fmla="*/ 1421913 w 5227821"/>
              <a:gd name="connsiteY100" fmla="*/ 207097 h 1257266"/>
              <a:gd name="connsiteX101" fmla="*/ 1451990 w 5227821"/>
              <a:gd name="connsiteY101" fmla="*/ 207097 h 1257266"/>
              <a:gd name="connsiteX102" fmla="*/ 1451990 w 5227821"/>
              <a:gd name="connsiteY102" fmla="*/ 210862 h 1257266"/>
              <a:gd name="connsiteX103" fmla="*/ 1512146 w 5227821"/>
              <a:gd name="connsiteY103" fmla="*/ 210862 h 1257266"/>
              <a:gd name="connsiteX104" fmla="*/ 1512146 w 5227821"/>
              <a:gd name="connsiteY104" fmla="*/ 214628 h 1257266"/>
              <a:gd name="connsiteX105" fmla="*/ 1534705 w 5227821"/>
              <a:gd name="connsiteY105" fmla="*/ 214628 h 1257266"/>
              <a:gd name="connsiteX106" fmla="*/ 1538464 w 5227821"/>
              <a:gd name="connsiteY106" fmla="*/ 210862 h 1257266"/>
              <a:gd name="connsiteX107" fmla="*/ 1538464 w 5227821"/>
              <a:gd name="connsiteY107" fmla="*/ 218393 h 1257266"/>
              <a:gd name="connsiteX108" fmla="*/ 1515906 w 5227821"/>
              <a:gd name="connsiteY108" fmla="*/ 225924 h 1257266"/>
              <a:gd name="connsiteX109" fmla="*/ 1549744 w 5227821"/>
              <a:gd name="connsiteY109" fmla="*/ 229689 h 1257266"/>
              <a:gd name="connsiteX110" fmla="*/ 1542224 w 5227821"/>
              <a:gd name="connsiteY110" fmla="*/ 237220 h 1257266"/>
              <a:gd name="connsiteX111" fmla="*/ 1722692 w 5227821"/>
              <a:gd name="connsiteY111" fmla="*/ 225924 h 1257266"/>
              <a:gd name="connsiteX112" fmla="*/ 1764049 w 5227821"/>
              <a:gd name="connsiteY112" fmla="*/ 218393 h 1257266"/>
              <a:gd name="connsiteX113" fmla="*/ 1801646 w 5227821"/>
              <a:gd name="connsiteY113" fmla="*/ 218393 h 1257266"/>
              <a:gd name="connsiteX114" fmla="*/ 1809166 w 5227821"/>
              <a:gd name="connsiteY114" fmla="*/ 214628 h 1257266"/>
              <a:gd name="connsiteX115" fmla="*/ 1940757 w 5227821"/>
              <a:gd name="connsiteY115" fmla="*/ 214628 h 1257266"/>
              <a:gd name="connsiteX116" fmla="*/ 2083627 w 5227821"/>
              <a:gd name="connsiteY116" fmla="*/ 203331 h 1257266"/>
              <a:gd name="connsiteX117" fmla="*/ 2124984 w 5227821"/>
              <a:gd name="connsiteY117" fmla="*/ 203331 h 1257266"/>
              <a:gd name="connsiteX118" fmla="*/ 2128744 w 5227821"/>
              <a:gd name="connsiteY118" fmla="*/ 199566 h 1257266"/>
              <a:gd name="connsiteX119" fmla="*/ 2117464 w 5227821"/>
              <a:gd name="connsiteY119" fmla="*/ 195801 h 1257266"/>
              <a:gd name="connsiteX120" fmla="*/ 2128744 w 5227821"/>
              <a:gd name="connsiteY120" fmla="*/ 192035 h 1257266"/>
              <a:gd name="connsiteX121" fmla="*/ 2121224 w 5227821"/>
              <a:gd name="connsiteY121" fmla="*/ 188270 h 1257266"/>
              <a:gd name="connsiteX122" fmla="*/ 2192659 w 5227821"/>
              <a:gd name="connsiteY122" fmla="*/ 184504 h 1257266"/>
              <a:gd name="connsiteX123" fmla="*/ 2196419 w 5227821"/>
              <a:gd name="connsiteY123" fmla="*/ 199566 h 1257266"/>
              <a:gd name="connsiteX124" fmla="*/ 2215218 w 5227821"/>
              <a:gd name="connsiteY124" fmla="*/ 195801 h 1257266"/>
              <a:gd name="connsiteX125" fmla="*/ 2203938 w 5227821"/>
              <a:gd name="connsiteY125" fmla="*/ 188270 h 1257266"/>
              <a:gd name="connsiteX126" fmla="*/ 2271614 w 5227821"/>
              <a:gd name="connsiteY126" fmla="*/ 188270 h 1257266"/>
              <a:gd name="connsiteX127" fmla="*/ 2395685 w 5227821"/>
              <a:gd name="connsiteY127" fmla="*/ 184504 h 1257266"/>
              <a:gd name="connsiteX128" fmla="*/ 2422003 w 5227821"/>
              <a:gd name="connsiteY128" fmla="*/ 169443 h 1257266"/>
              <a:gd name="connsiteX129" fmla="*/ 2564873 w 5227821"/>
              <a:gd name="connsiteY129" fmla="*/ 180739 h 1257266"/>
              <a:gd name="connsiteX130" fmla="*/ 2737821 w 5227821"/>
              <a:gd name="connsiteY130" fmla="*/ 176974 h 1257266"/>
              <a:gd name="connsiteX131" fmla="*/ 2737821 w 5227821"/>
              <a:gd name="connsiteY131" fmla="*/ 169443 h 1257266"/>
              <a:gd name="connsiteX132" fmla="*/ 2794217 w 5227821"/>
              <a:gd name="connsiteY132" fmla="*/ 176974 h 1257266"/>
              <a:gd name="connsiteX133" fmla="*/ 2805496 w 5227821"/>
              <a:gd name="connsiteY133" fmla="*/ 169443 h 1257266"/>
              <a:gd name="connsiteX134" fmla="*/ 3568723 w 5227821"/>
              <a:gd name="connsiteY134" fmla="*/ 165678 h 1257266"/>
              <a:gd name="connsiteX135" fmla="*/ 3673996 w 5227821"/>
              <a:gd name="connsiteY135" fmla="*/ 158147 h 1257266"/>
              <a:gd name="connsiteX136" fmla="*/ 3719113 w 5227821"/>
              <a:gd name="connsiteY136" fmla="*/ 161912 h 1257266"/>
              <a:gd name="connsiteX137" fmla="*/ 3880782 w 5227821"/>
              <a:gd name="connsiteY137" fmla="*/ 150616 h 1257266"/>
              <a:gd name="connsiteX138" fmla="*/ 3869503 w 5227821"/>
              <a:gd name="connsiteY138" fmla="*/ 161912 h 1257266"/>
              <a:gd name="connsiteX139" fmla="*/ 3922139 w 5227821"/>
              <a:gd name="connsiteY139" fmla="*/ 169443 h 1257266"/>
              <a:gd name="connsiteX140" fmla="*/ 4046210 w 5227821"/>
              <a:gd name="connsiteY140" fmla="*/ 165678 h 1257266"/>
              <a:gd name="connsiteX141" fmla="*/ 4083807 w 5227821"/>
              <a:gd name="connsiteY141" fmla="*/ 165678 h 1257266"/>
              <a:gd name="connsiteX142" fmla="*/ 4083807 w 5227821"/>
              <a:gd name="connsiteY142" fmla="*/ 169443 h 1257266"/>
              <a:gd name="connsiteX143" fmla="*/ 4181561 w 5227821"/>
              <a:gd name="connsiteY143" fmla="*/ 173208 h 1257266"/>
              <a:gd name="connsiteX144" fmla="*/ 4264275 w 5227821"/>
              <a:gd name="connsiteY144" fmla="*/ 173208 h 1257266"/>
              <a:gd name="connsiteX145" fmla="*/ 4316911 w 5227821"/>
              <a:gd name="connsiteY145" fmla="*/ 184504 h 1257266"/>
              <a:gd name="connsiteX146" fmla="*/ 4440983 w 5227821"/>
              <a:gd name="connsiteY146" fmla="*/ 184504 h 1257266"/>
              <a:gd name="connsiteX147" fmla="*/ 4433463 w 5227821"/>
              <a:gd name="connsiteY147" fmla="*/ 192035 h 1257266"/>
              <a:gd name="connsiteX148" fmla="*/ 4512418 w 5227821"/>
              <a:gd name="connsiteY148" fmla="*/ 199566 h 1257266"/>
              <a:gd name="connsiteX149" fmla="*/ 4550015 w 5227821"/>
              <a:gd name="connsiteY149" fmla="*/ 203331 h 1257266"/>
              <a:gd name="connsiteX150" fmla="*/ 4557535 w 5227821"/>
              <a:gd name="connsiteY150" fmla="*/ 199566 h 1257266"/>
              <a:gd name="connsiteX151" fmla="*/ 4568814 w 5227821"/>
              <a:gd name="connsiteY151" fmla="*/ 207097 h 1257266"/>
              <a:gd name="connsiteX152" fmla="*/ 4644009 w 5227821"/>
              <a:gd name="connsiteY152" fmla="*/ 233455 h 1257266"/>
              <a:gd name="connsiteX153" fmla="*/ 4775599 w 5227821"/>
              <a:gd name="connsiteY153" fmla="*/ 237220 h 1257266"/>
              <a:gd name="connsiteX154" fmla="*/ 4828236 w 5227821"/>
              <a:gd name="connsiteY154" fmla="*/ 199566 h 1257266"/>
              <a:gd name="connsiteX155" fmla="*/ 4783119 w 5227821"/>
              <a:gd name="connsiteY155" fmla="*/ 188270 h 1257266"/>
              <a:gd name="connsiteX156" fmla="*/ 4828236 w 5227821"/>
              <a:gd name="connsiteY156" fmla="*/ 195801 h 1257266"/>
              <a:gd name="connsiteX157" fmla="*/ 4850795 w 5227821"/>
              <a:gd name="connsiteY157" fmla="*/ 180739 h 1257266"/>
              <a:gd name="connsiteX158" fmla="*/ 4794399 w 5227821"/>
              <a:gd name="connsiteY158" fmla="*/ 150616 h 1257266"/>
              <a:gd name="connsiteX159" fmla="*/ 4813197 w 5227821"/>
              <a:gd name="connsiteY159" fmla="*/ 143085 h 1257266"/>
              <a:gd name="connsiteX160" fmla="*/ 4738002 w 5227821"/>
              <a:gd name="connsiteY160" fmla="*/ 135554 h 1257266"/>
              <a:gd name="connsiteX161" fmla="*/ 4677847 w 5227821"/>
              <a:gd name="connsiteY161" fmla="*/ 139320 h 1257266"/>
              <a:gd name="connsiteX162" fmla="*/ 4644009 w 5227821"/>
              <a:gd name="connsiteY162" fmla="*/ 116727 h 1257266"/>
              <a:gd name="connsiteX163" fmla="*/ 4516177 w 5227821"/>
              <a:gd name="connsiteY163" fmla="*/ 109197 h 1257266"/>
              <a:gd name="connsiteX164" fmla="*/ 4444743 w 5227821"/>
              <a:gd name="connsiteY164" fmla="*/ 90370 h 1257266"/>
              <a:gd name="connsiteX165" fmla="*/ 4380827 w 5227821"/>
              <a:gd name="connsiteY165" fmla="*/ 82839 h 1257266"/>
              <a:gd name="connsiteX166" fmla="*/ 4365788 w 5227821"/>
              <a:gd name="connsiteY166" fmla="*/ 90370 h 1257266"/>
              <a:gd name="connsiteX167" fmla="*/ 4354509 w 5227821"/>
              <a:gd name="connsiteY167" fmla="*/ 86604 h 1257266"/>
              <a:gd name="connsiteX168" fmla="*/ 4331951 w 5227821"/>
              <a:gd name="connsiteY168" fmla="*/ 82839 h 1257266"/>
              <a:gd name="connsiteX169" fmla="*/ 4335710 w 5227821"/>
              <a:gd name="connsiteY169" fmla="*/ 67777 h 1257266"/>
              <a:gd name="connsiteX170" fmla="*/ 4474821 w 5227821"/>
              <a:gd name="connsiteY170" fmla="*/ 79073 h 1257266"/>
              <a:gd name="connsiteX171" fmla="*/ 4561295 w 5227821"/>
              <a:gd name="connsiteY171" fmla="*/ 90370 h 1257266"/>
              <a:gd name="connsiteX172" fmla="*/ 4681606 w 5227821"/>
              <a:gd name="connsiteY172" fmla="*/ 94135 h 1257266"/>
              <a:gd name="connsiteX173" fmla="*/ 4685366 w 5227821"/>
              <a:gd name="connsiteY173" fmla="*/ 97900 h 1257266"/>
              <a:gd name="connsiteX174" fmla="*/ 4801918 w 5227821"/>
              <a:gd name="connsiteY174" fmla="*/ 109197 h 1257266"/>
              <a:gd name="connsiteX175" fmla="*/ 4809437 w 5227821"/>
              <a:gd name="connsiteY175" fmla="*/ 112962 h 1257266"/>
              <a:gd name="connsiteX176" fmla="*/ 4824476 w 5227821"/>
              <a:gd name="connsiteY176" fmla="*/ 105431 h 1257266"/>
              <a:gd name="connsiteX177" fmla="*/ 4828236 w 5227821"/>
              <a:gd name="connsiteY177" fmla="*/ 109197 h 1257266"/>
              <a:gd name="connsiteX178" fmla="*/ 4805677 w 5227821"/>
              <a:gd name="connsiteY178" fmla="*/ 124258 h 1257266"/>
              <a:gd name="connsiteX179" fmla="*/ 4903431 w 5227821"/>
              <a:gd name="connsiteY179" fmla="*/ 124258 h 1257266"/>
              <a:gd name="connsiteX180" fmla="*/ 4925989 w 5227821"/>
              <a:gd name="connsiteY180" fmla="*/ 143085 h 1257266"/>
              <a:gd name="connsiteX181" fmla="*/ 4941028 w 5227821"/>
              <a:gd name="connsiteY181" fmla="*/ 143085 h 1257266"/>
              <a:gd name="connsiteX182" fmla="*/ 4922229 w 5227821"/>
              <a:gd name="connsiteY182" fmla="*/ 109197 h 1257266"/>
              <a:gd name="connsiteX183" fmla="*/ 4956067 w 5227821"/>
              <a:gd name="connsiteY183" fmla="*/ 97900 h 1257266"/>
              <a:gd name="connsiteX184" fmla="*/ 4959827 w 5227821"/>
              <a:gd name="connsiteY184" fmla="*/ 94135 h 1257266"/>
              <a:gd name="connsiteX185" fmla="*/ 4922229 w 5227821"/>
              <a:gd name="connsiteY185" fmla="*/ 97900 h 1257266"/>
              <a:gd name="connsiteX186" fmla="*/ 4903431 w 5227821"/>
              <a:gd name="connsiteY186" fmla="*/ 86604 h 1257266"/>
              <a:gd name="connsiteX187" fmla="*/ 4933509 w 5227821"/>
              <a:gd name="connsiteY187" fmla="*/ 75308 h 1257266"/>
              <a:gd name="connsiteX188" fmla="*/ 4929749 w 5227821"/>
              <a:gd name="connsiteY188" fmla="*/ 71543 h 1257266"/>
              <a:gd name="connsiteX189" fmla="*/ 5068859 w 5227821"/>
              <a:gd name="connsiteY189" fmla="*/ 79073 h 1257266"/>
              <a:gd name="connsiteX190" fmla="*/ 5061339 w 5227821"/>
              <a:gd name="connsiteY190" fmla="*/ 75308 h 1257266"/>
              <a:gd name="connsiteX191" fmla="*/ 5132775 w 5227821"/>
              <a:gd name="connsiteY191" fmla="*/ 75308 h 1257266"/>
              <a:gd name="connsiteX192" fmla="*/ 5136535 w 5227821"/>
              <a:gd name="connsiteY192" fmla="*/ 71543 h 1257266"/>
              <a:gd name="connsiteX193" fmla="*/ 5087658 w 5227821"/>
              <a:gd name="connsiteY193" fmla="*/ 71543 h 1257266"/>
              <a:gd name="connsiteX194" fmla="*/ 5189171 w 5227821"/>
              <a:gd name="connsiteY194" fmla="*/ 52716 h 1257266"/>
              <a:gd name="connsiteX195" fmla="*/ 5095177 w 5227821"/>
              <a:gd name="connsiteY195" fmla="*/ 101666 h 1257266"/>
              <a:gd name="connsiteX196" fmla="*/ 5065099 w 5227821"/>
              <a:gd name="connsiteY196" fmla="*/ 131789 h 1257266"/>
              <a:gd name="connsiteX197" fmla="*/ 4971106 w 5227821"/>
              <a:gd name="connsiteY197" fmla="*/ 161912 h 1257266"/>
              <a:gd name="connsiteX198" fmla="*/ 5035021 w 5227821"/>
              <a:gd name="connsiteY198" fmla="*/ 165678 h 1257266"/>
              <a:gd name="connsiteX199" fmla="*/ 5023743 w 5227821"/>
              <a:gd name="connsiteY199" fmla="*/ 184504 h 1257266"/>
              <a:gd name="connsiteX200" fmla="*/ 4869593 w 5227821"/>
              <a:gd name="connsiteY200" fmla="*/ 263578 h 1257266"/>
              <a:gd name="connsiteX201" fmla="*/ 4884632 w 5227821"/>
              <a:gd name="connsiteY201" fmla="*/ 267343 h 1257266"/>
              <a:gd name="connsiteX202" fmla="*/ 4798158 w 5227821"/>
              <a:gd name="connsiteY202" fmla="*/ 312528 h 1257266"/>
              <a:gd name="connsiteX203" fmla="*/ 4809437 w 5227821"/>
              <a:gd name="connsiteY203" fmla="*/ 316293 h 1257266"/>
              <a:gd name="connsiteX204" fmla="*/ 4783119 w 5227821"/>
              <a:gd name="connsiteY204" fmla="*/ 327589 h 1257266"/>
              <a:gd name="connsiteX205" fmla="*/ 4783119 w 5227821"/>
              <a:gd name="connsiteY205" fmla="*/ 304997 h 1257266"/>
              <a:gd name="connsiteX206" fmla="*/ 4760561 w 5227821"/>
              <a:gd name="connsiteY206" fmla="*/ 335120 h 1257266"/>
              <a:gd name="connsiteX207" fmla="*/ 4801918 w 5227821"/>
              <a:gd name="connsiteY207" fmla="*/ 342651 h 1257266"/>
              <a:gd name="connsiteX208" fmla="*/ 4801918 w 5227821"/>
              <a:gd name="connsiteY208" fmla="*/ 350182 h 1257266"/>
              <a:gd name="connsiteX209" fmla="*/ 4820717 w 5227821"/>
              <a:gd name="connsiteY209" fmla="*/ 346416 h 1257266"/>
              <a:gd name="connsiteX210" fmla="*/ 4816957 w 5227821"/>
              <a:gd name="connsiteY210" fmla="*/ 342651 h 1257266"/>
              <a:gd name="connsiteX211" fmla="*/ 4850795 w 5227821"/>
              <a:gd name="connsiteY211" fmla="*/ 342651 h 1257266"/>
              <a:gd name="connsiteX212" fmla="*/ 4850795 w 5227821"/>
              <a:gd name="connsiteY212" fmla="*/ 331355 h 1257266"/>
              <a:gd name="connsiteX213" fmla="*/ 4910950 w 5227821"/>
              <a:gd name="connsiteY213" fmla="*/ 323824 h 1257266"/>
              <a:gd name="connsiteX214" fmla="*/ 4918469 w 5227821"/>
              <a:gd name="connsiteY214" fmla="*/ 293701 h 1257266"/>
              <a:gd name="connsiteX215" fmla="*/ 4937269 w 5227821"/>
              <a:gd name="connsiteY215" fmla="*/ 278639 h 1257266"/>
              <a:gd name="connsiteX216" fmla="*/ 4941028 w 5227821"/>
              <a:gd name="connsiteY216" fmla="*/ 278639 h 1257266"/>
              <a:gd name="connsiteX217" fmla="*/ 4997424 w 5227821"/>
              <a:gd name="connsiteY217" fmla="*/ 256047 h 1257266"/>
              <a:gd name="connsiteX218" fmla="*/ 5042541 w 5227821"/>
              <a:gd name="connsiteY218" fmla="*/ 263578 h 1257266"/>
              <a:gd name="connsiteX219" fmla="*/ 5027502 w 5227821"/>
              <a:gd name="connsiteY219" fmla="*/ 278639 h 1257266"/>
              <a:gd name="connsiteX220" fmla="*/ 5061339 w 5227821"/>
              <a:gd name="connsiteY220" fmla="*/ 278639 h 1257266"/>
              <a:gd name="connsiteX221" fmla="*/ 5019983 w 5227821"/>
              <a:gd name="connsiteY221" fmla="*/ 323824 h 1257266"/>
              <a:gd name="connsiteX222" fmla="*/ 5012463 w 5227821"/>
              <a:gd name="connsiteY222" fmla="*/ 342651 h 1257266"/>
              <a:gd name="connsiteX223" fmla="*/ 5001184 w 5227821"/>
              <a:gd name="connsiteY223" fmla="*/ 335120 h 1257266"/>
              <a:gd name="connsiteX224" fmla="*/ 5001184 w 5227821"/>
              <a:gd name="connsiteY224" fmla="*/ 327589 h 1257266"/>
              <a:gd name="connsiteX225" fmla="*/ 4986145 w 5227821"/>
              <a:gd name="connsiteY225" fmla="*/ 335120 h 1257266"/>
              <a:gd name="connsiteX226" fmla="*/ 4978625 w 5227821"/>
              <a:gd name="connsiteY226" fmla="*/ 335120 h 1257266"/>
              <a:gd name="connsiteX227" fmla="*/ 4993665 w 5227821"/>
              <a:gd name="connsiteY227" fmla="*/ 301232 h 1257266"/>
              <a:gd name="connsiteX228" fmla="*/ 5008703 w 5227821"/>
              <a:gd name="connsiteY228" fmla="*/ 297466 h 1257266"/>
              <a:gd name="connsiteX229" fmla="*/ 5012463 w 5227821"/>
              <a:gd name="connsiteY229" fmla="*/ 286170 h 1257266"/>
              <a:gd name="connsiteX230" fmla="*/ 5027502 w 5227821"/>
              <a:gd name="connsiteY230" fmla="*/ 282405 h 1257266"/>
              <a:gd name="connsiteX231" fmla="*/ 4982385 w 5227821"/>
              <a:gd name="connsiteY231" fmla="*/ 286170 h 1257266"/>
              <a:gd name="connsiteX232" fmla="*/ 4888392 w 5227821"/>
              <a:gd name="connsiteY232" fmla="*/ 353947 h 1257266"/>
              <a:gd name="connsiteX233" fmla="*/ 4884632 w 5227821"/>
              <a:gd name="connsiteY233" fmla="*/ 365243 h 1257266"/>
              <a:gd name="connsiteX234" fmla="*/ 4869593 w 5227821"/>
              <a:gd name="connsiteY234" fmla="*/ 369009 h 1257266"/>
              <a:gd name="connsiteX235" fmla="*/ 4880873 w 5227821"/>
              <a:gd name="connsiteY235" fmla="*/ 380305 h 1257266"/>
              <a:gd name="connsiteX236" fmla="*/ 4865833 w 5227821"/>
              <a:gd name="connsiteY236" fmla="*/ 387836 h 1257266"/>
              <a:gd name="connsiteX237" fmla="*/ 4903431 w 5227821"/>
              <a:gd name="connsiteY237" fmla="*/ 391601 h 1257266"/>
              <a:gd name="connsiteX238" fmla="*/ 4929749 w 5227821"/>
              <a:gd name="connsiteY238" fmla="*/ 384070 h 1257266"/>
              <a:gd name="connsiteX239" fmla="*/ 4918469 w 5227821"/>
              <a:gd name="connsiteY239" fmla="*/ 395366 h 1257266"/>
              <a:gd name="connsiteX240" fmla="*/ 4925989 w 5227821"/>
              <a:gd name="connsiteY240" fmla="*/ 399132 h 1257266"/>
              <a:gd name="connsiteX241" fmla="*/ 4971106 w 5227821"/>
              <a:gd name="connsiteY241" fmla="*/ 380305 h 1257266"/>
              <a:gd name="connsiteX242" fmla="*/ 4967347 w 5227821"/>
              <a:gd name="connsiteY242" fmla="*/ 429255 h 1257266"/>
              <a:gd name="connsiteX243" fmla="*/ 5001184 w 5227821"/>
              <a:gd name="connsiteY243" fmla="*/ 391601 h 1257266"/>
              <a:gd name="connsiteX244" fmla="*/ 5012463 w 5227821"/>
              <a:gd name="connsiteY244" fmla="*/ 391601 h 1257266"/>
              <a:gd name="connsiteX245" fmla="*/ 4974865 w 5227821"/>
              <a:gd name="connsiteY245" fmla="*/ 466909 h 1257266"/>
              <a:gd name="connsiteX246" fmla="*/ 4971106 w 5227821"/>
              <a:gd name="connsiteY246" fmla="*/ 466909 h 1257266"/>
              <a:gd name="connsiteX247" fmla="*/ 4963587 w 5227821"/>
              <a:gd name="connsiteY247" fmla="*/ 470674 h 1257266"/>
              <a:gd name="connsiteX248" fmla="*/ 4952307 w 5227821"/>
              <a:gd name="connsiteY248" fmla="*/ 470674 h 1257266"/>
              <a:gd name="connsiteX249" fmla="*/ 4929749 w 5227821"/>
              <a:gd name="connsiteY249" fmla="*/ 474440 h 1257266"/>
              <a:gd name="connsiteX250" fmla="*/ 4952307 w 5227821"/>
              <a:gd name="connsiteY250" fmla="*/ 470674 h 1257266"/>
              <a:gd name="connsiteX251" fmla="*/ 4963587 w 5227821"/>
              <a:gd name="connsiteY251" fmla="*/ 470674 h 1257266"/>
              <a:gd name="connsiteX252" fmla="*/ 4967347 w 5227821"/>
              <a:gd name="connsiteY252" fmla="*/ 470674 h 1257266"/>
              <a:gd name="connsiteX253" fmla="*/ 4944788 w 5227821"/>
              <a:gd name="connsiteY253" fmla="*/ 481970 h 1257266"/>
              <a:gd name="connsiteX254" fmla="*/ 4959827 w 5227821"/>
              <a:gd name="connsiteY254" fmla="*/ 485736 h 1257266"/>
              <a:gd name="connsiteX255" fmla="*/ 4974865 w 5227821"/>
              <a:gd name="connsiteY255" fmla="*/ 474440 h 1257266"/>
              <a:gd name="connsiteX256" fmla="*/ 4978625 w 5227821"/>
              <a:gd name="connsiteY256" fmla="*/ 478205 h 1257266"/>
              <a:gd name="connsiteX257" fmla="*/ 4993665 w 5227821"/>
              <a:gd name="connsiteY257" fmla="*/ 455613 h 1257266"/>
              <a:gd name="connsiteX258" fmla="*/ 5004943 w 5227821"/>
              <a:gd name="connsiteY258" fmla="*/ 455613 h 1257266"/>
              <a:gd name="connsiteX259" fmla="*/ 5019983 w 5227821"/>
              <a:gd name="connsiteY259" fmla="*/ 497032 h 1257266"/>
              <a:gd name="connsiteX260" fmla="*/ 5046301 w 5227821"/>
              <a:gd name="connsiteY260" fmla="*/ 466909 h 1257266"/>
              <a:gd name="connsiteX261" fmla="*/ 5042541 w 5227821"/>
              <a:gd name="connsiteY261" fmla="*/ 451847 h 1257266"/>
              <a:gd name="connsiteX262" fmla="*/ 5065099 w 5227821"/>
              <a:gd name="connsiteY262" fmla="*/ 448082 h 1257266"/>
              <a:gd name="connsiteX263" fmla="*/ 5065099 w 5227821"/>
              <a:gd name="connsiteY263" fmla="*/ 474440 h 1257266"/>
              <a:gd name="connsiteX264" fmla="*/ 5080139 w 5227821"/>
              <a:gd name="connsiteY264" fmla="*/ 470674 h 1257266"/>
              <a:gd name="connsiteX265" fmla="*/ 5095177 w 5227821"/>
              <a:gd name="connsiteY265" fmla="*/ 497032 h 1257266"/>
              <a:gd name="connsiteX266" fmla="*/ 5072619 w 5227821"/>
              <a:gd name="connsiteY266" fmla="*/ 500797 h 1257266"/>
              <a:gd name="connsiteX267" fmla="*/ 5053821 w 5227821"/>
              <a:gd name="connsiteY267" fmla="*/ 493267 h 1257266"/>
              <a:gd name="connsiteX268" fmla="*/ 5019983 w 5227821"/>
              <a:gd name="connsiteY268" fmla="*/ 504563 h 1257266"/>
              <a:gd name="connsiteX269" fmla="*/ 5038781 w 5227821"/>
              <a:gd name="connsiteY269" fmla="*/ 504563 h 1257266"/>
              <a:gd name="connsiteX270" fmla="*/ 5035021 w 5227821"/>
              <a:gd name="connsiteY270" fmla="*/ 508328 h 1257266"/>
              <a:gd name="connsiteX271" fmla="*/ 5102697 w 5227821"/>
              <a:gd name="connsiteY271" fmla="*/ 508328 h 1257266"/>
              <a:gd name="connsiteX272" fmla="*/ 5110217 w 5227821"/>
              <a:gd name="connsiteY272" fmla="*/ 512094 h 1257266"/>
              <a:gd name="connsiteX273" fmla="*/ 5113976 w 5227821"/>
              <a:gd name="connsiteY273" fmla="*/ 508328 h 1257266"/>
              <a:gd name="connsiteX274" fmla="*/ 5125255 w 5227821"/>
              <a:gd name="connsiteY274" fmla="*/ 504563 h 1257266"/>
              <a:gd name="connsiteX275" fmla="*/ 5113976 w 5227821"/>
              <a:gd name="connsiteY275" fmla="*/ 504563 h 1257266"/>
              <a:gd name="connsiteX276" fmla="*/ 5117736 w 5227821"/>
              <a:gd name="connsiteY276" fmla="*/ 485736 h 1257266"/>
              <a:gd name="connsiteX277" fmla="*/ 5113976 w 5227821"/>
              <a:gd name="connsiteY277" fmla="*/ 444317 h 1257266"/>
              <a:gd name="connsiteX278" fmla="*/ 5159093 w 5227821"/>
              <a:gd name="connsiteY278" fmla="*/ 489501 h 1257266"/>
              <a:gd name="connsiteX279" fmla="*/ 5162853 w 5227821"/>
              <a:gd name="connsiteY279" fmla="*/ 485736 h 1257266"/>
              <a:gd name="connsiteX280" fmla="*/ 5170372 w 5227821"/>
              <a:gd name="connsiteY280" fmla="*/ 489501 h 1257266"/>
              <a:gd name="connsiteX281" fmla="*/ 5170372 w 5227821"/>
              <a:gd name="connsiteY281" fmla="*/ 519624 h 1257266"/>
              <a:gd name="connsiteX282" fmla="*/ 5162853 w 5227821"/>
              <a:gd name="connsiteY282" fmla="*/ 508328 h 1257266"/>
              <a:gd name="connsiteX283" fmla="*/ 5144054 w 5227821"/>
              <a:gd name="connsiteY283" fmla="*/ 549748 h 1257266"/>
              <a:gd name="connsiteX284" fmla="*/ 5110217 w 5227821"/>
              <a:gd name="connsiteY284" fmla="*/ 564809 h 1257266"/>
              <a:gd name="connsiteX285" fmla="*/ 5129015 w 5227821"/>
              <a:gd name="connsiteY285" fmla="*/ 606228 h 1257266"/>
              <a:gd name="connsiteX286" fmla="*/ 5159093 w 5227821"/>
              <a:gd name="connsiteY286" fmla="*/ 591167 h 1257266"/>
              <a:gd name="connsiteX287" fmla="*/ 5129015 w 5227821"/>
              <a:gd name="connsiteY287" fmla="*/ 617524 h 1257266"/>
              <a:gd name="connsiteX288" fmla="*/ 5136535 w 5227821"/>
              <a:gd name="connsiteY288" fmla="*/ 681536 h 1257266"/>
              <a:gd name="connsiteX289" fmla="*/ 5159093 w 5227821"/>
              <a:gd name="connsiteY289" fmla="*/ 692832 h 1257266"/>
              <a:gd name="connsiteX290" fmla="*/ 5207969 w 5227821"/>
              <a:gd name="connsiteY290" fmla="*/ 670240 h 1257266"/>
              <a:gd name="connsiteX291" fmla="*/ 5215489 w 5227821"/>
              <a:gd name="connsiteY291" fmla="*/ 674005 h 1257266"/>
              <a:gd name="connsiteX292" fmla="*/ 5223009 w 5227821"/>
              <a:gd name="connsiteY292" fmla="*/ 670240 h 1257266"/>
              <a:gd name="connsiteX293" fmla="*/ 5226769 w 5227821"/>
              <a:gd name="connsiteY293" fmla="*/ 704128 h 1257266"/>
              <a:gd name="connsiteX294" fmla="*/ 5129015 w 5227821"/>
              <a:gd name="connsiteY294" fmla="*/ 745548 h 1257266"/>
              <a:gd name="connsiteX295" fmla="*/ 5113976 w 5227821"/>
              <a:gd name="connsiteY295" fmla="*/ 745548 h 1257266"/>
              <a:gd name="connsiteX296" fmla="*/ 5117736 w 5227821"/>
              <a:gd name="connsiteY296" fmla="*/ 741782 h 1257266"/>
              <a:gd name="connsiteX297" fmla="*/ 5095177 w 5227821"/>
              <a:gd name="connsiteY297" fmla="*/ 741782 h 1257266"/>
              <a:gd name="connsiteX298" fmla="*/ 5038781 w 5227821"/>
              <a:gd name="connsiteY298" fmla="*/ 749313 h 1257266"/>
              <a:gd name="connsiteX299" fmla="*/ 5117736 w 5227821"/>
              <a:gd name="connsiteY299" fmla="*/ 756844 h 1257266"/>
              <a:gd name="connsiteX300" fmla="*/ 5016223 w 5227821"/>
              <a:gd name="connsiteY300" fmla="*/ 775671 h 1257266"/>
              <a:gd name="connsiteX301" fmla="*/ 4933509 w 5227821"/>
              <a:gd name="connsiteY301" fmla="*/ 768140 h 1257266"/>
              <a:gd name="connsiteX302" fmla="*/ 4892151 w 5227821"/>
              <a:gd name="connsiteY302" fmla="*/ 790732 h 1257266"/>
              <a:gd name="connsiteX303" fmla="*/ 4888392 w 5227821"/>
              <a:gd name="connsiteY303" fmla="*/ 786967 h 1257266"/>
              <a:gd name="connsiteX304" fmla="*/ 4869593 w 5227821"/>
              <a:gd name="connsiteY304" fmla="*/ 809559 h 1257266"/>
              <a:gd name="connsiteX305" fmla="*/ 4873353 w 5227821"/>
              <a:gd name="connsiteY305" fmla="*/ 813325 h 1257266"/>
              <a:gd name="connsiteX306" fmla="*/ 4831995 w 5227821"/>
              <a:gd name="connsiteY306" fmla="*/ 805794 h 1257266"/>
              <a:gd name="connsiteX307" fmla="*/ 4771840 w 5227821"/>
              <a:gd name="connsiteY307" fmla="*/ 820856 h 1257266"/>
              <a:gd name="connsiteX308" fmla="*/ 4764275 w 5227821"/>
              <a:gd name="connsiteY308" fmla="*/ 817267 h 1257266"/>
              <a:gd name="connsiteX309" fmla="*/ 4765000 w 5227821"/>
              <a:gd name="connsiteY309" fmla="*/ 823531 h 1257266"/>
              <a:gd name="connsiteX310" fmla="*/ 4797427 w 5227821"/>
              <a:gd name="connsiteY310" fmla="*/ 839063 h 1257266"/>
              <a:gd name="connsiteX311" fmla="*/ 4801187 w 5227821"/>
              <a:gd name="connsiteY311" fmla="*/ 835298 h 1257266"/>
              <a:gd name="connsiteX312" fmla="*/ 4808706 w 5227821"/>
              <a:gd name="connsiteY312" fmla="*/ 839063 h 1257266"/>
              <a:gd name="connsiteX313" fmla="*/ 4808706 w 5227821"/>
              <a:gd name="connsiteY313" fmla="*/ 869186 h 1257266"/>
              <a:gd name="connsiteX314" fmla="*/ 4801187 w 5227821"/>
              <a:gd name="connsiteY314" fmla="*/ 857890 h 1257266"/>
              <a:gd name="connsiteX315" fmla="*/ 4782388 w 5227821"/>
              <a:gd name="connsiteY315" fmla="*/ 899309 h 1257266"/>
              <a:gd name="connsiteX316" fmla="*/ 4748551 w 5227821"/>
              <a:gd name="connsiteY316" fmla="*/ 914371 h 1257266"/>
              <a:gd name="connsiteX317" fmla="*/ 4767349 w 5227821"/>
              <a:gd name="connsiteY317" fmla="*/ 955790 h 1257266"/>
              <a:gd name="connsiteX318" fmla="*/ 4797427 w 5227821"/>
              <a:gd name="connsiteY318" fmla="*/ 940729 h 1257266"/>
              <a:gd name="connsiteX319" fmla="*/ 4767349 w 5227821"/>
              <a:gd name="connsiteY319" fmla="*/ 967086 h 1257266"/>
              <a:gd name="connsiteX320" fmla="*/ 4774869 w 5227821"/>
              <a:gd name="connsiteY320" fmla="*/ 1031098 h 1257266"/>
              <a:gd name="connsiteX321" fmla="*/ 4797427 w 5227821"/>
              <a:gd name="connsiteY321" fmla="*/ 1042394 h 1257266"/>
              <a:gd name="connsiteX322" fmla="*/ 4846303 w 5227821"/>
              <a:gd name="connsiteY322" fmla="*/ 1019802 h 1257266"/>
              <a:gd name="connsiteX323" fmla="*/ 4853823 w 5227821"/>
              <a:gd name="connsiteY323" fmla="*/ 1023567 h 1257266"/>
              <a:gd name="connsiteX324" fmla="*/ 4861343 w 5227821"/>
              <a:gd name="connsiteY324" fmla="*/ 1019802 h 1257266"/>
              <a:gd name="connsiteX325" fmla="*/ 4865103 w 5227821"/>
              <a:gd name="connsiteY325" fmla="*/ 1053690 h 1257266"/>
              <a:gd name="connsiteX326" fmla="*/ 4767349 w 5227821"/>
              <a:gd name="connsiteY326" fmla="*/ 1095110 h 1257266"/>
              <a:gd name="connsiteX327" fmla="*/ 4752310 w 5227821"/>
              <a:gd name="connsiteY327" fmla="*/ 1095110 h 1257266"/>
              <a:gd name="connsiteX328" fmla="*/ 4756070 w 5227821"/>
              <a:gd name="connsiteY328" fmla="*/ 1091344 h 1257266"/>
              <a:gd name="connsiteX329" fmla="*/ 4733511 w 5227821"/>
              <a:gd name="connsiteY329" fmla="*/ 1091344 h 1257266"/>
              <a:gd name="connsiteX330" fmla="*/ 4677115 w 5227821"/>
              <a:gd name="connsiteY330" fmla="*/ 1098875 h 1257266"/>
              <a:gd name="connsiteX331" fmla="*/ 4756070 w 5227821"/>
              <a:gd name="connsiteY331" fmla="*/ 1106406 h 1257266"/>
              <a:gd name="connsiteX332" fmla="*/ 4654557 w 5227821"/>
              <a:gd name="connsiteY332" fmla="*/ 1125233 h 1257266"/>
              <a:gd name="connsiteX333" fmla="*/ 4571843 w 5227821"/>
              <a:gd name="connsiteY333" fmla="*/ 1117702 h 1257266"/>
              <a:gd name="connsiteX334" fmla="*/ 4530485 w 5227821"/>
              <a:gd name="connsiteY334" fmla="*/ 1140294 h 1257266"/>
              <a:gd name="connsiteX335" fmla="*/ 4526726 w 5227821"/>
              <a:gd name="connsiteY335" fmla="*/ 1136529 h 1257266"/>
              <a:gd name="connsiteX336" fmla="*/ 4507927 w 5227821"/>
              <a:gd name="connsiteY336" fmla="*/ 1159121 h 1257266"/>
              <a:gd name="connsiteX337" fmla="*/ 4511687 w 5227821"/>
              <a:gd name="connsiteY337" fmla="*/ 1162887 h 1257266"/>
              <a:gd name="connsiteX338" fmla="*/ 4470329 w 5227821"/>
              <a:gd name="connsiteY338" fmla="*/ 1155356 h 1257266"/>
              <a:gd name="connsiteX339" fmla="*/ 4410174 w 5227821"/>
              <a:gd name="connsiteY339" fmla="*/ 1170418 h 1257266"/>
              <a:gd name="connsiteX340" fmla="*/ 4406414 w 5227821"/>
              <a:gd name="connsiteY340" fmla="*/ 1159121 h 1257266"/>
              <a:gd name="connsiteX341" fmla="*/ 4342499 w 5227821"/>
              <a:gd name="connsiteY341" fmla="*/ 1159121 h 1257266"/>
              <a:gd name="connsiteX342" fmla="*/ 4350018 w 5227821"/>
              <a:gd name="connsiteY342" fmla="*/ 1166652 h 1257266"/>
              <a:gd name="connsiteX343" fmla="*/ 4282343 w 5227821"/>
              <a:gd name="connsiteY343" fmla="*/ 1170418 h 1257266"/>
              <a:gd name="connsiteX344" fmla="*/ 4297381 w 5227821"/>
              <a:gd name="connsiteY344" fmla="*/ 1177948 h 1257266"/>
              <a:gd name="connsiteX345" fmla="*/ 4229707 w 5227821"/>
              <a:gd name="connsiteY345" fmla="*/ 1177948 h 1257266"/>
              <a:gd name="connsiteX346" fmla="*/ 4146992 w 5227821"/>
              <a:gd name="connsiteY346" fmla="*/ 1200541 h 1257266"/>
              <a:gd name="connsiteX347" fmla="*/ 4041719 w 5227821"/>
              <a:gd name="connsiteY347" fmla="*/ 1215602 h 1257266"/>
              <a:gd name="connsiteX348" fmla="*/ 3665745 w 5227821"/>
              <a:gd name="connsiteY348" fmla="*/ 1249491 h 1257266"/>
              <a:gd name="connsiteX349" fmla="*/ 3673265 w 5227821"/>
              <a:gd name="connsiteY349" fmla="*/ 1245725 h 1257266"/>
              <a:gd name="connsiteX350" fmla="*/ 3349927 w 5227821"/>
              <a:gd name="connsiteY350" fmla="*/ 1257022 h 1257266"/>
              <a:gd name="connsiteX351" fmla="*/ 3500317 w 5227821"/>
              <a:gd name="connsiteY351" fmla="*/ 1234429 h 1257266"/>
              <a:gd name="connsiteX352" fmla="*/ 3244655 w 5227821"/>
              <a:gd name="connsiteY352" fmla="*/ 1241960 h 1257266"/>
              <a:gd name="connsiteX353" fmla="*/ 3316090 w 5227821"/>
              <a:gd name="connsiteY353" fmla="*/ 1226898 h 1257266"/>
              <a:gd name="connsiteX354" fmla="*/ 3327369 w 5227821"/>
              <a:gd name="connsiteY354" fmla="*/ 1234429 h 1257266"/>
              <a:gd name="connsiteX355" fmla="*/ 3410083 w 5227821"/>
              <a:gd name="connsiteY355" fmla="*/ 1215602 h 1257266"/>
              <a:gd name="connsiteX356" fmla="*/ 3410083 w 5227821"/>
              <a:gd name="connsiteY356" fmla="*/ 1208071 h 1257266"/>
              <a:gd name="connsiteX357" fmla="*/ 3996603 w 5227821"/>
              <a:gd name="connsiteY357" fmla="*/ 1147825 h 1257266"/>
              <a:gd name="connsiteX358" fmla="*/ 4056759 w 5227821"/>
              <a:gd name="connsiteY358" fmla="*/ 1136529 h 1257266"/>
              <a:gd name="connsiteX359" fmla="*/ 4037960 w 5227821"/>
              <a:gd name="connsiteY359" fmla="*/ 1132764 h 1257266"/>
              <a:gd name="connsiteX360" fmla="*/ 4064278 w 5227821"/>
              <a:gd name="connsiteY360" fmla="*/ 1132764 h 1257266"/>
              <a:gd name="connsiteX361" fmla="*/ 4068037 w 5227821"/>
              <a:gd name="connsiteY361" fmla="*/ 1132764 h 1257266"/>
              <a:gd name="connsiteX362" fmla="*/ 4105635 w 5227821"/>
              <a:gd name="connsiteY362" fmla="*/ 1121467 h 1257266"/>
              <a:gd name="connsiteX363" fmla="*/ 4064278 w 5227821"/>
              <a:gd name="connsiteY363" fmla="*/ 1121467 h 1257266"/>
              <a:gd name="connsiteX364" fmla="*/ 3985323 w 5227821"/>
              <a:gd name="connsiteY364" fmla="*/ 1121467 h 1257266"/>
              <a:gd name="connsiteX365" fmla="*/ 3631908 w 5227821"/>
              <a:gd name="connsiteY365" fmla="*/ 1132764 h 1257266"/>
              <a:gd name="connsiteX366" fmla="*/ 3470239 w 5227821"/>
              <a:gd name="connsiteY366" fmla="*/ 1140294 h 1257266"/>
              <a:gd name="connsiteX367" fmla="*/ 2981473 w 5227821"/>
              <a:gd name="connsiteY367" fmla="*/ 1170418 h 1257266"/>
              <a:gd name="connsiteX368" fmla="*/ 2789726 w 5227821"/>
              <a:gd name="connsiteY368" fmla="*/ 1166652 h 1257266"/>
              <a:gd name="connsiteX369" fmla="*/ 2519025 w 5227821"/>
              <a:gd name="connsiteY369" fmla="*/ 1159121 h 1257266"/>
              <a:gd name="connsiteX370" fmla="*/ 2511506 w 5227821"/>
              <a:gd name="connsiteY370" fmla="*/ 1162887 h 1257266"/>
              <a:gd name="connsiteX371" fmla="*/ 2488947 w 5227821"/>
              <a:gd name="connsiteY371" fmla="*/ 1166652 h 1257266"/>
              <a:gd name="connsiteX372" fmla="*/ 2368636 w 5227821"/>
              <a:gd name="connsiteY372" fmla="*/ 1177948 h 1257266"/>
              <a:gd name="connsiteX373" fmla="*/ 2225766 w 5227821"/>
              <a:gd name="connsiteY373" fmla="*/ 1196775 h 1257266"/>
              <a:gd name="connsiteX374" fmla="*/ 1466298 w 5227821"/>
              <a:gd name="connsiteY374" fmla="*/ 1189245 h 1257266"/>
              <a:gd name="connsiteX375" fmla="*/ 1259513 w 5227821"/>
              <a:gd name="connsiteY375" fmla="*/ 1177948 h 1257266"/>
              <a:gd name="connsiteX376" fmla="*/ 992571 w 5227821"/>
              <a:gd name="connsiteY376" fmla="*/ 1162887 h 1257266"/>
              <a:gd name="connsiteX377" fmla="*/ 891058 w 5227821"/>
              <a:gd name="connsiteY377" fmla="*/ 1155356 h 1257266"/>
              <a:gd name="connsiteX378" fmla="*/ 883995 w 5227821"/>
              <a:gd name="connsiteY378" fmla="*/ 1158893 h 1257266"/>
              <a:gd name="connsiteX379" fmla="*/ 876489 w 5227821"/>
              <a:gd name="connsiteY379" fmla="*/ 1158650 h 1257266"/>
              <a:gd name="connsiteX380" fmla="*/ 774506 w 5227821"/>
              <a:gd name="connsiteY380" fmla="*/ 1155356 h 1257266"/>
              <a:gd name="connsiteX381" fmla="*/ 710591 w 5227821"/>
              <a:gd name="connsiteY381" fmla="*/ 1166652 h 1257266"/>
              <a:gd name="connsiteX382" fmla="*/ 530123 w 5227821"/>
              <a:gd name="connsiteY382" fmla="*/ 1166652 h 1257266"/>
              <a:gd name="connsiteX383" fmla="*/ 511325 w 5227821"/>
              <a:gd name="connsiteY383" fmla="*/ 1170418 h 1257266"/>
              <a:gd name="connsiteX384" fmla="*/ 507565 w 5227821"/>
              <a:gd name="connsiteY384" fmla="*/ 1170418 h 1257266"/>
              <a:gd name="connsiteX385" fmla="*/ 488766 w 5227821"/>
              <a:gd name="connsiteY385" fmla="*/ 1174183 h 1257266"/>
              <a:gd name="connsiteX386" fmla="*/ 424851 w 5227821"/>
              <a:gd name="connsiteY386" fmla="*/ 1170418 h 1257266"/>
              <a:gd name="connsiteX387" fmla="*/ 421091 w 5227821"/>
              <a:gd name="connsiteY387" fmla="*/ 1162887 h 1257266"/>
              <a:gd name="connsiteX388" fmla="*/ 398533 w 5227821"/>
              <a:gd name="connsiteY388" fmla="*/ 1170418 h 1257266"/>
              <a:gd name="connsiteX389" fmla="*/ 357175 w 5227821"/>
              <a:gd name="connsiteY389" fmla="*/ 1159121 h 1257266"/>
              <a:gd name="connsiteX390" fmla="*/ 334617 w 5227821"/>
              <a:gd name="connsiteY390" fmla="*/ 1162887 h 1257266"/>
              <a:gd name="connsiteX391" fmla="*/ 338376 w 5227821"/>
              <a:gd name="connsiteY391" fmla="*/ 1155356 h 1257266"/>
              <a:gd name="connsiteX392" fmla="*/ 300779 w 5227821"/>
              <a:gd name="connsiteY392" fmla="*/ 1155356 h 1257266"/>
              <a:gd name="connsiteX393" fmla="*/ 233104 w 5227821"/>
              <a:gd name="connsiteY393" fmla="*/ 1140294 h 1257266"/>
              <a:gd name="connsiteX394" fmla="*/ 353415 w 5227821"/>
              <a:gd name="connsiteY394" fmla="*/ 1125233 h 1257266"/>
              <a:gd name="connsiteX395" fmla="*/ 315818 w 5227821"/>
              <a:gd name="connsiteY395" fmla="*/ 1125233 h 1257266"/>
              <a:gd name="connsiteX396" fmla="*/ 327097 w 5227821"/>
              <a:gd name="connsiteY396" fmla="*/ 1110171 h 1257266"/>
              <a:gd name="connsiteX397" fmla="*/ 274461 w 5227821"/>
              <a:gd name="connsiteY397" fmla="*/ 1102641 h 1257266"/>
              <a:gd name="connsiteX398" fmla="*/ 387253 w 5227821"/>
              <a:gd name="connsiteY398" fmla="*/ 1095110 h 1257266"/>
              <a:gd name="connsiteX399" fmla="*/ 334617 w 5227821"/>
              <a:gd name="connsiteY399" fmla="*/ 1095110 h 1257266"/>
              <a:gd name="connsiteX400" fmla="*/ 312058 w 5227821"/>
              <a:gd name="connsiteY400" fmla="*/ 1083814 h 1257266"/>
              <a:gd name="connsiteX401" fmla="*/ 338376 w 5227821"/>
              <a:gd name="connsiteY401" fmla="*/ 1072517 h 1257266"/>
              <a:gd name="connsiteX402" fmla="*/ 372214 w 5227821"/>
              <a:gd name="connsiteY402" fmla="*/ 1046160 h 1257266"/>
              <a:gd name="connsiteX403" fmla="*/ 293259 w 5227821"/>
              <a:gd name="connsiteY403" fmla="*/ 1064987 h 1257266"/>
              <a:gd name="connsiteX404" fmla="*/ 281980 w 5227821"/>
              <a:gd name="connsiteY404" fmla="*/ 1034863 h 1257266"/>
              <a:gd name="connsiteX405" fmla="*/ 308298 w 5227821"/>
              <a:gd name="connsiteY405" fmla="*/ 985913 h 1257266"/>
              <a:gd name="connsiteX406" fmla="*/ 323337 w 5227821"/>
              <a:gd name="connsiteY406" fmla="*/ 978383 h 1257266"/>
              <a:gd name="connsiteX407" fmla="*/ 263181 w 5227821"/>
              <a:gd name="connsiteY407" fmla="*/ 970852 h 1257266"/>
              <a:gd name="connsiteX408" fmla="*/ 300779 w 5227821"/>
              <a:gd name="connsiteY408" fmla="*/ 918136 h 1257266"/>
              <a:gd name="connsiteX409" fmla="*/ 330857 w 5227821"/>
              <a:gd name="connsiteY409" fmla="*/ 914371 h 1257266"/>
              <a:gd name="connsiteX410" fmla="*/ 67675 w 5227821"/>
              <a:gd name="connsiteY410" fmla="*/ 831532 h 1257266"/>
              <a:gd name="connsiteX411" fmla="*/ 11279 w 5227821"/>
              <a:gd name="connsiteY411" fmla="*/ 824001 h 1257266"/>
              <a:gd name="connsiteX412" fmla="*/ 0 w 5227821"/>
              <a:gd name="connsiteY412" fmla="*/ 820236 h 1257266"/>
              <a:gd name="connsiteX413" fmla="*/ 30078 w 5227821"/>
              <a:gd name="connsiteY413" fmla="*/ 820236 h 1257266"/>
              <a:gd name="connsiteX414" fmla="*/ 33837 w 5227821"/>
              <a:gd name="connsiteY414" fmla="*/ 824001 h 1257266"/>
              <a:gd name="connsiteX415" fmla="*/ 45117 w 5227821"/>
              <a:gd name="connsiteY415" fmla="*/ 820236 h 1257266"/>
              <a:gd name="connsiteX416" fmla="*/ 45117 w 5227821"/>
              <a:gd name="connsiteY416" fmla="*/ 812705 h 1257266"/>
              <a:gd name="connsiteX417" fmla="*/ 236863 w 5227821"/>
              <a:gd name="connsiteY417" fmla="*/ 865421 h 1257266"/>
              <a:gd name="connsiteX418" fmla="*/ 240623 w 5227821"/>
              <a:gd name="connsiteY418" fmla="*/ 861655 h 1257266"/>
              <a:gd name="connsiteX419" fmla="*/ 259422 w 5227821"/>
              <a:gd name="connsiteY419" fmla="*/ 869186 h 1257266"/>
              <a:gd name="connsiteX420" fmla="*/ 270701 w 5227821"/>
              <a:gd name="connsiteY420" fmla="*/ 861655 h 1257266"/>
              <a:gd name="connsiteX421" fmla="*/ 274461 w 5227821"/>
              <a:gd name="connsiteY421" fmla="*/ 865421 h 1257266"/>
              <a:gd name="connsiteX422" fmla="*/ 278220 w 5227821"/>
              <a:gd name="connsiteY422" fmla="*/ 861655 h 1257266"/>
              <a:gd name="connsiteX423" fmla="*/ 233104 w 5227821"/>
              <a:gd name="connsiteY423" fmla="*/ 857890 h 1257266"/>
              <a:gd name="connsiteX424" fmla="*/ 278220 w 5227821"/>
              <a:gd name="connsiteY424" fmla="*/ 842828 h 1257266"/>
              <a:gd name="connsiteX425" fmla="*/ 293259 w 5227821"/>
              <a:gd name="connsiteY425" fmla="*/ 842828 h 1257266"/>
              <a:gd name="connsiteX426" fmla="*/ 278220 w 5227821"/>
              <a:gd name="connsiteY426" fmla="*/ 854125 h 1257266"/>
              <a:gd name="connsiteX427" fmla="*/ 312058 w 5227821"/>
              <a:gd name="connsiteY427" fmla="*/ 857890 h 1257266"/>
              <a:gd name="connsiteX428" fmla="*/ 312058 w 5227821"/>
              <a:gd name="connsiteY428" fmla="*/ 842828 h 1257266"/>
              <a:gd name="connsiteX429" fmla="*/ 308298 w 5227821"/>
              <a:gd name="connsiteY429" fmla="*/ 839063 h 1257266"/>
              <a:gd name="connsiteX430" fmla="*/ 304539 w 5227821"/>
              <a:gd name="connsiteY430" fmla="*/ 839063 h 1257266"/>
              <a:gd name="connsiteX431" fmla="*/ 308298 w 5227821"/>
              <a:gd name="connsiteY431" fmla="*/ 835298 h 1257266"/>
              <a:gd name="connsiteX432" fmla="*/ 297019 w 5227821"/>
              <a:gd name="connsiteY432" fmla="*/ 831532 h 1257266"/>
              <a:gd name="connsiteX433" fmla="*/ 270701 w 5227821"/>
              <a:gd name="connsiteY433" fmla="*/ 835298 h 1257266"/>
              <a:gd name="connsiteX434" fmla="*/ 312058 w 5227821"/>
              <a:gd name="connsiteY434" fmla="*/ 820236 h 1257266"/>
              <a:gd name="connsiteX435" fmla="*/ 308298 w 5227821"/>
              <a:gd name="connsiteY435" fmla="*/ 816471 h 1257266"/>
              <a:gd name="connsiteX436" fmla="*/ 353415 w 5227821"/>
              <a:gd name="connsiteY436" fmla="*/ 793878 h 1257266"/>
              <a:gd name="connsiteX437" fmla="*/ 334617 w 5227821"/>
              <a:gd name="connsiteY437" fmla="*/ 790113 h 1257266"/>
              <a:gd name="connsiteX438" fmla="*/ 233104 w 5227821"/>
              <a:gd name="connsiteY438" fmla="*/ 824001 h 1257266"/>
              <a:gd name="connsiteX439" fmla="*/ 161669 w 5227821"/>
              <a:gd name="connsiteY439" fmla="*/ 839063 h 1257266"/>
              <a:gd name="connsiteX440" fmla="*/ 184227 w 5227821"/>
              <a:gd name="connsiteY440" fmla="*/ 827767 h 1257266"/>
              <a:gd name="connsiteX441" fmla="*/ 176707 w 5227821"/>
              <a:gd name="connsiteY441" fmla="*/ 827767 h 1257266"/>
              <a:gd name="connsiteX442" fmla="*/ 251902 w 5227821"/>
              <a:gd name="connsiteY442" fmla="*/ 805175 h 1257266"/>
              <a:gd name="connsiteX443" fmla="*/ 274461 w 5227821"/>
              <a:gd name="connsiteY443" fmla="*/ 797644 h 1257266"/>
              <a:gd name="connsiteX444" fmla="*/ 281980 w 5227821"/>
              <a:gd name="connsiteY444" fmla="*/ 797644 h 1257266"/>
              <a:gd name="connsiteX445" fmla="*/ 297019 w 5227821"/>
              <a:gd name="connsiteY445" fmla="*/ 790113 h 1257266"/>
              <a:gd name="connsiteX446" fmla="*/ 293259 w 5227821"/>
              <a:gd name="connsiteY446" fmla="*/ 786348 h 1257266"/>
              <a:gd name="connsiteX447" fmla="*/ 327097 w 5227821"/>
              <a:gd name="connsiteY447" fmla="*/ 763755 h 1257266"/>
              <a:gd name="connsiteX448" fmla="*/ 236863 w 5227821"/>
              <a:gd name="connsiteY448" fmla="*/ 786348 h 1257266"/>
              <a:gd name="connsiteX449" fmla="*/ 199266 w 5227821"/>
              <a:gd name="connsiteY449" fmla="*/ 790113 h 1257266"/>
              <a:gd name="connsiteX450" fmla="*/ 330857 w 5227821"/>
              <a:gd name="connsiteY450" fmla="*/ 726101 h 1257266"/>
              <a:gd name="connsiteX451" fmla="*/ 357175 w 5227821"/>
              <a:gd name="connsiteY451" fmla="*/ 699743 h 1257266"/>
              <a:gd name="connsiteX452" fmla="*/ 364695 w 5227821"/>
              <a:gd name="connsiteY452" fmla="*/ 699743 h 1257266"/>
              <a:gd name="connsiteX453" fmla="*/ 364695 w 5227821"/>
              <a:gd name="connsiteY453" fmla="*/ 688447 h 1257266"/>
              <a:gd name="connsiteX454" fmla="*/ 402292 w 5227821"/>
              <a:gd name="connsiteY454" fmla="*/ 650793 h 1257266"/>
              <a:gd name="connsiteX455" fmla="*/ 511325 w 5227821"/>
              <a:gd name="connsiteY455" fmla="*/ 579251 h 1257266"/>
              <a:gd name="connsiteX456" fmla="*/ 551742 w 5227821"/>
              <a:gd name="connsiteY456" fmla="*/ 534537 h 1257266"/>
              <a:gd name="connsiteX457" fmla="*/ 561872 w 5227821"/>
              <a:gd name="connsiteY457" fmla="*/ 527136 h 1257266"/>
              <a:gd name="connsiteX458" fmla="*/ 558113 w 5227821"/>
              <a:gd name="connsiteY458" fmla="*/ 526214 h 1257266"/>
              <a:gd name="connsiteX459" fmla="*/ 429342 w 5227821"/>
              <a:gd name="connsiteY459" fmla="*/ 481970 h 1257266"/>
              <a:gd name="connsiteX460" fmla="*/ 372945 w 5227821"/>
              <a:gd name="connsiteY460" fmla="*/ 474440 h 1257266"/>
              <a:gd name="connsiteX461" fmla="*/ 361666 w 5227821"/>
              <a:gd name="connsiteY461" fmla="*/ 470674 h 1257266"/>
              <a:gd name="connsiteX462" fmla="*/ 391744 w 5227821"/>
              <a:gd name="connsiteY462" fmla="*/ 470674 h 1257266"/>
              <a:gd name="connsiteX463" fmla="*/ 395504 w 5227821"/>
              <a:gd name="connsiteY463" fmla="*/ 474440 h 1257266"/>
              <a:gd name="connsiteX464" fmla="*/ 406783 w 5227821"/>
              <a:gd name="connsiteY464" fmla="*/ 470674 h 1257266"/>
              <a:gd name="connsiteX465" fmla="*/ 406783 w 5227821"/>
              <a:gd name="connsiteY465" fmla="*/ 463144 h 1257266"/>
              <a:gd name="connsiteX466" fmla="*/ 495607 w 5227821"/>
              <a:gd name="connsiteY466" fmla="*/ 493737 h 1257266"/>
              <a:gd name="connsiteX467" fmla="*/ 582131 w 5227821"/>
              <a:gd name="connsiteY467" fmla="*/ 512335 h 1257266"/>
              <a:gd name="connsiteX468" fmla="*/ 609078 w 5227821"/>
              <a:gd name="connsiteY468" fmla="*/ 492647 h 1257266"/>
              <a:gd name="connsiteX469" fmla="*/ 618947 w 5227821"/>
              <a:gd name="connsiteY469" fmla="*/ 494530 h 1257266"/>
              <a:gd name="connsiteX470" fmla="*/ 624178 w 5227821"/>
              <a:gd name="connsiteY470" fmla="*/ 495306 h 1257266"/>
              <a:gd name="connsiteX471" fmla="*/ 639060 w 5227821"/>
              <a:gd name="connsiteY471" fmla="*/ 493374 h 1257266"/>
              <a:gd name="connsiteX472" fmla="*/ 653196 w 5227821"/>
              <a:gd name="connsiteY472" fmla="*/ 487588 h 1257266"/>
              <a:gd name="connsiteX473" fmla="*/ 661962 w 5227821"/>
              <a:gd name="connsiteY473" fmla="*/ 483064 h 1257266"/>
              <a:gd name="connsiteX474" fmla="*/ 658686 w 5227821"/>
              <a:gd name="connsiteY474" fmla="*/ 481970 h 1257266"/>
              <a:gd name="connsiteX475" fmla="*/ 632367 w 5227821"/>
              <a:gd name="connsiteY475" fmla="*/ 485736 h 1257266"/>
              <a:gd name="connsiteX476" fmla="*/ 673725 w 5227821"/>
              <a:gd name="connsiteY476" fmla="*/ 470674 h 1257266"/>
              <a:gd name="connsiteX477" fmla="*/ 669965 w 5227821"/>
              <a:gd name="connsiteY477" fmla="*/ 466909 h 1257266"/>
              <a:gd name="connsiteX478" fmla="*/ 715082 w 5227821"/>
              <a:gd name="connsiteY478" fmla="*/ 444317 h 1257266"/>
              <a:gd name="connsiteX479" fmla="*/ 696283 w 5227821"/>
              <a:gd name="connsiteY479" fmla="*/ 440551 h 1257266"/>
              <a:gd name="connsiteX480" fmla="*/ 594770 w 5227821"/>
              <a:gd name="connsiteY480" fmla="*/ 474440 h 1257266"/>
              <a:gd name="connsiteX481" fmla="*/ 523335 w 5227821"/>
              <a:gd name="connsiteY481" fmla="*/ 489501 h 1257266"/>
              <a:gd name="connsiteX482" fmla="*/ 545893 w 5227821"/>
              <a:gd name="connsiteY482" fmla="*/ 478205 h 1257266"/>
              <a:gd name="connsiteX483" fmla="*/ 538374 w 5227821"/>
              <a:gd name="connsiteY483" fmla="*/ 478205 h 1257266"/>
              <a:gd name="connsiteX484" fmla="*/ 613569 w 5227821"/>
              <a:gd name="connsiteY484" fmla="*/ 455613 h 1257266"/>
              <a:gd name="connsiteX485" fmla="*/ 636127 w 5227821"/>
              <a:gd name="connsiteY485" fmla="*/ 448082 h 1257266"/>
              <a:gd name="connsiteX486" fmla="*/ 643647 w 5227821"/>
              <a:gd name="connsiteY486" fmla="*/ 448082 h 1257266"/>
              <a:gd name="connsiteX487" fmla="*/ 658686 w 5227821"/>
              <a:gd name="connsiteY487" fmla="*/ 440551 h 1257266"/>
              <a:gd name="connsiteX488" fmla="*/ 654926 w 5227821"/>
              <a:gd name="connsiteY488" fmla="*/ 436786 h 1257266"/>
              <a:gd name="connsiteX489" fmla="*/ 688764 w 5227821"/>
              <a:gd name="connsiteY489" fmla="*/ 414193 h 1257266"/>
              <a:gd name="connsiteX490" fmla="*/ 598530 w 5227821"/>
              <a:gd name="connsiteY490" fmla="*/ 436786 h 1257266"/>
              <a:gd name="connsiteX491" fmla="*/ 560932 w 5227821"/>
              <a:gd name="connsiteY491" fmla="*/ 440551 h 1257266"/>
              <a:gd name="connsiteX492" fmla="*/ 692523 w 5227821"/>
              <a:gd name="connsiteY492" fmla="*/ 376539 h 1257266"/>
              <a:gd name="connsiteX493" fmla="*/ 718841 w 5227821"/>
              <a:gd name="connsiteY493" fmla="*/ 350182 h 1257266"/>
              <a:gd name="connsiteX494" fmla="*/ 726361 w 5227821"/>
              <a:gd name="connsiteY494" fmla="*/ 350182 h 1257266"/>
              <a:gd name="connsiteX495" fmla="*/ 726361 w 5227821"/>
              <a:gd name="connsiteY495" fmla="*/ 338886 h 1257266"/>
              <a:gd name="connsiteX496" fmla="*/ 763958 w 5227821"/>
              <a:gd name="connsiteY496" fmla="*/ 301232 h 1257266"/>
              <a:gd name="connsiteX497" fmla="*/ 872991 w 5227821"/>
              <a:gd name="connsiteY497" fmla="*/ 229689 h 1257266"/>
              <a:gd name="connsiteX498" fmla="*/ 970744 w 5227821"/>
              <a:gd name="connsiteY498" fmla="*/ 143085 h 1257266"/>
              <a:gd name="connsiteX499" fmla="*/ 993302 w 5227821"/>
              <a:gd name="connsiteY499" fmla="*/ 146851 h 1257266"/>
              <a:gd name="connsiteX500" fmla="*/ 1087296 w 5227821"/>
              <a:gd name="connsiteY500" fmla="*/ 124258 h 1257266"/>
              <a:gd name="connsiteX501" fmla="*/ 1109854 w 5227821"/>
              <a:gd name="connsiteY501" fmla="*/ 120493 h 1257266"/>
              <a:gd name="connsiteX502" fmla="*/ 1109854 w 5227821"/>
              <a:gd name="connsiteY502" fmla="*/ 112962 h 1257266"/>
              <a:gd name="connsiteX503" fmla="*/ 1173770 w 5227821"/>
              <a:gd name="connsiteY503" fmla="*/ 120493 h 1257266"/>
              <a:gd name="connsiteX504" fmla="*/ 1166250 w 5227821"/>
              <a:gd name="connsiteY504" fmla="*/ 131789 h 1257266"/>
              <a:gd name="connsiteX505" fmla="*/ 1290322 w 5227821"/>
              <a:gd name="connsiteY505" fmla="*/ 154381 h 1257266"/>
              <a:gd name="connsiteX506" fmla="*/ 1286562 w 5227821"/>
              <a:gd name="connsiteY506" fmla="*/ 158147 h 1257266"/>
              <a:gd name="connsiteX507" fmla="*/ 1316640 w 5227821"/>
              <a:gd name="connsiteY507" fmla="*/ 161912 h 1257266"/>
              <a:gd name="connsiteX508" fmla="*/ 1399354 w 5227821"/>
              <a:gd name="connsiteY508" fmla="*/ 101666 h 1257266"/>
              <a:gd name="connsiteX509" fmla="*/ 1380555 w 5227821"/>
              <a:gd name="connsiteY509" fmla="*/ 82839 h 1257266"/>
              <a:gd name="connsiteX510" fmla="*/ 1369276 w 5227821"/>
              <a:gd name="connsiteY510" fmla="*/ 90370 h 1257266"/>
              <a:gd name="connsiteX511" fmla="*/ 1369276 w 5227821"/>
              <a:gd name="connsiteY511" fmla="*/ 86604 h 1257266"/>
              <a:gd name="connsiteX512" fmla="*/ 1275283 w 5227821"/>
              <a:gd name="connsiteY512" fmla="*/ 86604 h 1257266"/>
              <a:gd name="connsiteX513" fmla="*/ 1252724 w 5227821"/>
              <a:gd name="connsiteY513" fmla="*/ 97900 h 1257266"/>
              <a:gd name="connsiteX514" fmla="*/ 1282802 w 5227821"/>
              <a:gd name="connsiteY514" fmla="*/ 71543 h 1257266"/>
              <a:gd name="connsiteX515" fmla="*/ 1309120 w 5227821"/>
              <a:gd name="connsiteY515" fmla="*/ 67777 h 1257266"/>
              <a:gd name="connsiteX516" fmla="*/ 1399354 w 5227821"/>
              <a:gd name="connsiteY516" fmla="*/ 82839 h 1257266"/>
              <a:gd name="connsiteX517" fmla="*/ 1455750 w 5227821"/>
              <a:gd name="connsiteY517" fmla="*/ 56481 h 1257266"/>
              <a:gd name="connsiteX518" fmla="*/ 1440711 w 5227821"/>
              <a:gd name="connsiteY518" fmla="*/ 52716 h 1257266"/>
              <a:gd name="connsiteX519" fmla="*/ 1508387 w 5227821"/>
              <a:gd name="connsiteY519" fmla="*/ 22593 h 1257266"/>
              <a:gd name="connsiteX520" fmla="*/ 1474549 w 5227821"/>
              <a:gd name="connsiteY520" fmla="*/ 18827 h 1257266"/>
              <a:gd name="connsiteX521" fmla="*/ 1594861 w 5227821"/>
              <a:gd name="connsiteY521" fmla="*/ 0 h 1257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</a:cxnLst>
            <a:rect l="l" t="t" r="r" b="b"/>
            <a:pathLst>
              <a:path w="5227821" h="1257266">
                <a:moveTo>
                  <a:pt x="883995" y="1158893"/>
                </a:moveTo>
                <a:lnTo>
                  <a:pt x="891058" y="1159121"/>
                </a:lnTo>
                <a:cubicBezTo>
                  <a:pt x="883539" y="1159121"/>
                  <a:pt x="883539" y="1159121"/>
                  <a:pt x="883539" y="1159121"/>
                </a:cubicBezTo>
                <a:close/>
                <a:moveTo>
                  <a:pt x="4615788" y="826594"/>
                </a:moveTo>
                <a:lnTo>
                  <a:pt x="4616959" y="827767"/>
                </a:lnTo>
                <a:lnTo>
                  <a:pt x="4617450" y="827029"/>
                </a:lnTo>
                <a:close/>
                <a:moveTo>
                  <a:pt x="4610559" y="825984"/>
                </a:moveTo>
                <a:lnTo>
                  <a:pt x="4591373" y="828386"/>
                </a:lnTo>
                <a:lnTo>
                  <a:pt x="4584680" y="830752"/>
                </a:lnTo>
                <a:lnTo>
                  <a:pt x="4583122" y="831532"/>
                </a:lnTo>
                <a:cubicBezTo>
                  <a:pt x="4583122" y="835298"/>
                  <a:pt x="4590641" y="835298"/>
                  <a:pt x="4598161" y="835298"/>
                </a:cubicBezTo>
                <a:cubicBezTo>
                  <a:pt x="4598161" y="835298"/>
                  <a:pt x="4598161" y="835298"/>
                  <a:pt x="4600041" y="833886"/>
                </a:cubicBezTo>
                <a:close/>
                <a:moveTo>
                  <a:pt x="4763331" y="809097"/>
                </a:moveTo>
                <a:lnTo>
                  <a:pt x="4764025" y="815097"/>
                </a:lnTo>
                <a:lnTo>
                  <a:pt x="4768080" y="809559"/>
                </a:lnTo>
                <a:close/>
                <a:moveTo>
                  <a:pt x="4653526" y="808089"/>
                </a:moveTo>
                <a:cubicBezTo>
                  <a:pt x="4649178" y="809559"/>
                  <a:pt x="4645889" y="813325"/>
                  <a:pt x="4644009" y="820856"/>
                </a:cubicBezTo>
                <a:cubicBezTo>
                  <a:pt x="4647769" y="824621"/>
                  <a:pt x="4655288" y="824621"/>
                  <a:pt x="4659047" y="828386"/>
                </a:cubicBezTo>
                <a:lnTo>
                  <a:pt x="4642634" y="833009"/>
                </a:lnTo>
                <a:lnTo>
                  <a:pt x="4658317" y="846594"/>
                </a:lnTo>
                <a:cubicBezTo>
                  <a:pt x="4680875" y="839063"/>
                  <a:pt x="4677115" y="827767"/>
                  <a:pt x="4684635" y="816471"/>
                </a:cubicBezTo>
                <a:lnTo>
                  <a:pt x="4683861" y="813370"/>
                </a:lnTo>
                <a:lnTo>
                  <a:pt x="4669387" y="809089"/>
                </a:lnTo>
                <a:cubicBezTo>
                  <a:pt x="4663277" y="807441"/>
                  <a:pt x="4657873" y="806618"/>
                  <a:pt x="4653526" y="808089"/>
                </a:cubicBezTo>
                <a:close/>
                <a:moveTo>
                  <a:pt x="4720496" y="800558"/>
                </a:moveTo>
                <a:cubicBezTo>
                  <a:pt x="4715209" y="801322"/>
                  <a:pt x="4709804" y="803911"/>
                  <a:pt x="4704165" y="809559"/>
                </a:cubicBezTo>
                <a:cubicBezTo>
                  <a:pt x="4704165" y="809559"/>
                  <a:pt x="4704165" y="809559"/>
                  <a:pt x="4711684" y="817090"/>
                </a:cubicBezTo>
                <a:lnTo>
                  <a:pt x="4703433" y="816325"/>
                </a:lnTo>
                <a:lnTo>
                  <a:pt x="4703433" y="824001"/>
                </a:lnTo>
                <a:cubicBezTo>
                  <a:pt x="4703433" y="824001"/>
                  <a:pt x="4703433" y="824001"/>
                  <a:pt x="4718473" y="820236"/>
                </a:cubicBezTo>
                <a:cubicBezTo>
                  <a:pt x="4725992" y="827767"/>
                  <a:pt x="4729751" y="839063"/>
                  <a:pt x="4733511" y="846594"/>
                </a:cubicBezTo>
                <a:cubicBezTo>
                  <a:pt x="4725992" y="842828"/>
                  <a:pt x="4718473" y="842828"/>
                  <a:pt x="4710953" y="850359"/>
                </a:cubicBezTo>
                <a:cubicBezTo>
                  <a:pt x="4710953" y="850359"/>
                  <a:pt x="4710953" y="850359"/>
                  <a:pt x="4692155" y="842828"/>
                </a:cubicBezTo>
                <a:cubicBezTo>
                  <a:pt x="4680875" y="846594"/>
                  <a:pt x="4665836" y="846594"/>
                  <a:pt x="4658317" y="854125"/>
                </a:cubicBezTo>
                <a:cubicBezTo>
                  <a:pt x="4658317" y="854125"/>
                  <a:pt x="4658317" y="854125"/>
                  <a:pt x="4677115" y="854125"/>
                </a:cubicBezTo>
                <a:cubicBezTo>
                  <a:pt x="4677115" y="854125"/>
                  <a:pt x="4677115" y="854125"/>
                  <a:pt x="4673355" y="857890"/>
                </a:cubicBezTo>
                <a:cubicBezTo>
                  <a:pt x="4707193" y="854125"/>
                  <a:pt x="4722232" y="861655"/>
                  <a:pt x="4741031" y="857890"/>
                </a:cubicBezTo>
                <a:cubicBezTo>
                  <a:pt x="4744791" y="861655"/>
                  <a:pt x="4744791" y="861655"/>
                  <a:pt x="4748551" y="861655"/>
                </a:cubicBezTo>
                <a:cubicBezTo>
                  <a:pt x="4752310" y="861655"/>
                  <a:pt x="4752310" y="857890"/>
                  <a:pt x="4752310" y="857890"/>
                </a:cubicBezTo>
                <a:cubicBezTo>
                  <a:pt x="4756070" y="854125"/>
                  <a:pt x="4759829" y="854125"/>
                  <a:pt x="4763589" y="854125"/>
                </a:cubicBezTo>
                <a:cubicBezTo>
                  <a:pt x="4763589" y="850359"/>
                  <a:pt x="4759829" y="854125"/>
                  <a:pt x="4752310" y="854125"/>
                </a:cubicBezTo>
                <a:cubicBezTo>
                  <a:pt x="4752310" y="846594"/>
                  <a:pt x="4748551" y="842828"/>
                  <a:pt x="4756070" y="835298"/>
                </a:cubicBezTo>
                <a:cubicBezTo>
                  <a:pt x="4750430" y="829650"/>
                  <a:pt x="4745731" y="824001"/>
                  <a:pt x="4744321" y="817412"/>
                </a:cubicBezTo>
                <a:lnTo>
                  <a:pt x="4747974" y="806649"/>
                </a:lnTo>
                <a:lnTo>
                  <a:pt x="4736122" y="802499"/>
                </a:lnTo>
                <a:cubicBezTo>
                  <a:pt x="4730953" y="800852"/>
                  <a:pt x="4725783" y="799793"/>
                  <a:pt x="4720496" y="800558"/>
                </a:cubicBezTo>
                <a:close/>
                <a:moveTo>
                  <a:pt x="1676438" y="90716"/>
                </a:moveTo>
                <a:lnTo>
                  <a:pt x="1850993" y="94135"/>
                </a:lnTo>
                <a:cubicBezTo>
                  <a:pt x="1918198" y="94135"/>
                  <a:pt x="1985874" y="94135"/>
                  <a:pt x="2046029" y="97900"/>
                </a:cubicBezTo>
                <a:cubicBezTo>
                  <a:pt x="2046029" y="97900"/>
                  <a:pt x="2046029" y="97900"/>
                  <a:pt x="2057308" y="101666"/>
                </a:cubicBezTo>
                <a:cubicBezTo>
                  <a:pt x="1997153" y="97900"/>
                  <a:pt x="1910679" y="112962"/>
                  <a:pt x="1850523" y="97900"/>
                </a:cubicBezTo>
                <a:cubicBezTo>
                  <a:pt x="1797886" y="101666"/>
                  <a:pt x="1737731" y="94135"/>
                  <a:pt x="1692614" y="94135"/>
                </a:cubicBezTo>
                <a:close/>
                <a:moveTo>
                  <a:pt x="1675636" y="90546"/>
                </a:moveTo>
                <a:lnTo>
                  <a:pt x="1676438" y="90716"/>
                </a:lnTo>
                <a:lnTo>
                  <a:pt x="1674865" y="90685"/>
                </a:lnTo>
                <a:close/>
                <a:moveTo>
                  <a:pt x="2005634" y="36919"/>
                </a:moveTo>
                <a:lnTo>
                  <a:pt x="2008432" y="37654"/>
                </a:lnTo>
                <a:cubicBezTo>
                  <a:pt x="2000912" y="37654"/>
                  <a:pt x="2000912" y="37654"/>
                  <a:pt x="2000912" y="37654"/>
                </a:cubicBezTo>
                <a:close/>
                <a:moveTo>
                  <a:pt x="1594861" y="0"/>
                </a:moveTo>
                <a:cubicBezTo>
                  <a:pt x="1621179" y="0"/>
                  <a:pt x="1651257" y="0"/>
                  <a:pt x="1655016" y="11296"/>
                </a:cubicBezTo>
                <a:cubicBezTo>
                  <a:pt x="1658776" y="15062"/>
                  <a:pt x="1655016" y="15062"/>
                  <a:pt x="1651257" y="18827"/>
                </a:cubicBezTo>
                <a:cubicBezTo>
                  <a:pt x="1685094" y="22593"/>
                  <a:pt x="1730211" y="22593"/>
                  <a:pt x="1767809" y="22593"/>
                </a:cubicBezTo>
                <a:cubicBezTo>
                  <a:pt x="1925718" y="26358"/>
                  <a:pt x="2079867" y="30123"/>
                  <a:pt x="2230256" y="26358"/>
                </a:cubicBezTo>
                <a:cubicBezTo>
                  <a:pt x="2241536" y="30123"/>
                  <a:pt x="2256575" y="33889"/>
                  <a:pt x="2275373" y="30123"/>
                </a:cubicBezTo>
                <a:cubicBezTo>
                  <a:pt x="2218977" y="41420"/>
                  <a:pt x="2117464" y="33889"/>
                  <a:pt x="2046029" y="33889"/>
                </a:cubicBezTo>
                <a:cubicBezTo>
                  <a:pt x="2036630" y="32006"/>
                  <a:pt x="2029111" y="32947"/>
                  <a:pt x="2022061" y="34359"/>
                </a:cubicBezTo>
                <a:lnTo>
                  <a:pt x="2005634" y="36919"/>
                </a:lnTo>
                <a:lnTo>
                  <a:pt x="1983817" y="31183"/>
                </a:lnTo>
                <a:cubicBezTo>
                  <a:pt x="1955091" y="28711"/>
                  <a:pt x="1916318" y="35772"/>
                  <a:pt x="1888120" y="30123"/>
                </a:cubicBezTo>
                <a:cubicBezTo>
                  <a:pt x="1805406" y="30123"/>
                  <a:pt x="1749010" y="22593"/>
                  <a:pt x="1662536" y="26358"/>
                </a:cubicBezTo>
                <a:cubicBezTo>
                  <a:pt x="1655016" y="30123"/>
                  <a:pt x="1655016" y="33889"/>
                  <a:pt x="1655016" y="37654"/>
                </a:cubicBezTo>
                <a:cubicBezTo>
                  <a:pt x="1636218" y="37654"/>
                  <a:pt x="1617419" y="37654"/>
                  <a:pt x="1609900" y="30123"/>
                </a:cubicBezTo>
                <a:cubicBezTo>
                  <a:pt x="1591101" y="41420"/>
                  <a:pt x="1572302" y="41420"/>
                  <a:pt x="1553503" y="52716"/>
                </a:cubicBezTo>
                <a:cubicBezTo>
                  <a:pt x="1553503" y="52716"/>
                  <a:pt x="1553503" y="52716"/>
                  <a:pt x="1587341" y="56481"/>
                </a:cubicBezTo>
                <a:cubicBezTo>
                  <a:pt x="1579822" y="64012"/>
                  <a:pt x="1557263" y="64012"/>
                  <a:pt x="1542224" y="56481"/>
                </a:cubicBezTo>
                <a:cubicBezTo>
                  <a:pt x="1515906" y="56481"/>
                  <a:pt x="1549744" y="67777"/>
                  <a:pt x="1527185" y="71543"/>
                </a:cubicBezTo>
                <a:cubicBezTo>
                  <a:pt x="1527185" y="71543"/>
                  <a:pt x="1527185" y="71543"/>
                  <a:pt x="1478309" y="79073"/>
                </a:cubicBezTo>
                <a:cubicBezTo>
                  <a:pt x="1527185" y="90370"/>
                  <a:pt x="1609900" y="82839"/>
                  <a:pt x="1658776" y="90370"/>
                </a:cubicBezTo>
                <a:lnTo>
                  <a:pt x="1674865" y="90685"/>
                </a:lnTo>
                <a:lnTo>
                  <a:pt x="1658306" y="93664"/>
                </a:lnTo>
                <a:cubicBezTo>
                  <a:pt x="1646557" y="96959"/>
                  <a:pt x="1634338" y="101666"/>
                  <a:pt x="1621179" y="101666"/>
                </a:cubicBezTo>
                <a:cubicBezTo>
                  <a:pt x="1613659" y="109197"/>
                  <a:pt x="1598620" y="116727"/>
                  <a:pt x="1579822" y="128024"/>
                </a:cubicBezTo>
                <a:cubicBezTo>
                  <a:pt x="1579822" y="128024"/>
                  <a:pt x="1579822" y="128024"/>
                  <a:pt x="1576062" y="120493"/>
                </a:cubicBezTo>
                <a:cubicBezTo>
                  <a:pt x="1579822" y="112962"/>
                  <a:pt x="1598620" y="124258"/>
                  <a:pt x="1598620" y="112962"/>
                </a:cubicBezTo>
                <a:cubicBezTo>
                  <a:pt x="1598620" y="112962"/>
                  <a:pt x="1598620" y="112962"/>
                  <a:pt x="1587341" y="109197"/>
                </a:cubicBezTo>
                <a:cubicBezTo>
                  <a:pt x="1583581" y="112962"/>
                  <a:pt x="1572302" y="109197"/>
                  <a:pt x="1564783" y="109197"/>
                </a:cubicBezTo>
                <a:cubicBezTo>
                  <a:pt x="1564783" y="109197"/>
                  <a:pt x="1564783" y="109197"/>
                  <a:pt x="1553503" y="105431"/>
                </a:cubicBezTo>
                <a:cubicBezTo>
                  <a:pt x="1583581" y="101666"/>
                  <a:pt x="1609900" y="109197"/>
                  <a:pt x="1621179" y="94135"/>
                </a:cubicBezTo>
                <a:cubicBezTo>
                  <a:pt x="1564783" y="82839"/>
                  <a:pt x="1508387" y="94135"/>
                  <a:pt x="1448231" y="86604"/>
                </a:cubicBezTo>
                <a:cubicBezTo>
                  <a:pt x="1433192" y="82839"/>
                  <a:pt x="1425672" y="94135"/>
                  <a:pt x="1410633" y="97900"/>
                </a:cubicBezTo>
                <a:cubicBezTo>
                  <a:pt x="1410633" y="97900"/>
                  <a:pt x="1410633" y="97900"/>
                  <a:pt x="1444471" y="101666"/>
                </a:cubicBezTo>
                <a:cubicBezTo>
                  <a:pt x="1440711" y="109197"/>
                  <a:pt x="1384315" y="116727"/>
                  <a:pt x="1380555" y="131789"/>
                </a:cubicBezTo>
                <a:cubicBezTo>
                  <a:pt x="1373036" y="124258"/>
                  <a:pt x="1399354" y="120493"/>
                  <a:pt x="1380555" y="112962"/>
                </a:cubicBezTo>
                <a:cubicBezTo>
                  <a:pt x="1380555" y="120493"/>
                  <a:pt x="1350478" y="124258"/>
                  <a:pt x="1369276" y="131789"/>
                </a:cubicBezTo>
                <a:cubicBezTo>
                  <a:pt x="1365517" y="128024"/>
                  <a:pt x="1361757" y="131789"/>
                  <a:pt x="1357997" y="131789"/>
                </a:cubicBezTo>
                <a:cubicBezTo>
                  <a:pt x="1365517" y="146851"/>
                  <a:pt x="1361757" y="143085"/>
                  <a:pt x="1354237" y="146851"/>
                </a:cubicBezTo>
                <a:cubicBezTo>
                  <a:pt x="1357997" y="143085"/>
                  <a:pt x="1357997" y="143085"/>
                  <a:pt x="1350478" y="139320"/>
                </a:cubicBezTo>
                <a:cubicBezTo>
                  <a:pt x="1350478" y="139320"/>
                  <a:pt x="1350478" y="139320"/>
                  <a:pt x="1327919" y="161912"/>
                </a:cubicBezTo>
                <a:cubicBezTo>
                  <a:pt x="1365517" y="161912"/>
                  <a:pt x="1391835" y="184504"/>
                  <a:pt x="1436952" y="173208"/>
                </a:cubicBezTo>
                <a:cubicBezTo>
                  <a:pt x="1455750" y="173208"/>
                  <a:pt x="1451990" y="184504"/>
                  <a:pt x="1459510" y="192035"/>
                </a:cubicBezTo>
                <a:cubicBezTo>
                  <a:pt x="1440711" y="192035"/>
                  <a:pt x="1436952" y="199566"/>
                  <a:pt x="1421913" y="207097"/>
                </a:cubicBezTo>
                <a:cubicBezTo>
                  <a:pt x="1429432" y="210862"/>
                  <a:pt x="1440711" y="207097"/>
                  <a:pt x="1451990" y="207097"/>
                </a:cubicBezTo>
                <a:cubicBezTo>
                  <a:pt x="1451990" y="207097"/>
                  <a:pt x="1451990" y="207097"/>
                  <a:pt x="1451990" y="210862"/>
                </a:cubicBezTo>
                <a:cubicBezTo>
                  <a:pt x="1474549" y="214628"/>
                  <a:pt x="1485828" y="210862"/>
                  <a:pt x="1512146" y="210862"/>
                </a:cubicBezTo>
                <a:cubicBezTo>
                  <a:pt x="1512146" y="210862"/>
                  <a:pt x="1512146" y="210862"/>
                  <a:pt x="1512146" y="214628"/>
                </a:cubicBezTo>
                <a:cubicBezTo>
                  <a:pt x="1512146" y="214628"/>
                  <a:pt x="1512146" y="214628"/>
                  <a:pt x="1534705" y="214628"/>
                </a:cubicBezTo>
                <a:cubicBezTo>
                  <a:pt x="1534705" y="210862"/>
                  <a:pt x="1538464" y="210862"/>
                  <a:pt x="1538464" y="210862"/>
                </a:cubicBezTo>
                <a:cubicBezTo>
                  <a:pt x="1534705" y="214628"/>
                  <a:pt x="1530945" y="218393"/>
                  <a:pt x="1538464" y="218393"/>
                </a:cubicBezTo>
                <a:cubicBezTo>
                  <a:pt x="1530945" y="222158"/>
                  <a:pt x="1523426" y="222158"/>
                  <a:pt x="1515906" y="225924"/>
                </a:cubicBezTo>
                <a:cubicBezTo>
                  <a:pt x="1523426" y="229689"/>
                  <a:pt x="1538464" y="225924"/>
                  <a:pt x="1549744" y="229689"/>
                </a:cubicBezTo>
                <a:cubicBezTo>
                  <a:pt x="1549744" y="229689"/>
                  <a:pt x="1549744" y="233455"/>
                  <a:pt x="1542224" y="237220"/>
                </a:cubicBezTo>
                <a:cubicBezTo>
                  <a:pt x="1609900" y="252282"/>
                  <a:pt x="1651257" y="222158"/>
                  <a:pt x="1722692" y="225924"/>
                </a:cubicBezTo>
                <a:cubicBezTo>
                  <a:pt x="1730211" y="222158"/>
                  <a:pt x="1745250" y="214628"/>
                  <a:pt x="1764049" y="218393"/>
                </a:cubicBezTo>
                <a:cubicBezTo>
                  <a:pt x="1767809" y="225924"/>
                  <a:pt x="1790367" y="218393"/>
                  <a:pt x="1801646" y="218393"/>
                </a:cubicBezTo>
                <a:cubicBezTo>
                  <a:pt x="1801646" y="218393"/>
                  <a:pt x="1801646" y="218393"/>
                  <a:pt x="1809166" y="214628"/>
                </a:cubicBezTo>
                <a:cubicBezTo>
                  <a:pt x="1846763" y="225924"/>
                  <a:pt x="1899399" y="214628"/>
                  <a:pt x="1940757" y="214628"/>
                </a:cubicBezTo>
                <a:cubicBezTo>
                  <a:pt x="1985873" y="188270"/>
                  <a:pt x="2030990" y="225924"/>
                  <a:pt x="2083627" y="203331"/>
                </a:cubicBezTo>
                <a:cubicBezTo>
                  <a:pt x="2091146" y="207097"/>
                  <a:pt x="2109945" y="203331"/>
                  <a:pt x="2124984" y="203331"/>
                </a:cubicBezTo>
                <a:cubicBezTo>
                  <a:pt x="2124984" y="203331"/>
                  <a:pt x="2124984" y="203331"/>
                  <a:pt x="2128744" y="199566"/>
                </a:cubicBezTo>
                <a:cubicBezTo>
                  <a:pt x="2128744" y="199566"/>
                  <a:pt x="2128744" y="199566"/>
                  <a:pt x="2117464" y="195801"/>
                </a:cubicBezTo>
                <a:cubicBezTo>
                  <a:pt x="2124984" y="195801"/>
                  <a:pt x="2128744" y="195801"/>
                  <a:pt x="2128744" y="192035"/>
                </a:cubicBezTo>
                <a:cubicBezTo>
                  <a:pt x="2128744" y="192035"/>
                  <a:pt x="2128744" y="192035"/>
                  <a:pt x="2121224" y="188270"/>
                </a:cubicBezTo>
                <a:cubicBezTo>
                  <a:pt x="2143782" y="195801"/>
                  <a:pt x="2170101" y="176974"/>
                  <a:pt x="2192659" y="184504"/>
                </a:cubicBezTo>
                <a:cubicBezTo>
                  <a:pt x="2196419" y="188270"/>
                  <a:pt x="2185140" y="195801"/>
                  <a:pt x="2196419" y="199566"/>
                </a:cubicBezTo>
                <a:cubicBezTo>
                  <a:pt x="2203938" y="199566"/>
                  <a:pt x="2207698" y="199566"/>
                  <a:pt x="2215218" y="195801"/>
                </a:cubicBezTo>
                <a:cubicBezTo>
                  <a:pt x="2215218" y="195801"/>
                  <a:pt x="2215218" y="195801"/>
                  <a:pt x="2203938" y="188270"/>
                </a:cubicBezTo>
                <a:cubicBezTo>
                  <a:pt x="2218977" y="184504"/>
                  <a:pt x="2245295" y="192035"/>
                  <a:pt x="2271614" y="188270"/>
                </a:cubicBezTo>
                <a:cubicBezTo>
                  <a:pt x="2309211" y="188270"/>
                  <a:pt x="2354328" y="176974"/>
                  <a:pt x="2395685" y="184504"/>
                </a:cubicBezTo>
                <a:cubicBezTo>
                  <a:pt x="2391925" y="180739"/>
                  <a:pt x="2406964" y="169443"/>
                  <a:pt x="2422003" y="169443"/>
                </a:cubicBezTo>
                <a:cubicBezTo>
                  <a:pt x="2478399" y="176974"/>
                  <a:pt x="2534795" y="150616"/>
                  <a:pt x="2564873" y="180739"/>
                </a:cubicBezTo>
                <a:cubicBezTo>
                  <a:pt x="2628789" y="180739"/>
                  <a:pt x="2673906" y="184504"/>
                  <a:pt x="2737821" y="176974"/>
                </a:cubicBezTo>
                <a:cubicBezTo>
                  <a:pt x="2737821" y="176974"/>
                  <a:pt x="2737821" y="176974"/>
                  <a:pt x="2737821" y="169443"/>
                </a:cubicBezTo>
                <a:cubicBezTo>
                  <a:pt x="2756620" y="173208"/>
                  <a:pt x="2775419" y="173208"/>
                  <a:pt x="2794217" y="176974"/>
                </a:cubicBezTo>
                <a:cubicBezTo>
                  <a:pt x="2794217" y="176974"/>
                  <a:pt x="2794217" y="176974"/>
                  <a:pt x="2805496" y="169443"/>
                </a:cubicBezTo>
                <a:cubicBezTo>
                  <a:pt x="3076198" y="161912"/>
                  <a:pt x="3290503" y="158147"/>
                  <a:pt x="3568723" y="165678"/>
                </a:cubicBezTo>
                <a:cubicBezTo>
                  <a:pt x="3568723" y="165678"/>
                  <a:pt x="3568723" y="165678"/>
                  <a:pt x="3673996" y="158147"/>
                </a:cubicBezTo>
                <a:cubicBezTo>
                  <a:pt x="3673996" y="169443"/>
                  <a:pt x="3707834" y="158147"/>
                  <a:pt x="3719113" y="161912"/>
                </a:cubicBezTo>
                <a:cubicBezTo>
                  <a:pt x="3786788" y="154381"/>
                  <a:pt x="3828145" y="176974"/>
                  <a:pt x="3880782" y="150616"/>
                </a:cubicBezTo>
                <a:cubicBezTo>
                  <a:pt x="3880782" y="150616"/>
                  <a:pt x="3880782" y="150616"/>
                  <a:pt x="3869503" y="161912"/>
                </a:cubicBezTo>
                <a:cubicBezTo>
                  <a:pt x="3884541" y="169443"/>
                  <a:pt x="3914619" y="158147"/>
                  <a:pt x="3922139" y="169443"/>
                </a:cubicBezTo>
                <a:cubicBezTo>
                  <a:pt x="3959736" y="154381"/>
                  <a:pt x="4001093" y="169443"/>
                  <a:pt x="4046210" y="165678"/>
                </a:cubicBezTo>
                <a:cubicBezTo>
                  <a:pt x="4046210" y="165678"/>
                  <a:pt x="4046210" y="165678"/>
                  <a:pt x="4083807" y="165678"/>
                </a:cubicBezTo>
                <a:cubicBezTo>
                  <a:pt x="4083807" y="165678"/>
                  <a:pt x="4083807" y="165678"/>
                  <a:pt x="4083807" y="169443"/>
                </a:cubicBezTo>
                <a:cubicBezTo>
                  <a:pt x="4102606" y="176974"/>
                  <a:pt x="4162762" y="165678"/>
                  <a:pt x="4181561" y="173208"/>
                </a:cubicBezTo>
                <a:cubicBezTo>
                  <a:pt x="4211639" y="161912"/>
                  <a:pt x="4234197" y="184504"/>
                  <a:pt x="4264275" y="173208"/>
                </a:cubicBezTo>
                <a:cubicBezTo>
                  <a:pt x="4275554" y="184504"/>
                  <a:pt x="4298113" y="176974"/>
                  <a:pt x="4316911" y="184504"/>
                </a:cubicBezTo>
                <a:cubicBezTo>
                  <a:pt x="4350749" y="184504"/>
                  <a:pt x="4399626" y="195801"/>
                  <a:pt x="4440983" y="184504"/>
                </a:cubicBezTo>
                <a:cubicBezTo>
                  <a:pt x="4433463" y="184504"/>
                  <a:pt x="4433463" y="188270"/>
                  <a:pt x="4433463" y="192035"/>
                </a:cubicBezTo>
                <a:cubicBezTo>
                  <a:pt x="4467301" y="195801"/>
                  <a:pt x="4493619" y="192035"/>
                  <a:pt x="4512418" y="199566"/>
                </a:cubicBezTo>
                <a:cubicBezTo>
                  <a:pt x="4508658" y="214628"/>
                  <a:pt x="4534976" y="203331"/>
                  <a:pt x="4550015" y="203331"/>
                </a:cubicBezTo>
                <a:cubicBezTo>
                  <a:pt x="4550015" y="203331"/>
                  <a:pt x="4550015" y="203331"/>
                  <a:pt x="4557535" y="199566"/>
                </a:cubicBezTo>
                <a:cubicBezTo>
                  <a:pt x="4550015" y="210862"/>
                  <a:pt x="4595132" y="199566"/>
                  <a:pt x="4568814" y="207097"/>
                </a:cubicBezTo>
                <a:cubicBezTo>
                  <a:pt x="4583853" y="225924"/>
                  <a:pt x="4640249" y="210862"/>
                  <a:pt x="4644009" y="233455"/>
                </a:cubicBezTo>
                <a:cubicBezTo>
                  <a:pt x="4700405" y="218393"/>
                  <a:pt x="4722963" y="248516"/>
                  <a:pt x="4775599" y="237220"/>
                </a:cubicBezTo>
                <a:cubicBezTo>
                  <a:pt x="4794399" y="214628"/>
                  <a:pt x="4790639" y="214628"/>
                  <a:pt x="4828236" y="199566"/>
                </a:cubicBezTo>
                <a:cubicBezTo>
                  <a:pt x="4816957" y="192035"/>
                  <a:pt x="4771840" y="207097"/>
                  <a:pt x="4783119" y="188270"/>
                </a:cubicBezTo>
                <a:cubicBezTo>
                  <a:pt x="4801918" y="192035"/>
                  <a:pt x="4835755" y="173208"/>
                  <a:pt x="4828236" y="195801"/>
                </a:cubicBezTo>
                <a:cubicBezTo>
                  <a:pt x="4835755" y="188270"/>
                  <a:pt x="4854554" y="188270"/>
                  <a:pt x="4850795" y="180739"/>
                </a:cubicBezTo>
                <a:cubicBezTo>
                  <a:pt x="4824476" y="173208"/>
                  <a:pt x="4847035" y="143085"/>
                  <a:pt x="4794399" y="150616"/>
                </a:cubicBezTo>
                <a:cubicBezTo>
                  <a:pt x="4794399" y="150616"/>
                  <a:pt x="4794399" y="150616"/>
                  <a:pt x="4813197" y="143085"/>
                </a:cubicBezTo>
                <a:cubicBezTo>
                  <a:pt x="4805677" y="128024"/>
                  <a:pt x="4764321" y="139320"/>
                  <a:pt x="4738002" y="135554"/>
                </a:cubicBezTo>
                <a:cubicBezTo>
                  <a:pt x="4722963" y="146851"/>
                  <a:pt x="4696645" y="131789"/>
                  <a:pt x="4677847" y="139320"/>
                </a:cubicBezTo>
                <a:cubicBezTo>
                  <a:pt x="4689125" y="128024"/>
                  <a:pt x="4659047" y="124258"/>
                  <a:pt x="4644009" y="116727"/>
                </a:cubicBezTo>
                <a:cubicBezTo>
                  <a:pt x="4591373" y="128024"/>
                  <a:pt x="4565054" y="105431"/>
                  <a:pt x="4516177" y="109197"/>
                </a:cubicBezTo>
                <a:cubicBezTo>
                  <a:pt x="4508658" y="101666"/>
                  <a:pt x="4452262" y="112962"/>
                  <a:pt x="4444743" y="90370"/>
                </a:cubicBezTo>
                <a:cubicBezTo>
                  <a:pt x="4418425" y="90370"/>
                  <a:pt x="4403385" y="90370"/>
                  <a:pt x="4380827" y="82839"/>
                </a:cubicBezTo>
                <a:cubicBezTo>
                  <a:pt x="4380827" y="82839"/>
                  <a:pt x="4380827" y="82839"/>
                  <a:pt x="4365788" y="90370"/>
                </a:cubicBezTo>
                <a:cubicBezTo>
                  <a:pt x="4365788" y="90370"/>
                  <a:pt x="4362028" y="86604"/>
                  <a:pt x="4354509" y="86604"/>
                </a:cubicBezTo>
                <a:cubicBezTo>
                  <a:pt x="4346989" y="86604"/>
                  <a:pt x="4343229" y="79073"/>
                  <a:pt x="4331951" y="82839"/>
                </a:cubicBezTo>
                <a:cubicBezTo>
                  <a:pt x="4331951" y="82839"/>
                  <a:pt x="4331951" y="82839"/>
                  <a:pt x="4335710" y="67777"/>
                </a:cubicBezTo>
                <a:cubicBezTo>
                  <a:pt x="4380827" y="71543"/>
                  <a:pt x="4429703" y="75308"/>
                  <a:pt x="4474821" y="79073"/>
                </a:cubicBezTo>
                <a:cubicBezTo>
                  <a:pt x="4474821" y="101666"/>
                  <a:pt x="4531217" y="86604"/>
                  <a:pt x="4561295" y="90370"/>
                </a:cubicBezTo>
                <a:cubicBezTo>
                  <a:pt x="4602651" y="97900"/>
                  <a:pt x="4655288" y="82839"/>
                  <a:pt x="4681606" y="94135"/>
                </a:cubicBezTo>
                <a:cubicBezTo>
                  <a:pt x="4681606" y="94135"/>
                  <a:pt x="4681606" y="94135"/>
                  <a:pt x="4685366" y="97900"/>
                </a:cubicBezTo>
                <a:cubicBezTo>
                  <a:pt x="4719203" y="101666"/>
                  <a:pt x="4749281" y="120493"/>
                  <a:pt x="4801918" y="109197"/>
                </a:cubicBezTo>
                <a:cubicBezTo>
                  <a:pt x="4801918" y="109197"/>
                  <a:pt x="4801918" y="109197"/>
                  <a:pt x="4809437" y="112962"/>
                </a:cubicBezTo>
                <a:cubicBezTo>
                  <a:pt x="4809437" y="112962"/>
                  <a:pt x="4809437" y="112962"/>
                  <a:pt x="4824476" y="105431"/>
                </a:cubicBezTo>
                <a:cubicBezTo>
                  <a:pt x="4824476" y="105431"/>
                  <a:pt x="4824476" y="105431"/>
                  <a:pt x="4828236" y="109197"/>
                </a:cubicBezTo>
                <a:cubicBezTo>
                  <a:pt x="4824476" y="112962"/>
                  <a:pt x="4801918" y="116727"/>
                  <a:pt x="4805677" y="124258"/>
                </a:cubicBezTo>
                <a:cubicBezTo>
                  <a:pt x="4839515" y="128024"/>
                  <a:pt x="4865833" y="128024"/>
                  <a:pt x="4903431" y="124258"/>
                </a:cubicBezTo>
                <a:cubicBezTo>
                  <a:pt x="4888392" y="131789"/>
                  <a:pt x="4899671" y="150616"/>
                  <a:pt x="4925989" y="143085"/>
                </a:cubicBezTo>
                <a:cubicBezTo>
                  <a:pt x="4925989" y="143085"/>
                  <a:pt x="4925989" y="143085"/>
                  <a:pt x="4941028" y="143085"/>
                </a:cubicBezTo>
                <a:cubicBezTo>
                  <a:pt x="4971106" y="120493"/>
                  <a:pt x="4914710" y="128024"/>
                  <a:pt x="4922229" y="109197"/>
                </a:cubicBezTo>
                <a:cubicBezTo>
                  <a:pt x="4933509" y="105431"/>
                  <a:pt x="4948547" y="105431"/>
                  <a:pt x="4956067" y="97900"/>
                </a:cubicBezTo>
                <a:cubicBezTo>
                  <a:pt x="4956067" y="97900"/>
                  <a:pt x="4956067" y="97900"/>
                  <a:pt x="4959827" y="94135"/>
                </a:cubicBezTo>
                <a:cubicBezTo>
                  <a:pt x="4952307" y="86604"/>
                  <a:pt x="4937269" y="97900"/>
                  <a:pt x="4922229" y="97900"/>
                </a:cubicBezTo>
                <a:cubicBezTo>
                  <a:pt x="4922229" y="90370"/>
                  <a:pt x="4914710" y="86604"/>
                  <a:pt x="4903431" y="86604"/>
                </a:cubicBezTo>
                <a:cubicBezTo>
                  <a:pt x="4910950" y="82839"/>
                  <a:pt x="4922229" y="79073"/>
                  <a:pt x="4933509" y="75308"/>
                </a:cubicBezTo>
                <a:cubicBezTo>
                  <a:pt x="4937269" y="75308"/>
                  <a:pt x="4933509" y="71543"/>
                  <a:pt x="4929749" y="71543"/>
                </a:cubicBezTo>
                <a:cubicBezTo>
                  <a:pt x="4989905" y="67777"/>
                  <a:pt x="5004943" y="97900"/>
                  <a:pt x="5068859" y="79073"/>
                </a:cubicBezTo>
                <a:cubicBezTo>
                  <a:pt x="5068859" y="79073"/>
                  <a:pt x="5068859" y="79073"/>
                  <a:pt x="5061339" y="75308"/>
                </a:cubicBezTo>
                <a:cubicBezTo>
                  <a:pt x="5068859" y="75308"/>
                  <a:pt x="5117736" y="79073"/>
                  <a:pt x="5132775" y="75308"/>
                </a:cubicBezTo>
                <a:cubicBezTo>
                  <a:pt x="5132775" y="75308"/>
                  <a:pt x="5132775" y="75308"/>
                  <a:pt x="5136535" y="71543"/>
                </a:cubicBezTo>
                <a:cubicBezTo>
                  <a:pt x="5125255" y="67777"/>
                  <a:pt x="5102697" y="71543"/>
                  <a:pt x="5087658" y="71543"/>
                </a:cubicBezTo>
                <a:cubicBezTo>
                  <a:pt x="5125255" y="60247"/>
                  <a:pt x="5147813" y="60247"/>
                  <a:pt x="5189171" y="52716"/>
                </a:cubicBezTo>
                <a:cubicBezTo>
                  <a:pt x="5189171" y="52716"/>
                  <a:pt x="5189171" y="52716"/>
                  <a:pt x="5095177" y="101666"/>
                </a:cubicBezTo>
                <a:cubicBezTo>
                  <a:pt x="5129015" y="112962"/>
                  <a:pt x="5083898" y="120493"/>
                  <a:pt x="5065099" y="131789"/>
                </a:cubicBezTo>
                <a:cubicBezTo>
                  <a:pt x="5042541" y="150616"/>
                  <a:pt x="4997424" y="135554"/>
                  <a:pt x="4971106" y="161912"/>
                </a:cubicBezTo>
                <a:cubicBezTo>
                  <a:pt x="5001184" y="158147"/>
                  <a:pt x="5004943" y="158147"/>
                  <a:pt x="5035021" y="165678"/>
                </a:cubicBezTo>
                <a:cubicBezTo>
                  <a:pt x="5035021" y="165678"/>
                  <a:pt x="5035021" y="165678"/>
                  <a:pt x="5023743" y="184504"/>
                </a:cubicBezTo>
                <a:cubicBezTo>
                  <a:pt x="4971106" y="207097"/>
                  <a:pt x="4910950" y="237220"/>
                  <a:pt x="4869593" y="263578"/>
                </a:cubicBezTo>
                <a:cubicBezTo>
                  <a:pt x="4873353" y="267343"/>
                  <a:pt x="4880873" y="267343"/>
                  <a:pt x="4884632" y="267343"/>
                </a:cubicBezTo>
                <a:cubicBezTo>
                  <a:pt x="4843275" y="278639"/>
                  <a:pt x="4839515" y="304997"/>
                  <a:pt x="4798158" y="312528"/>
                </a:cubicBezTo>
                <a:cubicBezTo>
                  <a:pt x="4801918" y="316293"/>
                  <a:pt x="4801918" y="320059"/>
                  <a:pt x="4809437" y="316293"/>
                </a:cubicBezTo>
                <a:cubicBezTo>
                  <a:pt x="4813197" y="327589"/>
                  <a:pt x="4790639" y="320059"/>
                  <a:pt x="4783119" y="327589"/>
                </a:cubicBezTo>
                <a:cubicBezTo>
                  <a:pt x="4783119" y="320059"/>
                  <a:pt x="4798158" y="308762"/>
                  <a:pt x="4783119" y="304997"/>
                </a:cubicBezTo>
                <a:cubicBezTo>
                  <a:pt x="4760561" y="312528"/>
                  <a:pt x="4756801" y="327589"/>
                  <a:pt x="4760561" y="335120"/>
                </a:cubicBezTo>
                <a:cubicBezTo>
                  <a:pt x="4768080" y="346416"/>
                  <a:pt x="4783119" y="346416"/>
                  <a:pt x="4801918" y="342651"/>
                </a:cubicBezTo>
                <a:cubicBezTo>
                  <a:pt x="4798158" y="346416"/>
                  <a:pt x="4801918" y="346416"/>
                  <a:pt x="4801918" y="350182"/>
                </a:cubicBezTo>
                <a:cubicBezTo>
                  <a:pt x="4809437" y="350182"/>
                  <a:pt x="4816957" y="350182"/>
                  <a:pt x="4820717" y="346416"/>
                </a:cubicBezTo>
                <a:cubicBezTo>
                  <a:pt x="4820717" y="346416"/>
                  <a:pt x="4820717" y="346416"/>
                  <a:pt x="4816957" y="342651"/>
                </a:cubicBezTo>
                <a:cubicBezTo>
                  <a:pt x="4816957" y="342651"/>
                  <a:pt x="4816957" y="342651"/>
                  <a:pt x="4850795" y="342651"/>
                </a:cubicBezTo>
                <a:cubicBezTo>
                  <a:pt x="4862073" y="338886"/>
                  <a:pt x="4854554" y="335120"/>
                  <a:pt x="4850795" y="331355"/>
                </a:cubicBezTo>
                <a:cubicBezTo>
                  <a:pt x="4862073" y="327589"/>
                  <a:pt x="4892151" y="335120"/>
                  <a:pt x="4910950" y="323824"/>
                </a:cubicBezTo>
                <a:cubicBezTo>
                  <a:pt x="4877113" y="312528"/>
                  <a:pt x="4937269" y="304997"/>
                  <a:pt x="4918469" y="293701"/>
                </a:cubicBezTo>
                <a:cubicBezTo>
                  <a:pt x="4910950" y="293701"/>
                  <a:pt x="4937269" y="289935"/>
                  <a:pt x="4937269" y="278639"/>
                </a:cubicBezTo>
                <a:cubicBezTo>
                  <a:pt x="4937269" y="278639"/>
                  <a:pt x="4937269" y="278639"/>
                  <a:pt x="4941028" y="278639"/>
                </a:cubicBezTo>
                <a:cubicBezTo>
                  <a:pt x="4959827" y="263578"/>
                  <a:pt x="4989905" y="274874"/>
                  <a:pt x="4997424" y="256047"/>
                </a:cubicBezTo>
                <a:cubicBezTo>
                  <a:pt x="5050061" y="244751"/>
                  <a:pt x="4993665" y="271108"/>
                  <a:pt x="5042541" y="263578"/>
                </a:cubicBezTo>
                <a:cubicBezTo>
                  <a:pt x="5038781" y="271108"/>
                  <a:pt x="5027502" y="271108"/>
                  <a:pt x="5027502" y="278639"/>
                </a:cubicBezTo>
                <a:cubicBezTo>
                  <a:pt x="5027502" y="278639"/>
                  <a:pt x="5027502" y="278639"/>
                  <a:pt x="5061339" y="278639"/>
                </a:cubicBezTo>
                <a:cubicBezTo>
                  <a:pt x="5068859" y="301232"/>
                  <a:pt x="4986145" y="308762"/>
                  <a:pt x="5019983" y="323824"/>
                </a:cubicBezTo>
                <a:cubicBezTo>
                  <a:pt x="5019983" y="323824"/>
                  <a:pt x="5019983" y="323824"/>
                  <a:pt x="5012463" y="342651"/>
                </a:cubicBezTo>
                <a:cubicBezTo>
                  <a:pt x="4997424" y="346416"/>
                  <a:pt x="5004943" y="338886"/>
                  <a:pt x="5001184" y="335120"/>
                </a:cubicBezTo>
                <a:cubicBezTo>
                  <a:pt x="5001184" y="331355"/>
                  <a:pt x="5004943" y="327589"/>
                  <a:pt x="5001184" y="327589"/>
                </a:cubicBezTo>
                <a:cubicBezTo>
                  <a:pt x="4993665" y="327589"/>
                  <a:pt x="4982385" y="331355"/>
                  <a:pt x="4986145" y="335120"/>
                </a:cubicBezTo>
                <a:cubicBezTo>
                  <a:pt x="4986145" y="335120"/>
                  <a:pt x="4986145" y="335120"/>
                  <a:pt x="4978625" y="335120"/>
                </a:cubicBezTo>
                <a:cubicBezTo>
                  <a:pt x="4978625" y="335120"/>
                  <a:pt x="4978625" y="335120"/>
                  <a:pt x="4993665" y="301232"/>
                </a:cubicBezTo>
                <a:cubicBezTo>
                  <a:pt x="5001184" y="304997"/>
                  <a:pt x="5008703" y="301232"/>
                  <a:pt x="5008703" y="297466"/>
                </a:cubicBezTo>
                <a:cubicBezTo>
                  <a:pt x="5008703" y="297466"/>
                  <a:pt x="5008703" y="297466"/>
                  <a:pt x="5012463" y="286170"/>
                </a:cubicBezTo>
                <a:cubicBezTo>
                  <a:pt x="5019983" y="286170"/>
                  <a:pt x="5019983" y="286170"/>
                  <a:pt x="5027502" y="282405"/>
                </a:cubicBezTo>
                <a:cubicBezTo>
                  <a:pt x="5023743" y="271108"/>
                  <a:pt x="4989905" y="274874"/>
                  <a:pt x="4982385" y="286170"/>
                </a:cubicBezTo>
                <a:cubicBezTo>
                  <a:pt x="4963587" y="308762"/>
                  <a:pt x="4925989" y="335120"/>
                  <a:pt x="4888392" y="353947"/>
                </a:cubicBezTo>
                <a:cubicBezTo>
                  <a:pt x="4888392" y="353947"/>
                  <a:pt x="4888392" y="353947"/>
                  <a:pt x="4884632" y="365243"/>
                </a:cubicBezTo>
                <a:cubicBezTo>
                  <a:pt x="4877113" y="365243"/>
                  <a:pt x="4873353" y="365243"/>
                  <a:pt x="4869593" y="369009"/>
                </a:cubicBezTo>
                <a:cubicBezTo>
                  <a:pt x="4865833" y="376539"/>
                  <a:pt x="4880873" y="372774"/>
                  <a:pt x="4880873" y="380305"/>
                </a:cubicBezTo>
                <a:cubicBezTo>
                  <a:pt x="4877113" y="384070"/>
                  <a:pt x="4865833" y="384070"/>
                  <a:pt x="4865833" y="387836"/>
                </a:cubicBezTo>
                <a:cubicBezTo>
                  <a:pt x="4880873" y="395366"/>
                  <a:pt x="4888392" y="380305"/>
                  <a:pt x="4903431" y="391601"/>
                </a:cubicBezTo>
                <a:cubicBezTo>
                  <a:pt x="4910950" y="391601"/>
                  <a:pt x="4918469" y="387836"/>
                  <a:pt x="4929749" y="384070"/>
                </a:cubicBezTo>
                <a:cubicBezTo>
                  <a:pt x="4925989" y="387836"/>
                  <a:pt x="4925989" y="391601"/>
                  <a:pt x="4918469" y="395366"/>
                </a:cubicBezTo>
                <a:cubicBezTo>
                  <a:pt x="4918469" y="395366"/>
                  <a:pt x="4918469" y="395366"/>
                  <a:pt x="4925989" y="399132"/>
                </a:cubicBezTo>
                <a:cubicBezTo>
                  <a:pt x="4925989" y="399132"/>
                  <a:pt x="4925989" y="399132"/>
                  <a:pt x="4971106" y="380305"/>
                </a:cubicBezTo>
                <a:cubicBezTo>
                  <a:pt x="4982385" y="395366"/>
                  <a:pt x="4941028" y="421724"/>
                  <a:pt x="4967347" y="429255"/>
                </a:cubicBezTo>
                <a:cubicBezTo>
                  <a:pt x="4989905" y="414193"/>
                  <a:pt x="4982385" y="406663"/>
                  <a:pt x="5001184" y="391601"/>
                </a:cubicBezTo>
                <a:cubicBezTo>
                  <a:pt x="5001184" y="391601"/>
                  <a:pt x="5001184" y="391601"/>
                  <a:pt x="5012463" y="391601"/>
                </a:cubicBezTo>
                <a:cubicBezTo>
                  <a:pt x="4989905" y="414193"/>
                  <a:pt x="4974865" y="448082"/>
                  <a:pt x="4974865" y="466909"/>
                </a:cubicBezTo>
                <a:cubicBezTo>
                  <a:pt x="4974865" y="466909"/>
                  <a:pt x="4974865" y="466909"/>
                  <a:pt x="4971106" y="466909"/>
                </a:cubicBezTo>
                <a:cubicBezTo>
                  <a:pt x="4971106" y="466909"/>
                  <a:pt x="4971106" y="466909"/>
                  <a:pt x="4963587" y="470674"/>
                </a:cubicBezTo>
                <a:cubicBezTo>
                  <a:pt x="4959827" y="466909"/>
                  <a:pt x="4956067" y="470674"/>
                  <a:pt x="4952307" y="470674"/>
                </a:cubicBezTo>
                <a:cubicBezTo>
                  <a:pt x="4944788" y="470674"/>
                  <a:pt x="4937269" y="474440"/>
                  <a:pt x="4929749" y="474440"/>
                </a:cubicBezTo>
                <a:cubicBezTo>
                  <a:pt x="4952307" y="470674"/>
                  <a:pt x="4952307" y="470674"/>
                  <a:pt x="4952307" y="470674"/>
                </a:cubicBezTo>
                <a:cubicBezTo>
                  <a:pt x="4952307" y="470674"/>
                  <a:pt x="4952307" y="470674"/>
                  <a:pt x="4963587" y="470674"/>
                </a:cubicBezTo>
                <a:cubicBezTo>
                  <a:pt x="4963587" y="470674"/>
                  <a:pt x="4963587" y="470674"/>
                  <a:pt x="4967347" y="470674"/>
                </a:cubicBezTo>
                <a:cubicBezTo>
                  <a:pt x="4967347" y="470674"/>
                  <a:pt x="4967347" y="470674"/>
                  <a:pt x="4944788" y="481970"/>
                </a:cubicBezTo>
                <a:cubicBezTo>
                  <a:pt x="4944788" y="485736"/>
                  <a:pt x="4952307" y="485736"/>
                  <a:pt x="4959827" y="485736"/>
                </a:cubicBezTo>
                <a:cubicBezTo>
                  <a:pt x="4959827" y="485736"/>
                  <a:pt x="4959827" y="485736"/>
                  <a:pt x="4974865" y="474440"/>
                </a:cubicBezTo>
                <a:cubicBezTo>
                  <a:pt x="4974865" y="474440"/>
                  <a:pt x="4974865" y="474440"/>
                  <a:pt x="4978625" y="478205"/>
                </a:cubicBezTo>
                <a:cubicBezTo>
                  <a:pt x="4997424" y="470674"/>
                  <a:pt x="4974865" y="463144"/>
                  <a:pt x="4993665" y="455613"/>
                </a:cubicBezTo>
                <a:cubicBezTo>
                  <a:pt x="4993665" y="455613"/>
                  <a:pt x="4993665" y="455613"/>
                  <a:pt x="5004943" y="455613"/>
                </a:cubicBezTo>
                <a:cubicBezTo>
                  <a:pt x="5001184" y="474440"/>
                  <a:pt x="4997424" y="493267"/>
                  <a:pt x="5019983" y="497032"/>
                </a:cubicBezTo>
                <a:cubicBezTo>
                  <a:pt x="5042541" y="489501"/>
                  <a:pt x="5038781" y="478205"/>
                  <a:pt x="5046301" y="466909"/>
                </a:cubicBezTo>
                <a:cubicBezTo>
                  <a:pt x="5038781" y="463144"/>
                  <a:pt x="5038781" y="459378"/>
                  <a:pt x="5042541" y="451847"/>
                </a:cubicBezTo>
                <a:cubicBezTo>
                  <a:pt x="5053821" y="451847"/>
                  <a:pt x="5061339" y="455613"/>
                  <a:pt x="5065099" y="448082"/>
                </a:cubicBezTo>
                <a:cubicBezTo>
                  <a:pt x="5065099" y="448082"/>
                  <a:pt x="5065099" y="448082"/>
                  <a:pt x="5065099" y="474440"/>
                </a:cubicBezTo>
                <a:cubicBezTo>
                  <a:pt x="5065099" y="474440"/>
                  <a:pt x="5065099" y="474440"/>
                  <a:pt x="5080139" y="470674"/>
                </a:cubicBezTo>
                <a:cubicBezTo>
                  <a:pt x="5087658" y="478205"/>
                  <a:pt x="5091417" y="489501"/>
                  <a:pt x="5095177" y="497032"/>
                </a:cubicBezTo>
                <a:cubicBezTo>
                  <a:pt x="5087658" y="493267"/>
                  <a:pt x="5080139" y="493267"/>
                  <a:pt x="5072619" y="500797"/>
                </a:cubicBezTo>
                <a:cubicBezTo>
                  <a:pt x="5072619" y="500797"/>
                  <a:pt x="5072619" y="500797"/>
                  <a:pt x="5053821" y="493267"/>
                </a:cubicBezTo>
                <a:cubicBezTo>
                  <a:pt x="5042541" y="497032"/>
                  <a:pt x="5027502" y="497032"/>
                  <a:pt x="5019983" y="504563"/>
                </a:cubicBezTo>
                <a:cubicBezTo>
                  <a:pt x="5019983" y="504563"/>
                  <a:pt x="5019983" y="504563"/>
                  <a:pt x="5038781" y="504563"/>
                </a:cubicBezTo>
                <a:cubicBezTo>
                  <a:pt x="5038781" y="504563"/>
                  <a:pt x="5038781" y="504563"/>
                  <a:pt x="5035021" y="508328"/>
                </a:cubicBezTo>
                <a:cubicBezTo>
                  <a:pt x="5068859" y="504563"/>
                  <a:pt x="5083898" y="512094"/>
                  <a:pt x="5102697" y="508328"/>
                </a:cubicBezTo>
                <a:cubicBezTo>
                  <a:pt x="5106457" y="512094"/>
                  <a:pt x="5106457" y="512094"/>
                  <a:pt x="5110217" y="512094"/>
                </a:cubicBezTo>
                <a:cubicBezTo>
                  <a:pt x="5113976" y="512094"/>
                  <a:pt x="5113976" y="508328"/>
                  <a:pt x="5113976" y="508328"/>
                </a:cubicBezTo>
                <a:cubicBezTo>
                  <a:pt x="5117736" y="504563"/>
                  <a:pt x="5121495" y="504563"/>
                  <a:pt x="5125255" y="504563"/>
                </a:cubicBezTo>
                <a:cubicBezTo>
                  <a:pt x="5125255" y="500797"/>
                  <a:pt x="5121495" y="504563"/>
                  <a:pt x="5113976" y="504563"/>
                </a:cubicBezTo>
                <a:cubicBezTo>
                  <a:pt x="5113976" y="497032"/>
                  <a:pt x="5110217" y="493267"/>
                  <a:pt x="5117736" y="485736"/>
                </a:cubicBezTo>
                <a:cubicBezTo>
                  <a:pt x="5106457" y="474440"/>
                  <a:pt x="5098937" y="463144"/>
                  <a:pt x="5113976" y="444317"/>
                </a:cubicBezTo>
                <a:cubicBezTo>
                  <a:pt x="5140295" y="455613"/>
                  <a:pt x="5106457" y="497032"/>
                  <a:pt x="5159093" y="489501"/>
                </a:cubicBezTo>
                <a:cubicBezTo>
                  <a:pt x="5159093" y="489501"/>
                  <a:pt x="5159093" y="489501"/>
                  <a:pt x="5162853" y="485736"/>
                </a:cubicBezTo>
                <a:cubicBezTo>
                  <a:pt x="5162853" y="485736"/>
                  <a:pt x="5166613" y="489501"/>
                  <a:pt x="5170372" y="489501"/>
                </a:cubicBezTo>
                <a:cubicBezTo>
                  <a:pt x="5177891" y="497032"/>
                  <a:pt x="5181651" y="508328"/>
                  <a:pt x="5170372" y="519624"/>
                </a:cubicBezTo>
                <a:cubicBezTo>
                  <a:pt x="5170372" y="519624"/>
                  <a:pt x="5170372" y="519624"/>
                  <a:pt x="5162853" y="508328"/>
                </a:cubicBezTo>
                <a:cubicBezTo>
                  <a:pt x="5155333" y="519624"/>
                  <a:pt x="5132775" y="534686"/>
                  <a:pt x="5144054" y="549748"/>
                </a:cubicBezTo>
                <a:cubicBezTo>
                  <a:pt x="5136535" y="545982"/>
                  <a:pt x="5121495" y="557278"/>
                  <a:pt x="5110217" y="564809"/>
                </a:cubicBezTo>
                <a:cubicBezTo>
                  <a:pt x="5113976" y="579870"/>
                  <a:pt x="5113976" y="594932"/>
                  <a:pt x="5129015" y="606228"/>
                </a:cubicBezTo>
                <a:cubicBezTo>
                  <a:pt x="5129015" y="606228"/>
                  <a:pt x="5129015" y="606228"/>
                  <a:pt x="5159093" y="591167"/>
                </a:cubicBezTo>
                <a:cubicBezTo>
                  <a:pt x="5174132" y="602463"/>
                  <a:pt x="5129015" y="606228"/>
                  <a:pt x="5129015" y="617524"/>
                </a:cubicBezTo>
                <a:cubicBezTo>
                  <a:pt x="5129015" y="640117"/>
                  <a:pt x="5147813" y="662709"/>
                  <a:pt x="5136535" y="681536"/>
                </a:cubicBezTo>
                <a:cubicBezTo>
                  <a:pt x="5151573" y="685301"/>
                  <a:pt x="5147813" y="689067"/>
                  <a:pt x="5159093" y="692832"/>
                </a:cubicBezTo>
                <a:cubicBezTo>
                  <a:pt x="5159093" y="692832"/>
                  <a:pt x="5159093" y="692832"/>
                  <a:pt x="5207969" y="670240"/>
                </a:cubicBezTo>
                <a:cubicBezTo>
                  <a:pt x="5207969" y="670240"/>
                  <a:pt x="5207969" y="670240"/>
                  <a:pt x="5215489" y="674005"/>
                </a:cubicBezTo>
                <a:cubicBezTo>
                  <a:pt x="5215489" y="674005"/>
                  <a:pt x="5215489" y="674005"/>
                  <a:pt x="5223009" y="670240"/>
                </a:cubicBezTo>
                <a:cubicBezTo>
                  <a:pt x="5223009" y="681536"/>
                  <a:pt x="5230528" y="692832"/>
                  <a:pt x="5226769" y="704128"/>
                </a:cubicBezTo>
                <a:cubicBezTo>
                  <a:pt x="5200450" y="722955"/>
                  <a:pt x="5162853" y="730486"/>
                  <a:pt x="5129015" y="745548"/>
                </a:cubicBezTo>
                <a:cubicBezTo>
                  <a:pt x="5129015" y="745548"/>
                  <a:pt x="5129015" y="745548"/>
                  <a:pt x="5113976" y="745548"/>
                </a:cubicBezTo>
                <a:cubicBezTo>
                  <a:pt x="5113976" y="745548"/>
                  <a:pt x="5113976" y="745548"/>
                  <a:pt x="5117736" y="741782"/>
                </a:cubicBezTo>
                <a:cubicBezTo>
                  <a:pt x="5117736" y="734252"/>
                  <a:pt x="5102697" y="741782"/>
                  <a:pt x="5095177" y="741782"/>
                </a:cubicBezTo>
                <a:cubicBezTo>
                  <a:pt x="5095177" y="741782"/>
                  <a:pt x="5095177" y="741782"/>
                  <a:pt x="5038781" y="749313"/>
                </a:cubicBezTo>
                <a:cubicBezTo>
                  <a:pt x="5061339" y="756844"/>
                  <a:pt x="5102697" y="753079"/>
                  <a:pt x="5117736" y="756844"/>
                </a:cubicBezTo>
                <a:cubicBezTo>
                  <a:pt x="5087658" y="771905"/>
                  <a:pt x="5046301" y="756844"/>
                  <a:pt x="5016223" y="775671"/>
                </a:cubicBezTo>
                <a:cubicBezTo>
                  <a:pt x="5008703" y="760609"/>
                  <a:pt x="4959827" y="771905"/>
                  <a:pt x="4933509" y="768140"/>
                </a:cubicBezTo>
                <a:cubicBezTo>
                  <a:pt x="4918469" y="775671"/>
                  <a:pt x="4910950" y="786967"/>
                  <a:pt x="4892151" y="790732"/>
                </a:cubicBezTo>
                <a:cubicBezTo>
                  <a:pt x="4892151" y="790732"/>
                  <a:pt x="4892151" y="790732"/>
                  <a:pt x="4888392" y="786967"/>
                </a:cubicBezTo>
                <a:cubicBezTo>
                  <a:pt x="4873353" y="790732"/>
                  <a:pt x="4862073" y="805794"/>
                  <a:pt x="4869593" y="809559"/>
                </a:cubicBezTo>
                <a:cubicBezTo>
                  <a:pt x="4869593" y="809559"/>
                  <a:pt x="4869593" y="809559"/>
                  <a:pt x="4873353" y="813325"/>
                </a:cubicBezTo>
                <a:cubicBezTo>
                  <a:pt x="4858314" y="813325"/>
                  <a:pt x="4839515" y="813325"/>
                  <a:pt x="4831995" y="805794"/>
                </a:cubicBezTo>
                <a:cubicBezTo>
                  <a:pt x="4809437" y="809559"/>
                  <a:pt x="4786879" y="813325"/>
                  <a:pt x="4771840" y="820856"/>
                </a:cubicBezTo>
                <a:lnTo>
                  <a:pt x="4764275" y="817267"/>
                </a:lnTo>
                <a:lnTo>
                  <a:pt x="4765000" y="823531"/>
                </a:lnTo>
                <a:cubicBezTo>
                  <a:pt x="4766410" y="834357"/>
                  <a:pt x="4771109" y="842828"/>
                  <a:pt x="4797427" y="839063"/>
                </a:cubicBezTo>
                <a:cubicBezTo>
                  <a:pt x="4797427" y="839063"/>
                  <a:pt x="4797427" y="839063"/>
                  <a:pt x="4801187" y="835298"/>
                </a:cubicBezTo>
                <a:cubicBezTo>
                  <a:pt x="4801187" y="835298"/>
                  <a:pt x="4804947" y="839063"/>
                  <a:pt x="4808706" y="839063"/>
                </a:cubicBezTo>
                <a:cubicBezTo>
                  <a:pt x="4816225" y="846594"/>
                  <a:pt x="4819985" y="857890"/>
                  <a:pt x="4808706" y="869186"/>
                </a:cubicBezTo>
                <a:cubicBezTo>
                  <a:pt x="4808706" y="869186"/>
                  <a:pt x="4808706" y="869186"/>
                  <a:pt x="4801187" y="857890"/>
                </a:cubicBezTo>
                <a:cubicBezTo>
                  <a:pt x="4793667" y="869186"/>
                  <a:pt x="4771109" y="884248"/>
                  <a:pt x="4782388" y="899309"/>
                </a:cubicBezTo>
                <a:cubicBezTo>
                  <a:pt x="4774869" y="895544"/>
                  <a:pt x="4759829" y="906840"/>
                  <a:pt x="4748551" y="914371"/>
                </a:cubicBezTo>
                <a:cubicBezTo>
                  <a:pt x="4752310" y="929432"/>
                  <a:pt x="4752310" y="944494"/>
                  <a:pt x="4767349" y="955790"/>
                </a:cubicBezTo>
                <a:cubicBezTo>
                  <a:pt x="4767349" y="955790"/>
                  <a:pt x="4767349" y="955790"/>
                  <a:pt x="4797427" y="940729"/>
                </a:cubicBezTo>
                <a:cubicBezTo>
                  <a:pt x="4812466" y="952025"/>
                  <a:pt x="4767349" y="955790"/>
                  <a:pt x="4767349" y="967086"/>
                </a:cubicBezTo>
                <a:cubicBezTo>
                  <a:pt x="4767349" y="989679"/>
                  <a:pt x="4786147" y="1012271"/>
                  <a:pt x="4774869" y="1031098"/>
                </a:cubicBezTo>
                <a:cubicBezTo>
                  <a:pt x="4789907" y="1034863"/>
                  <a:pt x="4786147" y="1038629"/>
                  <a:pt x="4797427" y="1042394"/>
                </a:cubicBezTo>
                <a:cubicBezTo>
                  <a:pt x="4797427" y="1042394"/>
                  <a:pt x="4797427" y="1042394"/>
                  <a:pt x="4846303" y="1019802"/>
                </a:cubicBezTo>
                <a:cubicBezTo>
                  <a:pt x="4846303" y="1019802"/>
                  <a:pt x="4846303" y="1019802"/>
                  <a:pt x="4853823" y="1023567"/>
                </a:cubicBezTo>
                <a:cubicBezTo>
                  <a:pt x="4853823" y="1023567"/>
                  <a:pt x="4853823" y="1023567"/>
                  <a:pt x="4861343" y="1019802"/>
                </a:cubicBezTo>
                <a:cubicBezTo>
                  <a:pt x="4861343" y="1031098"/>
                  <a:pt x="4868862" y="1042394"/>
                  <a:pt x="4865103" y="1053690"/>
                </a:cubicBezTo>
                <a:cubicBezTo>
                  <a:pt x="4838784" y="1072517"/>
                  <a:pt x="4801187" y="1080048"/>
                  <a:pt x="4767349" y="1095110"/>
                </a:cubicBezTo>
                <a:cubicBezTo>
                  <a:pt x="4767349" y="1095110"/>
                  <a:pt x="4767349" y="1095110"/>
                  <a:pt x="4752310" y="1095110"/>
                </a:cubicBezTo>
                <a:cubicBezTo>
                  <a:pt x="4752310" y="1095110"/>
                  <a:pt x="4752310" y="1095110"/>
                  <a:pt x="4756070" y="1091344"/>
                </a:cubicBezTo>
                <a:cubicBezTo>
                  <a:pt x="4756070" y="1083814"/>
                  <a:pt x="4741031" y="1091344"/>
                  <a:pt x="4733511" y="1091344"/>
                </a:cubicBezTo>
                <a:cubicBezTo>
                  <a:pt x="4733511" y="1091344"/>
                  <a:pt x="4733511" y="1091344"/>
                  <a:pt x="4677115" y="1098875"/>
                </a:cubicBezTo>
                <a:cubicBezTo>
                  <a:pt x="4699673" y="1106406"/>
                  <a:pt x="4741031" y="1102641"/>
                  <a:pt x="4756070" y="1106406"/>
                </a:cubicBezTo>
                <a:cubicBezTo>
                  <a:pt x="4725992" y="1121467"/>
                  <a:pt x="4684635" y="1106406"/>
                  <a:pt x="4654557" y="1125233"/>
                </a:cubicBezTo>
                <a:cubicBezTo>
                  <a:pt x="4647037" y="1110171"/>
                  <a:pt x="4598161" y="1121467"/>
                  <a:pt x="4571843" y="1117702"/>
                </a:cubicBezTo>
                <a:cubicBezTo>
                  <a:pt x="4556803" y="1125233"/>
                  <a:pt x="4549284" y="1136529"/>
                  <a:pt x="4530485" y="1140294"/>
                </a:cubicBezTo>
                <a:cubicBezTo>
                  <a:pt x="4530485" y="1140294"/>
                  <a:pt x="4530485" y="1140294"/>
                  <a:pt x="4526726" y="1136529"/>
                </a:cubicBezTo>
                <a:cubicBezTo>
                  <a:pt x="4511687" y="1140294"/>
                  <a:pt x="4500407" y="1155356"/>
                  <a:pt x="4507927" y="1159121"/>
                </a:cubicBezTo>
                <a:cubicBezTo>
                  <a:pt x="4507927" y="1159121"/>
                  <a:pt x="4507927" y="1159121"/>
                  <a:pt x="4511687" y="1162887"/>
                </a:cubicBezTo>
                <a:cubicBezTo>
                  <a:pt x="4496648" y="1162887"/>
                  <a:pt x="4477849" y="1162887"/>
                  <a:pt x="4470329" y="1155356"/>
                </a:cubicBezTo>
                <a:cubicBezTo>
                  <a:pt x="4447771" y="1159121"/>
                  <a:pt x="4425213" y="1162887"/>
                  <a:pt x="4410174" y="1170418"/>
                </a:cubicBezTo>
                <a:cubicBezTo>
                  <a:pt x="4413933" y="1166652"/>
                  <a:pt x="4383855" y="1166652"/>
                  <a:pt x="4406414" y="1159121"/>
                </a:cubicBezTo>
                <a:cubicBezTo>
                  <a:pt x="4383855" y="1162887"/>
                  <a:pt x="4365057" y="1136529"/>
                  <a:pt x="4342499" y="1159121"/>
                </a:cubicBezTo>
                <a:cubicBezTo>
                  <a:pt x="4342499" y="1159121"/>
                  <a:pt x="4342499" y="1159121"/>
                  <a:pt x="4350018" y="1166652"/>
                </a:cubicBezTo>
                <a:cubicBezTo>
                  <a:pt x="4319940" y="1170418"/>
                  <a:pt x="4289862" y="1140294"/>
                  <a:pt x="4282343" y="1170418"/>
                </a:cubicBezTo>
                <a:cubicBezTo>
                  <a:pt x="4286103" y="1174183"/>
                  <a:pt x="4293622" y="1174183"/>
                  <a:pt x="4297381" y="1177948"/>
                </a:cubicBezTo>
                <a:cubicBezTo>
                  <a:pt x="4271063" y="1193010"/>
                  <a:pt x="4263544" y="1166652"/>
                  <a:pt x="4229707" y="1177948"/>
                </a:cubicBezTo>
                <a:cubicBezTo>
                  <a:pt x="4203388" y="1185479"/>
                  <a:pt x="4177070" y="1200541"/>
                  <a:pt x="4146992" y="1200541"/>
                </a:cubicBezTo>
                <a:cubicBezTo>
                  <a:pt x="4109395" y="1208071"/>
                  <a:pt x="4079317" y="1208071"/>
                  <a:pt x="4041719" y="1215602"/>
                </a:cubicBezTo>
                <a:cubicBezTo>
                  <a:pt x="3913888" y="1238195"/>
                  <a:pt x="3782297" y="1245725"/>
                  <a:pt x="3665745" y="1249491"/>
                </a:cubicBezTo>
                <a:cubicBezTo>
                  <a:pt x="3669505" y="1249491"/>
                  <a:pt x="3669505" y="1249491"/>
                  <a:pt x="3673265" y="1245725"/>
                </a:cubicBezTo>
                <a:cubicBezTo>
                  <a:pt x="3583031" y="1219368"/>
                  <a:pt x="3447681" y="1260787"/>
                  <a:pt x="3349927" y="1257022"/>
                </a:cubicBezTo>
                <a:cubicBezTo>
                  <a:pt x="3402564" y="1253256"/>
                  <a:pt x="3447681" y="1245725"/>
                  <a:pt x="3500317" y="1234429"/>
                </a:cubicBezTo>
                <a:cubicBezTo>
                  <a:pt x="3417603" y="1226898"/>
                  <a:pt x="3327369" y="1238195"/>
                  <a:pt x="3244655" y="1241960"/>
                </a:cubicBezTo>
                <a:cubicBezTo>
                  <a:pt x="3267213" y="1230664"/>
                  <a:pt x="3297291" y="1234429"/>
                  <a:pt x="3316090" y="1226898"/>
                </a:cubicBezTo>
                <a:cubicBezTo>
                  <a:pt x="3316090" y="1226898"/>
                  <a:pt x="3316090" y="1226898"/>
                  <a:pt x="3327369" y="1234429"/>
                </a:cubicBezTo>
                <a:cubicBezTo>
                  <a:pt x="3353687" y="1230664"/>
                  <a:pt x="3380005" y="1211837"/>
                  <a:pt x="3410083" y="1215602"/>
                </a:cubicBezTo>
                <a:cubicBezTo>
                  <a:pt x="3410083" y="1215602"/>
                  <a:pt x="3410083" y="1215602"/>
                  <a:pt x="3410083" y="1208071"/>
                </a:cubicBezTo>
                <a:cubicBezTo>
                  <a:pt x="3598070" y="1193010"/>
                  <a:pt x="3804856" y="1185479"/>
                  <a:pt x="3996603" y="1147825"/>
                </a:cubicBezTo>
                <a:cubicBezTo>
                  <a:pt x="4015401" y="1144060"/>
                  <a:pt x="4045479" y="1151591"/>
                  <a:pt x="4056759" y="1136529"/>
                </a:cubicBezTo>
                <a:cubicBezTo>
                  <a:pt x="4056759" y="1136529"/>
                  <a:pt x="4056759" y="1136529"/>
                  <a:pt x="4037960" y="1132764"/>
                </a:cubicBezTo>
                <a:cubicBezTo>
                  <a:pt x="4045479" y="1125233"/>
                  <a:pt x="4060518" y="1128998"/>
                  <a:pt x="4064278" y="1132764"/>
                </a:cubicBezTo>
                <a:cubicBezTo>
                  <a:pt x="4064278" y="1132764"/>
                  <a:pt x="4064278" y="1132764"/>
                  <a:pt x="4068037" y="1132764"/>
                </a:cubicBezTo>
                <a:cubicBezTo>
                  <a:pt x="4075557" y="1121467"/>
                  <a:pt x="4094356" y="1136529"/>
                  <a:pt x="4105635" y="1121467"/>
                </a:cubicBezTo>
                <a:cubicBezTo>
                  <a:pt x="4101875" y="1110171"/>
                  <a:pt x="4079317" y="1121467"/>
                  <a:pt x="4064278" y="1121467"/>
                </a:cubicBezTo>
                <a:cubicBezTo>
                  <a:pt x="4049239" y="1117702"/>
                  <a:pt x="4022921" y="1106406"/>
                  <a:pt x="3985323" y="1121467"/>
                </a:cubicBezTo>
                <a:cubicBezTo>
                  <a:pt x="3868771" y="1106406"/>
                  <a:pt x="3748460" y="1147825"/>
                  <a:pt x="3631908" y="1132764"/>
                </a:cubicBezTo>
                <a:cubicBezTo>
                  <a:pt x="3594311" y="1117702"/>
                  <a:pt x="3526635" y="1140294"/>
                  <a:pt x="3470239" y="1140294"/>
                </a:cubicBezTo>
                <a:cubicBezTo>
                  <a:pt x="3308570" y="1159121"/>
                  <a:pt x="3146901" y="1147825"/>
                  <a:pt x="2981473" y="1170418"/>
                </a:cubicBezTo>
                <a:cubicBezTo>
                  <a:pt x="2913798" y="1159121"/>
                  <a:pt x="2846123" y="1181714"/>
                  <a:pt x="2789726" y="1166652"/>
                </a:cubicBezTo>
                <a:cubicBezTo>
                  <a:pt x="2691973" y="1159121"/>
                  <a:pt x="2601740" y="1174183"/>
                  <a:pt x="2519025" y="1159121"/>
                </a:cubicBezTo>
                <a:cubicBezTo>
                  <a:pt x="2519025" y="1159121"/>
                  <a:pt x="2519025" y="1159121"/>
                  <a:pt x="2511506" y="1162887"/>
                </a:cubicBezTo>
                <a:cubicBezTo>
                  <a:pt x="2503986" y="1155356"/>
                  <a:pt x="2492707" y="1166652"/>
                  <a:pt x="2488947" y="1166652"/>
                </a:cubicBezTo>
                <a:cubicBezTo>
                  <a:pt x="2451350" y="1177948"/>
                  <a:pt x="2406233" y="1177948"/>
                  <a:pt x="2368636" y="1177948"/>
                </a:cubicBezTo>
                <a:cubicBezTo>
                  <a:pt x="2323519" y="1196775"/>
                  <a:pt x="2274642" y="1193010"/>
                  <a:pt x="2225766" y="1196775"/>
                </a:cubicBezTo>
                <a:cubicBezTo>
                  <a:pt x="2000181" y="1196775"/>
                  <a:pt x="1706922" y="1193010"/>
                  <a:pt x="1466298" y="1189245"/>
                </a:cubicBezTo>
                <a:cubicBezTo>
                  <a:pt x="1402383" y="1174183"/>
                  <a:pt x="1327188" y="1189245"/>
                  <a:pt x="1259513" y="1177948"/>
                </a:cubicBezTo>
                <a:cubicBezTo>
                  <a:pt x="1165519" y="1174183"/>
                  <a:pt x="1086565" y="1162887"/>
                  <a:pt x="992571" y="1162887"/>
                </a:cubicBezTo>
                <a:cubicBezTo>
                  <a:pt x="966253" y="1162887"/>
                  <a:pt x="917377" y="1162887"/>
                  <a:pt x="891058" y="1155356"/>
                </a:cubicBezTo>
                <a:lnTo>
                  <a:pt x="883995" y="1158893"/>
                </a:lnTo>
                <a:lnTo>
                  <a:pt x="876489" y="1158650"/>
                </a:lnTo>
                <a:cubicBezTo>
                  <a:pt x="861920" y="1158180"/>
                  <a:pt x="832782" y="1157239"/>
                  <a:pt x="774506" y="1155356"/>
                </a:cubicBezTo>
                <a:cubicBezTo>
                  <a:pt x="755708" y="1166652"/>
                  <a:pt x="733149" y="1155356"/>
                  <a:pt x="710591" y="1166652"/>
                </a:cubicBezTo>
                <a:cubicBezTo>
                  <a:pt x="661714" y="1162887"/>
                  <a:pt x="590279" y="1166652"/>
                  <a:pt x="530123" y="1166652"/>
                </a:cubicBezTo>
                <a:cubicBezTo>
                  <a:pt x="522604" y="1166652"/>
                  <a:pt x="522604" y="1174183"/>
                  <a:pt x="511325" y="1170418"/>
                </a:cubicBezTo>
                <a:cubicBezTo>
                  <a:pt x="511325" y="1170418"/>
                  <a:pt x="511325" y="1170418"/>
                  <a:pt x="507565" y="1170418"/>
                </a:cubicBezTo>
                <a:cubicBezTo>
                  <a:pt x="500046" y="1174183"/>
                  <a:pt x="496286" y="1177948"/>
                  <a:pt x="488766" y="1174183"/>
                </a:cubicBezTo>
                <a:cubicBezTo>
                  <a:pt x="469968" y="1170418"/>
                  <a:pt x="443649" y="1166652"/>
                  <a:pt x="424851" y="1170418"/>
                </a:cubicBezTo>
                <a:cubicBezTo>
                  <a:pt x="424851" y="1170418"/>
                  <a:pt x="424851" y="1170418"/>
                  <a:pt x="421091" y="1162887"/>
                </a:cubicBezTo>
                <a:cubicBezTo>
                  <a:pt x="413572" y="1166652"/>
                  <a:pt x="409812" y="1170418"/>
                  <a:pt x="398533" y="1170418"/>
                </a:cubicBezTo>
                <a:cubicBezTo>
                  <a:pt x="406052" y="1151591"/>
                  <a:pt x="368455" y="1166652"/>
                  <a:pt x="357175" y="1159121"/>
                </a:cubicBezTo>
                <a:cubicBezTo>
                  <a:pt x="349655" y="1162887"/>
                  <a:pt x="342136" y="1159121"/>
                  <a:pt x="334617" y="1162887"/>
                </a:cubicBezTo>
                <a:cubicBezTo>
                  <a:pt x="338376" y="1159121"/>
                  <a:pt x="334617" y="1159121"/>
                  <a:pt x="338376" y="1155356"/>
                </a:cubicBezTo>
                <a:cubicBezTo>
                  <a:pt x="323337" y="1155356"/>
                  <a:pt x="315818" y="1151591"/>
                  <a:pt x="300779" y="1155356"/>
                </a:cubicBezTo>
                <a:cubicBezTo>
                  <a:pt x="289500" y="1140294"/>
                  <a:pt x="263181" y="1140294"/>
                  <a:pt x="233104" y="1140294"/>
                </a:cubicBezTo>
                <a:cubicBezTo>
                  <a:pt x="266941" y="1136529"/>
                  <a:pt x="323337" y="1136529"/>
                  <a:pt x="353415" y="1125233"/>
                </a:cubicBezTo>
                <a:cubicBezTo>
                  <a:pt x="345896" y="1121467"/>
                  <a:pt x="330857" y="1125233"/>
                  <a:pt x="315818" y="1125233"/>
                </a:cubicBezTo>
                <a:cubicBezTo>
                  <a:pt x="312058" y="1117702"/>
                  <a:pt x="323337" y="1113937"/>
                  <a:pt x="327097" y="1110171"/>
                </a:cubicBezTo>
                <a:cubicBezTo>
                  <a:pt x="327097" y="1110171"/>
                  <a:pt x="327097" y="1110171"/>
                  <a:pt x="274461" y="1102641"/>
                </a:cubicBezTo>
                <a:cubicBezTo>
                  <a:pt x="297019" y="1102641"/>
                  <a:pt x="360935" y="1106406"/>
                  <a:pt x="387253" y="1095110"/>
                </a:cubicBezTo>
                <a:cubicBezTo>
                  <a:pt x="364695" y="1091344"/>
                  <a:pt x="349655" y="1095110"/>
                  <a:pt x="334617" y="1095110"/>
                </a:cubicBezTo>
                <a:cubicBezTo>
                  <a:pt x="338376" y="1087579"/>
                  <a:pt x="319578" y="1083814"/>
                  <a:pt x="312058" y="1083814"/>
                </a:cubicBezTo>
                <a:cubicBezTo>
                  <a:pt x="308298" y="1080048"/>
                  <a:pt x="353415" y="1083814"/>
                  <a:pt x="338376" y="1072517"/>
                </a:cubicBezTo>
                <a:cubicBezTo>
                  <a:pt x="360935" y="1068752"/>
                  <a:pt x="342136" y="1049925"/>
                  <a:pt x="372214" y="1046160"/>
                </a:cubicBezTo>
                <a:cubicBezTo>
                  <a:pt x="338376" y="1042394"/>
                  <a:pt x="323337" y="1080048"/>
                  <a:pt x="293259" y="1064987"/>
                </a:cubicBezTo>
                <a:cubicBezTo>
                  <a:pt x="281980" y="1057456"/>
                  <a:pt x="315818" y="1031098"/>
                  <a:pt x="281980" y="1034863"/>
                </a:cubicBezTo>
                <a:cubicBezTo>
                  <a:pt x="236863" y="1016037"/>
                  <a:pt x="334617" y="1012271"/>
                  <a:pt x="308298" y="985913"/>
                </a:cubicBezTo>
                <a:cubicBezTo>
                  <a:pt x="315818" y="982148"/>
                  <a:pt x="315818" y="978383"/>
                  <a:pt x="323337" y="978383"/>
                </a:cubicBezTo>
                <a:cubicBezTo>
                  <a:pt x="300779" y="978383"/>
                  <a:pt x="289500" y="963321"/>
                  <a:pt x="263181" y="970852"/>
                </a:cubicBezTo>
                <a:cubicBezTo>
                  <a:pt x="206785" y="948259"/>
                  <a:pt x="289500" y="940729"/>
                  <a:pt x="300779" y="918136"/>
                </a:cubicBezTo>
                <a:cubicBezTo>
                  <a:pt x="312058" y="918136"/>
                  <a:pt x="327097" y="918136"/>
                  <a:pt x="330857" y="914371"/>
                </a:cubicBezTo>
                <a:cubicBezTo>
                  <a:pt x="251902" y="880482"/>
                  <a:pt x="139110" y="872952"/>
                  <a:pt x="67675" y="831532"/>
                </a:cubicBezTo>
                <a:cubicBezTo>
                  <a:pt x="52636" y="827767"/>
                  <a:pt x="33837" y="824001"/>
                  <a:pt x="11279" y="824001"/>
                </a:cubicBezTo>
                <a:cubicBezTo>
                  <a:pt x="11279" y="824001"/>
                  <a:pt x="11279" y="824001"/>
                  <a:pt x="0" y="820236"/>
                </a:cubicBezTo>
                <a:cubicBezTo>
                  <a:pt x="0" y="820236"/>
                  <a:pt x="0" y="820236"/>
                  <a:pt x="30078" y="820236"/>
                </a:cubicBezTo>
                <a:cubicBezTo>
                  <a:pt x="26318" y="820236"/>
                  <a:pt x="33837" y="824001"/>
                  <a:pt x="33837" y="824001"/>
                </a:cubicBezTo>
                <a:cubicBezTo>
                  <a:pt x="41357" y="824001"/>
                  <a:pt x="41357" y="820236"/>
                  <a:pt x="45117" y="820236"/>
                </a:cubicBezTo>
                <a:cubicBezTo>
                  <a:pt x="45117" y="820236"/>
                  <a:pt x="45117" y="820236"/>
                  <a:pt x="45117" y="812705"/>
                </a:cubicBezTo>
                <a:cubicBezTo>
                  <a:pt x="101513" y="831532"/>
                  <a:pt x="161669" y="857890"/>
                  <a:pt x="236863" y="865421"/>
                </a:cubicBezTo>
                <a:cubicBezTo>
                  <a:pt x="236863" y="865421"/>
                  <a:pt x="236863" y="865421"/>
                  <a:pt x="240623" y="861655"/>
                </a:cubicBezTo>
                <a:cubicBezTo>
                  <a:pt x="236863" y="872952"/>
                  <a:pt x="251902" y="869186"/>
                  <a:pt x="259422" y="869186"/>
                </a:cubicBezTo>
                <a:cubicBezTo>
                  <a:pt x="259422" y="869186"/>
                  <a:pt x="259422" y="869186"/>
                  <a:pt x="270701" y="861655"/>
                </a:cubicBezTo>
                <a:cubicBezTo>
                  <a:pt x="270701" y="861655"/>
                  <a:pt x="270701" y="861655"/>
                  <a:pt x="274461" y="865421"/>
                </a:cubicBezTo>
                <a:cubicBezTo>
                  <a:pt x="274461" y="865421"/>
                  <a:pt x="274461" y="865421"/>
                  <a:pt x="278220" y="861655"/>
                </a:cubicBezTo>
                <a:cubicBezTo>
                  <a:pt x="274461" y="854125"/>
                  <a:pt x="251902" y="854125"/>
                  <a:pt x="233104" y="857890"/>
                </a:cubicBezTo>
                <a:cubicBezTo>
                  <a:pt x="233104" y="839063"/>
                  <a:pt x="270701" y="850359"/>
                  <a:pt x="278220" y="842828"/>
                </a:cubicBezTo>
                <a:cubicBezTo>
                  <a:pt x="278220" y="842828"/>
                  <a:pt x="278220" y="842828"/>
                  <a:pt x="293259" y="842828"/>
                </a:cubicBezTo>
                <a:cubicBezTo>
                  <a:pt x="297019" y="846594"/>
                  <a:pt x="281980" y="850359"/>
                  <a:pt x="278220" y="854125"/>
                </a:cubicBezTo>
                <a:cubicBezTo>
                  <a:pt x="289500" y="854125"/>
                  <a:pt x="300779" y="865421"/>
                  <a:pt x="312058" y="857890"/>
                </a:cubicBezTo>
                <a:cubicBezTo>
                  <a:pt x="297019" y="850359"/>
                  <a:pt x="315818" y="850359"/>
                  <a:pt x="312058" y="842828"/>
                </a:cubicBezTo>
                <a:cubicBezTo>
                  <a:pt x="312058" y="842828"/>
                  <a:pt x="312058" y="842828"/>
                  <a:pt x="308298" y="839063"/>
                </a:cubicBezTo>
                <a:cubicBezTo>
                  <a:pt x="308298" y="839063"/>
                  <a:pt x="308298" y="839063"/>
                  <a:pt x="304539" y="839063"/>
                </a:cubicBezTo>
                <a:cubicBezTo>
                  <a:pt x="308298" y="839063"/>
                  <a:pt x="308298" y="839063"/>
                  <a:pt x="308298" y="835298"/>
                </a:cubicBezTo>
                <a:cubicBezTo>
                  <a:pt x="308298" y="835298"/>
                  <a:pt x="308298" y="835298"/>
                  <a:pt x="297019" y="831532"/>
                </a:cubicBezTo>
                <a:cubicBezTo>
                  <a:pt x="289500" y="835298"/>
                  <a:pt x="278220" y="839063"/>
                  <a:pt x="270701" y="835298"/>
                </a:cubicBezTo>
                <a:cubicBezTo>
                  <a:pt x="274461" y="827767"/>
                  <a:pt x="300779" y="827767"/>
                  <a:pt x="312058" y="820236"/>
                </a:cubicBezTo>
                <a:cubicBezTo>
                  <a:pt x="312058" y="820236"/>
                  <a:pt x="312058" y="820236"/>
                  <a:pt x="308298" y="816471"/>
                </a:cubicBezTo>
                <a:cubicBezTo>
                  <a:pt x="319578" y="808940"/>
                  <a:pt x="383494" y="812705"/>
                  <a:pt x="353415" y="793878"/>
                </a:cubicBezTo>
                <a:cubicBezTo>
                  <a:pt x="349655" y="790113"/>
                  <a:pt x="342136" y="790113"/>
                  <a:pt x="334617" y="790113"/>
                </a:cubicBezTo>
                <a:cubicBezTo>
                  <a:pt x="304539" y="801409"/>
                  <a:pt x="270701" y="835298"/>
                  <a:pt x="233104" y="824001"/>
                </a:cubicBezTo>
                <a:cubicBezTo>
                  <a:pt x="210545" y="839063"/>
                  <a:pt x="191746" y="835298"/>
                  <a:pt x="161669" y="839063"/>
                </a:cubicBezTo>
                <a:cubicBezTo>
                  <a:pt x="161669" y="839063"/>
                  <a:pt x="161669" y="839063"/>
                  <a:pt x="184227" y="827767"/>
                </a:cubicBezTo>
                <a:cubicBezTo>
                  <a:pt x="184227" y="827767"/>
                  <a:pt x="184227" y="827767"/>
                  <a:pt x="176707" y="827767"/>
                </a:cubicBezTo>
                <a:cubicBezTo>
                  <a:pt x="199266" y="827767"/>
                  <a:pt x="214305" y="805175"/>
                  <a:pt x="251902" y="805175"/>
                </a:cubicBezTo>
                <a:cubicBezTo>
                  <a:pt x="259422" y="801409"/>
                  <a:pt x="259422" y="793878"/>
                  <a:pt x="274461" y="797644"/>
                </a:cubicBezTo>
                <a:cubicBezTo>
                  <a:pt x="274461" y="797644"/>
                  <a:pt x="274461" y="797644"/>
                  <a:pt x="281980" y="797644"/>
                </a:cubicBezTo>
                <a:cubicBezTo>
                  <a:pt x="281980" y="797644"/>
                  <a:pt x="281980" y="797644"/>
                  <a:pt x="297019" y="790113"/>
                </a:cubicBezTo>
                <a:cubicBezTo>
                  <a:pt x="297019" y="790113"/>
                  <a:pt x="297019" y="790113"/>
                  <a:pt x="293259" y="786348"/>
                </a:cubicBezTo>
                <a:cubicBezTo>
                  <a:pt x="281980" y="778817"/>
                  <a:pt x="372214" y="782582"/>
                  <a:pt x="327097" y="763755"/>
                </a:cubicBezTo>
                <a:cubicBezTo>
                  <a:pt x="300779" y="778817"/>
                  <a:pt x="255662" y="771286"/>
                  <a:pt x="236863" y="786348"/>
                </a:cubicBezTo>
                <a:cubicBezTo>
                  <a:pt x="236863" y="786348"/>
                  <a:pt x="236863" y="786348"/>
                  <a:pt x="199266" y="790113"/>
                </a:cubicBezTo>
                <a:cubicBezTo>
                  <a:pt x="244383" y="771286"/>
                  <a:pt x="330857" y="763755"/>
                  <a:pt x="330857" y="726101"/>
                </a:cubicBezTo>
                <a:cubicBezTo>
                  <a:pt x="345896" y="718570"/>
                  <a:pt x="353415" y="711040"/>
                  <a:pt x="357175" y="699743"/>
                </a:cubicBezTo>
                <a:cubicBezTo>
                  <a:pt x="360935" y="703509"/>
                  <a:pt x="360935" y="699743"/>
                  <a:pt x="364695" y="699743"/>
                </a:cubicBezTo>
                <a:cubicBezTo>
                  <a:pt x="364695" y="699743"/>
                  <a:pt x="364695" y="699743"/>
                  <a:pt x="364695" y="688447"/>
                </a:cubicBezTo>
                <a:cubicBezTo>
                  <a:pt x="387253" y="680917"/>
                  <a:pt x="398533" y="665855"/>
                  <a:pt x="402292" y="650793"/>
                </a:cubicBezTo>
                <a:cubicBezTo>
                  <a:pt x="439890" y="628201"/>
                  <a:pt x="417331" y="575486"/>
                  <a:pt x="511325" y="579251"/>
                </a:cubicBezTo>
                <a:cubicBezTo>
                  <a:pt x="526364" y="564190"/>
                  <a:pt x="537643" y="549128"/>
                  <a:pt x="551742" y="534537"/>
                </a:cubicBezTo>
                <a:lnTo>
                  <a:pt x="561872" y="527136"/>
                </a:lnTo>
                <a:lnTo>
                  <a:pt x="558113" y="526214"/>
                </a:lnTo>
                <a:cubicBezTo>
                  <a:pt x="511116" y="514918"/>
                  <a:pt x="465059" y="502680"/>
                  <a:pt x="429342" y="481970"/>
                </a:cubicBezTo>
                <a:cubicBezTo>
                  <a:pt x="414303" y="478205"/>
                  <a:pt x="395504" y="474440"/>
                  <a:pt x="372945" y="474440"/>
                </a:cubicBezTo>
                <a:cubicBezTo>
                  <a:pt x="372945" y="474440"/>
                  <a:pt x="372945" y="474440"/>
                  <a:pt x="361666" y="470674"/>
                </a:cubicBezTo>
                <a:cubicBezTo>
                  <a:pt x="361666" y="470674"/>
                  <a:pt x="361666" y="470674"/>
                  <a:pt x="391744" y="470674"/>
                </a:cubicBezTo>
                <a:cubicBezTo>
                  <a:pt x="387984" y="470674"/>
                  <a:pt x="395504" y="474440"/>
                  <a:pt x="395504" y="474440"/>
                </a:cubicBezTo>
                <a:cubicBezTo>
                  <a:pt x="403023" y="474440"/>
                  <a:pt x="403023" y="470674"/>
                  <a:pt x="406783" y="470674"/>
                </a:cubicBezTo>
                <a:cubicBezTo>
                  <a:pt x="406783" y="470674"/>
                  <a:pt x="406783" y="470674"/>
                  <a:pt x="406783" y="463144"/>
                </a:cubicBezTo>
                <a:cubicBezTo>
                  <a:pt x="434981" y="472557"/>
                  <a:pt x="464119" y="483853"/>
                  <a:pt x="495607" y="493737"/>
                </a:cubicBezTo>
                <a:lnTo>
                  <a:pt x="582131" y="512335"/>
                </a:lnTo>
                <a:lnTo>
                  <a:pt x="609078" y="492647"/>
                </a:lnTo>
                <a:cubicBezTo>
                  <a:pt x="610958" y="494530"/>
                  <a:pt x="614718" y="494530"/>
                  <a:pt x="618947" y="494530"/>
                </a:cubicBezTo>
                <a:lnTo>
                  <a:pt x="624178" y="495306"/>
                </a:lnTo>
                <a:lnTo>
                  <a:pt x="639060" y="493374"/>
                </a:lnTo>
                <a:lnTo>
                  <a:pt x="653196" y="487588"/>
                </a:lnTo>
                <a:lnTo>
                  <a:pt x="661962" y="483064"/>
                </a:lnTo>
                <a:lnTo>
                  <a:pt x="658686" y="481970"/>
                </a:lnTo>
                <a:cubicBezTo>
                  <a:pt x="651166" y="485736"/>
                  <a:pt x="639887" y="489501"/>
                  <a:pt x="632367" y="485736"/>
                </a:cubicBezTo>
                <a:cubicBezTo>
                  <a:pt x="636127" y="478205"/>
                  <a:pt x="662445" y="478205"/>
                  <a:pt x="673725" y="470674"/>
                </a:cubicBezTo>
                <a:cubicBezTo>
                  <a:pt x="673725" y="470674"/>
                  <a:pt x="673725" y="470674"/>
                  <a:pt x="669965" y="466909"/>
                </a:cubicBezTo>
                <a:cubicBezTo>
                  <a:pt x="681244" y="459378"/>
                  <a:pt x="745160" y="463144"/>
                  <a:pt x="715082" y="444317"/>
                </a:cubicBezTo>
                <a:cubicBezTo>
                  <a:pt x="711322" y="440551"/>
                  <a:pt x="703802" y="440551"/>
                  <a:pt x="696283" y="440551"/>
                </a:cubicBezTo>
                <a:cubicBezTo>
                  <a:pt x="666205" y="451847"/>
                  <a:pt x="632367" y="485736"/>
                  <a:pt x="594770" y="474440"/>
                </a:cubicBezTo>
                <a:cubicBezTo>
                  <a:pt x="572212" y="489501"/>
                  <a:pt x="553413" y="485736"/>
                  <a:pt x="523335" y="489501"/>
                </a:cubicBezTo>
                <a:cubicBezTo>
                  <a:pt x="523335" y="489501"/>
                  <a:pt x="523335" y="489501"/>
                  <a:pt x="545893" y="478205"/>
                </a:cubicBezTo>
                <a:cubicBezTo>
                  <a:pt x="545893" y="478205"/>
                  <a:pt x="545893" y="478205"/>
                  <a:pt x="538374" y="478205"/>
                </a:cubicBezTo>
                <a:cubicBezTo>
                  <a:pt x="560932" y="478205"/>
                  <a:pt x="575971" y="455613"/>
                  <a:pt x="613569" y="455613"/>
                </a:cubicBezTo>
                <a:cubicBezTo>
                  <a:pt x="621088" y="451847"/>
                  <a:pt x="621088" y="444317"/>
                  <a:pt x="636127" y="448082"/>
                </a:cubicBezTo>
                <a:cubicBezTo>
                  <a:pt x="636127" y="448082"/>
                  <a:pt x="636127" y="448082"/>
                  <a:pt x="643647" y="448082"/>
                </a:cubicBezTo>
                <a:cubicBezTo>
                  <a:pt x="643647" y="448082"/>
                  <a:pt x="643647" y="448082"/>
                  <a:pt x="658686" y="440551"/>
                </a:cubicBezTo>
                <a:cubicBezTo>
                  <a:pt x="658686" y="440551"/>
                  <a:pt x="658686" y="440551"/>
                  <a:pt x="654926" y="436786"/>
                </a:cubicBezTo>
                <a:cubicBezTo>
                  <a:pt x="643647" y="429255"/>
                  <a:pt x="733880" y="433020"/>
                  <a:pt x="688764" y="414193"/>
                </a:cubicBezTo>
                <a:cubicBezTo>
                  <a:pt x="662445" y="429255"/>
                  <a:pt x="617328" y="421724"/>
                  <a:pt x="598530" y="436786"/>
                </a:cubicBezTo>
                <a:cubicBezTo>
                  <a:pt x="598530" y="436786"/>
                  <a:pt x="598530" y="436786"/>
                  <a:pt x="560932" y="440551"/>
                </a:cubicBezTo>
                <a:cubicBezTo>
                  <a:pt x="606049" y="421724"/>
                  <a:pt x="692523" y="414193"/>
                  <a:pt x="692523" y="376539"/>
                </a:cubicBezTo>
                <a:cubicBezTo>
                  <a:pt x="707562" y="369009"/>
                  <a:pt x="715082" y="361478"/>
                  <a:pt x="718841" y="350182"/>
                </a:cubicBezTo>
                <a:cubicBezTo>
                  <a:pt x="722601" y="353947"/>
                  <a:pt x="722601" y="350182"/>
                  <a:pt x="726361" y="350182"/>
                </a:cubicBezTo>
                <a:cubicBezTo>
                  <a:pt x="726361" y="350182"/>
                  <a:pt x="726361" y="350182"/>
                  <a:pt x="726361" y="338886"/>
                </a:cubicBezTo>
                <a:cubicBezTo>
                  <a:pt x="748919" y="331355"/>
                  <a:pt x="760199" y="316293"/>
                  <a:pt x="763958" y="301232"/>
                </a:cubicBezTo>
                <a:cubicBezTo>
                  <a:pt x="801556" y="278639"/>
                  <a:pt x="778997" y="225924"/>
                  <a:pt x="872991" y="229689"/>
                </a:cubicBezTo>
                <a:cubicBezTo>
                  <a:pt x="903069" y="199566"/>
                  <a:pt x="918108" y="169443"/>
                  <a:pt x="970744" y="143085"/>
                </a:cubicBezTo>
                <a:cubicBezTo>
                  <a:pt x="974504" y="146851"/>
                  <a:pt x="985783" y="143085"/>
                  <a:pt x="993302" y="146851"/>
                </a:cubicBezTo>
                <a:cubicBezTo>
                  <a:pt x="1023380" y="139320"/>
                  <a:pt x="1045939" y="109197"/>
                  <a:pt x="1087296" y="124258"/>
                </a:cubicBezTo>
                <a:cubicBezTo>
                  <a:pt x="1098575" y="128024"/>
                  <a:pt x="1102335" y="124258"/>
                  <a:pt x="1109854" y="120493"/>
                </a:cubicBezTo>
                <a:cubicBezTo>
                  <a:pt x="1109854" y="120493"/>
                  <a:pt x="1109854" y="120493"/>
                  <a:pt x="1109854" y="112962"/>
                </a:cubicBezTo>
                <a:cubicBezTo>
                  <a:pt x="1113614" y="128024"/>
                  <a:pt x="1154971" y="124258"/>
                  <a:pt x="1173770" y="120493"/>
                </a:cubicBezTo>
                <a:cubicBezTo>
                  <a:pt x="1170010" y="124258"/>
                  <a:pt x="1177530" y="128024"/>
                  <a:pt x="1166250" y="131789"/>
                </a:cubicBezTo>
                <a:cubicBezTo>
                  <a:pt x="1211367" y="139320"/>
                  <a:pt x="1233926" y="161912"/>
                  <a:pt x="1290322" y="154381"/>
                </a:cubicBezTo>
                <a:cubicBezTo>
                  <a:pt x="1290322" y="154381"/>
                  <a:pt x="1290322" y="154381"/>
                  <a:pt x="1286562" y="158147"/>
                </a:cubicBezTo>
                <a:cubicBezTo>
                  <a:pt x="1297841" y="158147"/>
                  <a:pt x="1301601" y="165678"/>
                  <a:pt x="1316640" y="161912"/>
                </a:cubicBezTo>
                <a:cubicBezTo>
                  <a:pt x="1350478" y="143085"/>
                  <a:pt x="1339198" y="109197"/>
                  <a:pt x="1399354" y="101666"/>
                </a:cubicBezTo>
                <a:cubicBezTo>
                  <a:pt x="1399354" y="94135"/>
                  <a:pt x="1406874" y="79073"/>
                  <a:pt x="1380555" y="82839"/>
                </a:cubicBezTo>
                <a:cubicBezTo>
                  <a:pt x="1376796" y="82839"/>
                  <a:pt x="1369276" y="86604"/>
                  <a:pt x="1369276" y="90370"/>
                </a:cubicBezTo>
                <a:cubicBezTo>
                  <a:pt x="1369276" y="86604"/>
                  <a:pt x="1369276" y="86604"/>
                  <a:pt x="1369276" y="86604"/>
                </a:cubicBezTo>
                <a:cubicBezTo>
                  <a:pt x="1339198" y="79073"/>
                  <a:pt x="1309120" y="79073"/>
                  <a:pt x="1275283" y="86604"/>
                </a:cubicBezTo>
                <a:cubicBezTo>
                  <a:pt x="1275283" y="86604"/>
                  <a:pt x="1275283" y="86604"/>
                  <a:pt x="1252724" y="97900"/>
                </a:cubicBezTo>
                <a:cubicBezTo>
                  <a:pt x="1248965" y="86604"/>
                  <a:pt x="1301601" y="86604"/>
                  <a:pt x="1282802" y="71543"/>
                </a:cubicBezTo>
                <a:cubicBezTo>
                  <a:pt x="1282802" y="71543"/>
                  <a:pt x="1282802" y="71543"/>
                  <a:pt x="1309120" y="67777"/>
                </a:cubicBezTo>
                <a:cubicBezTo>
                  <a:pt x="1327919" y="79073"/>
                  <a:pt x="1373036" y="79073"/>
                  <a:pt x="1399354" y="82839"/>
                </a:cubicBezTo>
                <a:cubicBezTo>
                  <a:pt x="1425672" y="82839"/>
                  <a:pt x="1433192" y="60247"/>
                  <a:pt x="1455750" y="56481"/>
                </a:cubicBezTo>
                <a:cubicBezTo>
                  <a:pt x="1455750" y="52716"/>
                  <a:pt x="1448231" y="52716"/>
                  <a:pt x="1440711" y="52716"/>
                </a:cubicBezTo>
                <a:cubicBezTo>
                  <a:pt x="1444471" y="33889"/>
                  <a:pt x="1485828" y="33889"/>
                  <a:pt x="1508387" y="22593"/>
                </a:cubicBezTo>
                <a:cubicBezTo>
                  <a:pt x="1497107" y="18827"/>
                  <a:pt x="1485828" y="15062"/>
                  <a:pt x="1474549" y="18827"/>
                </a:cubicBezTo>
                <a:cubicBezTo>
                  <a:pt x="1512146" y="7531"/>
                  <a:pt x="1557263" y="18827"/>
                  <a:pt x="1594861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800" b="1" dirty="0">
                <a:solidFill>
                  <a:srgbClr val="C00000"/>
                </a:solidFill>
                <a:latin typeface="汉仪雁翎体简" panose="02010609000101010101" pitchFamily="49" charset="-122"/>
                <a:ea typeface="汉仪雁翎体简" panose="02010609000101010101" pitchFamily="49" charset="-122"/>
              </a:rPr>
              <a:t>   </a:t>
            </a:r>
            <a:endParaRPr lang="en-US" altLang="zh-CN" sz="1800" b="1" dirty="0">
              <a:solidFill>
                <a:srgbClr val="C00000"/>
              </a:solidFill>
              <a:latin typeface="汉仪雁翎体简" panose="02010609000101010101" pitchFamily="49" charset="-122"/>
              <a:ea typeface="汉仪雁翎体简" panose="02010609000101010101" pitchFamily="49" charset="-122"/>
            </a:endParaRPr>
          </a:p>
          <a:p>
            <a:r>
              <a:rPr lang="zh-CN" altLang="en-US" sz="2400" b="1" dirty="0">
                <a:solidFill>
                  <a:srgbClr val="C00000"/>
                </a:solidFill>
                <a:latin typeface="汉仪雁翎体简" panose="02010609000101010101" pitchFamily="49" charset="-122"/>
                <a:ea typeface="汉仪雁翎体简" panose="02010609000101010101" pitchFamily="49" charset="-122"/>
              </a:rPr>
              <a:t>      投诚反差萌</a:t>
            </a:r>
            <a:endParaRPr lang="zh-CN" altLang="en-US" sz="2400" dirty="0">
              <a:solidFill>
                <a:prstClr val="black"/>
              </a:solidFill>
            </a:endParaRPr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CFBF7BFE-2B7B-D6C6-BBC4-EC64C8B44A39}"/>
              </a:ext>
            </a:extLst>
          </p:cNvPr>
          <p:cNvSpPr>
            <a:spLocks/>
          </p:cNvSpPr>
          <p:nvPr/>
        </p:nvSpPr>
        <p:spPr bwMode="auto">
          <a:xfrm rot="506126">
            <a:off x="3313733" y="-37311"/>
            <a:ext cx="3387829" cy="1069960"/>
          </a:xfrm>
          <a:custGeom>
            <a:avLst/>
            <a:gdLst>
              <a:gd name="connsiteX0" fmla="*/ 883995 w 5227821"/>
              <a:gd name="connsiteY0" fmla="*/ 1158893 h 1257266"/>
              <a:gd name="connsiteX1" fmla="*/ 891058 w 5227821"/>
              <a:gd name="connsiteY1" fmla="*/ 1159121 h 1257266"/>
              <a:gd name="connsiteX2" fmla="*/ 883539 w 5227821"/>
              <a:gd name="connsiteY2" fmla="*/ 1159121 h 1257266"/>
              <a:gd name="connsiteX3" fmla="*/ 4615788 w 5227821"/>
              <a:gd name="connsiteY3" fmla="*/ 826594 h 1257266"/>
              <a:gd name="connsiteX4" fmla="*/ 4616959 w 5227821"/>
              <a:gd name="connsiteY4" fmla="*/ 827767 h 1257266"/>
              <a:gd name="connsiteX5" fmla="*/ 4617450 w 5227821"/>
              <a:gd name="connsiteY5" fmla="*/ 827029 h 1257266"/>
              <a:gd name="connsiteX6" fmla="*/ 4610559 w 5227821"/>
              <a:gd name="connsiteY6" fmla="*/ 825984 h 1257266"/>
              <a:gd name="connsiteX7" fmla="*/ 4591373 w 5227821"/>
              <a:gd name="connsiteY7" fmla="*/ 828386 h 1257266"/>
              <a:gd name="connsiteX8" fmla="*/ 4584680 w 5227821"/>
              <a:gd name="connsiteY8" fmla="*/ 830752 h 1257266"/>
              <a:gd name="connsiteX9" fmla="*/ 4583122 w 5227821"/>
              <a:gd name="connsiteY9" fmla="*/ 831532 h 1257266"/>
              <a:gd name="connsiteX10" fmla="*/ 4598161 w 5227821"/>
              <a:gd name="connsiteY10" fmla="*/ 835298 h 1257266"/>
              <a:gd name="connsiteX11" fmla="*/ 4600041 w 5227821"/>
              <a:gd name="connsiteY11" fmla="*/ 833886 h 1257266"/>
              <a:gd name="connsiteX12" fmla="*/ 4763331 w 5227821"/>
              <a:gd name="connsiteY12" fmla="*/ 809097 h 1257266"/>
              <a:gd name="connsiteX13" fmla="*/ 4764025 w 5227821"/>
              <a:gd name="connsiteY13" fmla="*/ 815097 h 1257266"/>
              <a:gd name="connsiteX14" fmla="*/ 4768080 w 5227821"/>
              <a:gd name="connsiteY14" fmla="*/ 809559 h 1257266"/>
              <a:gd name="connsiteX15" fmla="*/ 4653526 w 5227821"/>
              <a:gd name="connsiteY15" fmla="*/ 808089 h 1257266"/>
              <a:gd name="connsiteX16" fmla="*/ 4644009 w 5227821"/>
              <a:gd name="connsiteY16" fmla="*/ 820856 h 1257266"/>
              <a:gd name="connsiteX17" fmla="*/ 4659047 w 5227821"/>
              <a:gd name="connsiteY17" fmla="*/ 828386 h 1257266"/>
              <a:gd name="connsiteX18" fmla="*/ 4642634 w 5227821"/>
              <a:gd name="connsiteY18" fmla="*/ 833009 h 1257266"/>
              <a:gd name="connsiteX19" fmla="*/ 4658317 w 5227821"/>
              <a:gd name="connsiteY19" fmla="*/ 846594 h 1257266"/>
              <a:gd name="connsiteX20" fmla="*/ 4684635 w 5227821"/>
              <a:gd name="connsiteY20" fmla="*/ 816471 h 1257266"/>
              <a:gd name="connsiteX21" fmla="*/ 4683861 w 5227821"/>
              <a:gd name="connsiteY21" fmla="*/ 813370 h 1257266"/>
              <a:gd name="connsiteX22" fmla="*/ 4669387 w 5227821"/>
              <a:gd name="connsiteY22" fmla="*/ 809089 h 1257266"/>
              <a:gd name="connsiteX23" fmla="*/ 4653526 w 5227821"/>
              <a:gd name="connsiteY23" fmla="*/ 808089 h 1257266"/>
              <a:gd name="connsiteX24" fmla="*/ 4720496 w 5227821"/>
              <a:gd name="connsiteY24" fmla="*/ 800558 h 1257266"/>
              <a:gd name="connsiteX25" fmla="*/ 4704165 w 5227821"/>
              <a:gd name="connsiteY25" fmla="*/ 809559 h 1257266"/>
              <a:gd name="connsiteX26" fmla="*/ 4711684 w 5227821"/>
              <a:gd name="connsiteY26" fmla="*/ 817090 h 1257266"/>
              <a:gd name="connsiteX27" fmla="*/ 4703433 w 5227821"/>
              <a:gd name="connsiteY27" fmla="*/ 816325 h 1257266"/>
              <a:gd name="connsiteX28" fmla="*/ 4703433 w 5227821"/>
              <a:gd name="connsiteY28" fmla="*/ 824001 h 1257266"/>
              <a:gd name="connsiteX29" fmla="*/ 4718473 w 5227821"/>
              <a:gd name="connsiteY29" fmla="*/ 820236 h 1257266"/>
              <a:gd name="connsiteX30" fmla="*/ 4733511 w 5227821"/>
              <a:gd name="connsiteY30" fmla="*/ 846594 h 1257266"/>
              <a:gd name="connsiteX31" fmla="*/ 4710953 w 5227821"/>
              <a:gd name="connsiteY31" fmla="*/ 850359 h 1257266"/>
              <a:gd name="connsiteX32" fmla="*/ 4692155 w 5227821"/>
              <a:gd name="connsiteY32" fmla="*/ 842828 h 1257266"/>
              <a:gd name="connsiteX33" fmla="*/ 4658317 w 5227821"/>
              <a:gd name="connsiteY33" fmla="*/ 854125 h 1257266"/>
              <a:gd name="connsiteX34" fmla="*/ 4677115 w 5227821"/>
              <a:gd name="connsiteY34" fmla="*/ 854125 h 1257266"/>
              <a:gd name="connsiteX35" fmla="*/ 4673355 w 5227821"/>
              <a:gd name="connsiteY35" fmla="*/ 857890 h 1257266"/>
              <a:gd name="connsiteX36" fmla="*/ 4741031 w 5227821"/>
              <a:gd name="connsiteY36" fmla="*/ 857890 h 1257266"/>
              <a:gd name="connsiteX37" fmla="*/ 4748551 w 5227821"/>
              <a:gd name="connsiteY37" fmla="*/ 861655 h 1257266"/>
              <a:gd name="connsiteX38" fmla="*/ 4752310 w 5227821"/>
              <a:gd name="connsiteY38" fmla="*/ 857890 h 1257266"/>
              <a:gd name="connsiteX39" fmla="*/ 4763589 w 5227821"/>
              <a:gd name="connsiteY39" fmla="*/ 854125 h 1257266"/>
              <a:gd name="connsiteX40" fmla="*/ 4752310 w 5227821"/>
              <a:gd name="connsiteY40" fmla="*/ 854125 h 1257266"/>
              <a:gd name="connsiteX41" fmla="*/ 4756070 w 5227821"/>
              <a:gd name="connsiteY41" fmla="*/ 835298 h 1257266"/>
              <a:gd name="connsiteX42" fmla="*/ 4744321 w 5227821"/>
              <a:gd name="connsiteY42" fmla="*/ 817412 h 1257266"/>
              <a:gd name="connsiteX43" fmla="*/ 4747974 w 5227821"/>
              <a:gd name="connsiteY43" fmla="*/ 806649 h 1257266"/>
              <a:gd name="connsiteX44" fmla="*/ 4736122 w 5227821"/>
              <a:gd name="connsiteY44" fmla="*/ 802499 h 1257266"/>
              <a:gd name="connsiteX45" fmla="*/ 4720496 w 5227821"/>
              <a:gd name="connsiteY45" fmla="*/ 800558 h 1257266"/>
              <a:gd name="connsiteX46" fmla="*/ 1676438 w 5227821"/>
              <a:gd name="connsiteY46" fmla="*/ 90716 h 1257266"/>
              <a:gd name="connsiteX47" fmla="*/ 1850993 w 5227821"/>
              <a:gd name="connsiteY47" fmla="*/ 94135 h 1257266"/>
              <a:gd name="connsiteX48" fmla="*/ 2046029 w 5227821"/>
              <a:gd name="connsiteY48" fmla="*/ 97900 h 1257266"/>
              <a:gd name="connsiteX49" fmla="*/ 2057308 w 5227821"/>
              <a:gd name="connsiteY49" fmla="*/ 101666 h 1257266"/>
              <a:gd name="connsiteX50" fmla="*/ 1850523 w 5227821"/>
              <a:gd name="connsiteY50" fmla="*/ 97900 h 1257266"/>
              <a:gd name="connsiteX51" fmla="*/ 1692614 w 5227821"/>
              <a:gd name="connsiteY51" fmla="*/ 94135 h 1257266"/>
              <a:gd name="connsiteX52" fmla="*/ 1675636 w 5227821"/>
              <a:gd name="connsiteY52" fmla="*/ 90546 h 1257266"/>
              <a:gd name="connsiteX53" fmla="*/ 1676438 w 5227821"/>
              <a:gd name="connsiteY53" fmla="*/ 90716 h 1257266"/>
              <a:gd name="connsiteX54" fmla="*/ 1674865 w 5227821"/>
              <a:gd name="connsiteY54" fmla="*/ 90685 h 1257266"/>
              <a:gd name="connsiteX55" fmla="*/ 2005634 w 5227821"/>
              <a:gd name="connsiteY55" fmla="*/ 36919 h 1257266"/>
              <a:gd name="connsiteX56" fmla="*/ 2008432 w 5227821"/>
              <a:gd name="connsiteY56" fmla="*/ 37654 h 1257266"/>
              <a:gd name="connsiteX57" fmla="*/ 2000912 w 5227821"/>
              <a:gd name="connsiteY57" fmla="*/ 37654 h 1257266"/>
              <a:gd name="connsiteX58" fmla="*/ 1594861 w 5227821"/>
              <a:gd name="connsiteY58" fmla="*/ 0 h 1257266"/>
              <a:gd name="connsiteX59" fmla="*/ 1655016 w 5227821"/>
              <a:gd name="connsiteY59" fmla="*/ 11296 h 1257266"/>
              <a:gd name="connsiteX60" fmla="*/ 1651257 w 5227821"/>
              <a:gd name="connsiteY60" fmla="*/ 18827 h 1257266"/>
              <a:gd name="connsiteX61" fmla="*/ 1767809 w 5227821"/>
              <a:gd name="connsiteY61" fmla="*/ 22593 h 1257266"/>
              <a:gd name="connsiteX62" fmla="*/ 2230256 w 5227821"/>
              <a:gd name="connsiteY62" fmla="*/ 26358 h 1257266"/>
              <a:gd name="connsiteX63" fmla="*/ 2275373 w 5227821"/>
              <a:gd name="connsiteY63" fmla="*/ 30123 h 1257266"/>
              <a:gd name="connsiteX64" fmla="*/ 2046029 w 5227821"/>
              <a:gd name="connsiteY64" fmla="*/ 33889 h 1257266"/>
              <a:gd name="connsiteX65" fmla="*/ 2022061 w 5227821"/>
              <a:gd name="connsiteY65" fmla="*/ 34359 h 1257266"/>
              <a:gd name="connsiteX66" fmla="*/ 2005634 w 5227821"/>
              <a:gd name="connsiteY66" fmla="*/ 36919 h 1257266"/>
              <a:gd name="connsiteX67" fmla="*/ 1983817 w 5227821"/>
              <a:gd name="connsiteY67" fmla="*/ 31183 h 1257266"/>
              <a:gd name="connsiteX68" fmla="*/ 1888120 w 5227821"/>
              <a:gd name="connsiteY68" fmla="*/ 30123 h 1257266"/>
              <a:gd name="connsiteX69" fmla="*/ 1662536 w 5227821"/>
              <a:gd name="connsiteY69" fmla="*/ 26358 h 1257266"/>
              <a:gd name="connsiteX70" fmla="*/ 1655016 w 5227821"/>
              <a:gd name="connsiteY70" fmla="*/ 37654 h 1257266"/>
              <a:gd name="connsiteX71" fmla="*/ 1609900 w 5227821"/>
              <a:gd name="connsiteY71" fmla="*/ 30123 h 1257266"/>
              <a:gd name="connsiteX72" fmla="*/ 1553503 w 5227821"/>
              <a:gd name="connsiteY72" fmla="*/ 52716 h 1257266"/>
              <a:gd name="connsiteX73" fmla="*/ 1587341 w 5227821"/>
              <a:gd name="connsiteY73" fmla="*/ 56481 h 1257266"/>
              <a:gd name="connsiteX74" fmla="*/ 1542224 w 5227821"/>
              <a:gd name="connsiteY74" fmla="*/ 56481 h 1257266"/>
              <a:gd name="connsiteX75" fmla="*/ 1527185 w 5227821"/>
              <a:gd name="connsiteY75" fmla="*/ 71543 h 1257266"/>
              <a:gd name="connsiteX76" fmla="*/ 1478309 w 5227821"/>
              <a:gd name="connsiteY76" fmla="*/ 79073 h 1257266"/>
              <a:gd name="connsiteX77" fmla="*/ 1658776 w 5227821"/>
              <a:gd name="connsiteY77" fmla="*/ 90370 h 1257266"/>
              <a:gd name="connsiteX78" fmla="*/ 1674865 w 5227821"/>
              <a:gd name="connsiteY78" fmla="*/ 90685 h 1257266"/>
              <a:gd name="connsiteX79" fmla="*/ 1658306 w 5227821"/>
              <a:gd name="connsiteY79" fmla="*/ 93664 h 1257266"/>
              <a:gd name="connsiteX80" fmla="*/ 1621179 w 5227821"/>
              <a:gd name="connsiteY80" fmla="*/ 101666 h 1257266"/>
              <a:gd name="connsiteX81" fmla="*/ 1579822 w 5227821"/>
              <a:gd name="connsiteY81" fmla="*/ 128024 h 1257266"/>
              <a:gd name="connsiteX82" fmla="*/ 1576062 w 5227821"/>
              <a:gd name="connsiteY82" fmla="*/ 120493 h 1257266"/>
              <a:gd name="connsiteX83" fmla="*/ 1598620 w 5227821"/>
              <a:gd name="connsiteY83" fmla="*/ 112962 h 1257266"/>
              <a:gd name="connsiteX84" fmla="*/ 1587341 w 5227821"/>
              <a:gd name="connsiteY84" fmla="*/ 109197 h 1257266"/>
              <a:gd name="connsiteX85" fmla="*/ 1564783 w 5227821"/>
              <a:gd name="connsiteY85" fmla="*/ 109197 h 1257266"/>
              <a:gd name="connsiteX86" fmla="*/ 1553503 w 5227821"/>
              <a:gd name="connsiteY86" fmla="*/ 105431 h 1257266"/>
              <a:gd name="connsiteX87" fmla="*/ 1621179 w 5227821"/>
              <a:gd name="connsiteY87" fmla="*/ 94135 h 1257266"/>
              <a:gd name="connsiteX88" fmla="*/ 1448231 w 5227821"/>
              <a:gd name="connsiteY88" fmla="*/ 86604 h 1257266"/>
              <a:gd name="connsiteX89" fmla="*/ 1410633 w 5227821"/>
              <a:gd name="connsiteY89" fmla="*/ 97900 h 1257266"/>
              <a:gd name="connsiteX90" fmla="*/ 1444471 w 5227821"/>
              <a:gd name="connsiteY90" fmla="*/ 101666 h 1257266"/>
              <a:gd name="connsiteX91" fmla="*/ 1380555 w 5227821"/>
              <a:gd name="connsiteY91" fmla="*/ 131789 h 1257266"/>
              <a:gd name="connsiteX92" fmla="*/ 1380555 w 5227821"/>
              <a:gd name="connsiteY92" fmla="*/ 112962 h 1257266"/>
              <a:gd name="connsiteX93" fmla="*/ 1369276 w 5227821"/>
              <a:gd name="connsiteY93" fmla="*/ 131789 h 1257266"/>
              <a:gd name="connsiteX94" fmla="*/ 1357997 w 5227821"/>
              <a:gd name="connsiteY94" fmla="*/ 131789 h 1257266"/>
              <a:gd name="connsiteX95" fmla="*/ 1354237 w 5227821"/>
              <a:gd name="connsiteY95" fmla="*/ 146851 h 1257266"/>
              <a:gd name="connsiteX96" fmla="*/ 1350478 w 5227821"/>
              <a:gd name="connsiteY96" fmla="*/ 139320 h 1257266"/>
              <a:gd name="connsiteX97" fmla="*/ 1327919 w 5227821"/>
              <a:gd name="connsiteY97" fmla="*/ 161912 h 1257266"/>
              <a:gd name="connsiteX98" fmla="*/ 1436952 w 5227821"/>
              <a:gd name="connsiteY98" fmla="*/ 173208 h 1257266"/>
              <a:gd name="connsiteX99" fmla="*/ 1459510 w 5227821"/>
              <a:gd name="connsiteY99" fmla="*/ 192035 h 1257266"/>
              <a:gd name="connsiteX100" fmla="*/ 1421913 w 5227821"/>
              <a:gd name="connsiteY100" fmla="*/ 207097 h 1257266"/>
              <a:gd name="connsiteX101" fmla="*/ 1451990 w 5227821"/>
              <a:gd name="connsiteY101" fmla="*/ 207097 h 1257266"/>
              <a:gd name="connsiteX102" fmla="*/ 1451990 w 5227821"/>
              <a:gd name="connsiteY102" fmla="*/ 210862 h 1257266"/>
              <a:gd name="connsiteX103" fmla="*/ 1512146 w 5227821"/>
              <a:gd name="connsiteY103" fmla="*/ 210862 h 1257266"/>
              <a:gd name="connsiteX104" fmla="*/ 1512146 w 5227821"/>
              <a:gd name="connsiteY104" fmla="*/ 214628 h 1257266"/>
              <a:gd name="connsiteX105" fmla="*/ 1534705 w 5227821"/>
              <a:gd name="connsiteY105" fmla="*/ 214628 h 1257266"/>
              <a:gd name="connsiteX106" fmla="*/ 1538464 w 5227821"/>
              <a:gd name="connsiteY106" fmla="*/ 210862 h 1257266"/>
              <a:gd name="connsiteX107" fmla="*/ 1538464 w 5227821"/>
              <a:gd name="connsiteY107" fmla="*/ 218393 h 1257266"/>
              <a:gd name="connsiteX108" fmla="*/ 1515906 w 5227821"/>
              <a:gd name="connsiteY108" fmla="*/ 225924 h 1257266"/>
              <a:gd name="connsiteX109" fmla="*/ 1549744 w 5227821"/>
              <a:gd name="connsiteY109" fmla="*/ 229689 h 1257266"/>
              <a:gd name="connsiteX110" fmla="*/ 1542224 w 5227821"/>
              <a:gd name="connsiteY110" fmla="*/ 237220 h 1257266"/>
              <a:gd name="connsiteX111" fmla="*/ 1722692 w 5227821"/>
              <a:gd name="connsiteY111" fmla="*/ 225924 h 1257266"/>
              <a:gd name="connsiteX112" fmla="*/ 1764049 w 5227821"/>
              <a:gd name="connsiteY112" fmla="*/ 218393 h 1257266"/>
              <a:gd name="connsiteX113" fmla="*/ 1801646 w 5227821"/>
              <a:gd name="connsiteY113" fmla="*/ 218393 h 1257266"/>
              <a:gd name="connsiteX114" fmla="*/ 1809166 w 5227821"/>
              <a:gd name="connsiteY114" fmla="*/ 214628 h 1257266"/>
              <a:gd name="connsiteX115" fmla="*/ 1940757 w 5227821"/>
              <a:gd name="connsiteY115" fmla="*/ 214628 h 1257266"/>
              <a:gd name="connsiteX116" fmla="*/ 2083627 w 5227821"/>
              <a:gd name="connsiteY116" fmla="*/ 203331 h 1257266"/>
              <a:gd name="connsiteX117" fmla="*/ 2124984 w 5227821"/>
              <a:gd name="connsiteY117" fmla="*/ 203331 h 1257266"/>
              <a:gd name="connsiteX118" fmla="*/ 2128744 w 5227821"/>
              <a:gd name="connsiteY118" fmla="*/ 199566 h 1257266"/>
              <a:gd name="connsiteX119" fmla="*/ 2117464 w 5227821"/>
              <a:gd name="connsiteY119" fmla="*/ 195801 h 1257266"/>
              <a:gd name="connsiteX120" fmla="*/ 2128744 w 5227821"/>
              <a:gd name="connsiteY120" fmla="*/ 192035 h 1257266"/>
              <a:gd name="connsiteX121" fmla="*/ 2121224 w 5227821"/>
              <a:gd name="connsiteY121" fmla="*/ 188270 h 1257266"/>
              <a:gd name="connsiteX122" fmla="*/ 2192659 w 5227821"/>
              <a:gd name="connsiteY122" fmla="*/ 184504 h 1257266"/>
              <a:gd name="connsiteX123" fmla="*/ 2196419 w 5227821"/>
              <a:gd name="connsiteY123" fmla="*/ 199566 h 1257266"/>
              <a:gd name="connsiteX124" fmla="*/ 2215218 w 5227821"/>
              <a:gd name="connsiteY124" fmla="*/ 195801 h 1257266"/>
              <a:gd name="connsiteX125" fmla="*/ 2203938 w 5227821"/>
              <a:gd name="connsiteY125" fmla="*/ 188270 h 1257266"/>
              <a:gd name="connsiteX126" fmla="*/ 2271614 w 5227821"/>
              <a:gd name="connsiteY126" fmla="*/ 188270 h 1257266"/>
              <a:gd name="connsiteX127" fmla="*/ 2395685 w 5227821"/>
              <a:gd name="connsiteY127" fmla="*/ 184504 h 1257266"/>
              <a:gd name="connsiteX128" fmla="*/ 2422003 w 5227821"/>
              <a:gd name="connsiteY128" fmla="*/ 169443 h 1257266"/>
              <a:gd name="connsiteX129" fmla="*/ 2564873 w 5227821"/>
              <a:gd name="connsiteY129" fmla="*/ 180739 h 1257266"/>
              <a:gd name="connsiteX130" fmla="*/ 2737821 w 5227821"/>
              <a:gd name="connsiteY130" fmla="*/ 176974 h 1257266"/>
              <a:gd name="connsiteX131" fmla="*/ 2737821 w 5227821"/>
              <a:gd name="connsiteY131" fmla="*/ 169443 h 1257266"/>
              <a:gd name="connsiteX132" fmla="*/ 2794217 w 5227821"/>
              <a:gd name="connsiteY132" fmla="*/ 176974 h 1257266"/>
              <a:gd name="connsiteX133" fmla="*/ 2805496 w 5227821"/>
              <a:gd name="connsiteY133" fmla="*/ 169443 h 1257266"/>
              <a:gd name="connsiteX134" fmla="*/ 3568723 w 5227821"/>
              <a:gd name="connsiteY134" fmla="*/ 165678 h 1257266"/>
              <a:gd name="connsiteX135" fmla="*/ 3673996 w 5227821"/>
              <a:gd name="connsiteY135" fmla="*/ 158147 h 1257266"/>
              <a:gd name="connsiteX136" fmla="*/ 3719113 w 5227821"/>
              <a:gd name="connsiteY136" fmla="*/ 161912 h 1257266"/>
              <a:gd name="connsiteX137" fmla="*/ 3880782 w 5227821"/>
              <a:gd name="connsiteY137" fmla="*/ 150616 h 1257266"/>
              <a:gd name="connsiteX138" fmla="*/ 3869503 w 5227821"/>
              <a:gd name="connsiteY138" fmla="*/ 161912 h 1257266"/>
              <a:gd name="connsiteX139" fmla="*/ 3922139 w 5227821"/>
              <a:gd name="connsiteY139" fmla="*/ 169443 h 1257266"/>
              <a:gd name="connsiteX140" fmla="*/ 4046210 w 5227821"/>
              <a:gd name="connsiteY140" fmla="*/ 165678 h 1257266"/>
              <a:gd name="connsiteX141" fmla="*/ 4083807 w 5227821"/>
              <a:gd name="connsiteY141" fmla="*/ 165678 h 1257266"/>
              <a:gd name="connsiteX142" fmla="*/ 4083807 w 5227821"/>
              <a:gd name="connsiteY142" fmla="*/ 169443 h 1257266"/>
              <a:gd name="connsiteX143" fmla="*/ 4181561 w 5227821"/>
              <a:gd name="connsiteY143" fmla="*/ 173208 h 1257266"/>
              <a:gd name="connsiteX144" fmla="*/ 4264275 w 5227821"/>
              <a:gd name="connsiteY144" fmla="*/ 173208 h 1257266"/>
              <a:gd name="connsiteX145" fmla="*/ 4316911 w 5227821"/>
              <a:gd name="connsiteY145" fmla="*/ 184504 h 1257266"/>
              <a:gd name="connsiteX146" fmla="*/ 4440983 w 5227821"/>
              <a:gd name="connsiteY146" fmla="*/ 184504 h 1257266"/>
              <a:gd name="connsiteX147" fmla="*/ 4433463 w 5227821"/>
              <a:gd name="connsiteY147" fmla="*/ 192035 h 1257266"/>
              <a:gd name="connsiteX148" fmla="*/ 4512418 w 5227821"/>
              <a:gd name="connsiteY148" fmla="*/ 199566 h 1257266"/>
              <a:gd name="connsiteX149" fmla="*/ 4550015 w 5227821"/>
              <a:gd name="connsiteY149" fmla="*/ 203331 h 1257266"/>
              <a:gd name="connsiteX150" fmla="*/ 4557535 w 5227821"/>
              <a:gd name="connsiteY150" fmla="*/ 199566 h 1257266"/>
              <a:gd name="connsiteX151" fmla="*/ 4568814 w 5227821"/>
              <a:gd name="connsiteY151" fmla="*/ 207097 h 1257266"/>
              <a:gd name="connsiteX152" fmla="*/ 4644009 w 5227821"/>
              <a:gd name="connsiteY152" fmla="*/ 233455 h 1257266"/>
              <a:gd name="connsiteX153" fmla="*/ 4775599 w 5227821"/>
              <a:gd name="connsiteY153" fmla="*/ 237220 h 1257266"/>
              <a:gd name="connsiteX154" fmla="*/ 4828236 w 5227821"/>
              <a:gd name="connsiteY154" fmla="*/ 199566 h 1257266"/>
              <a:gd name="connsiteX155" fmla="*/ 4783119 w 5227821"/>
              <a:gd name="connsiteY155" fmla="*/ 188270 h 1257266"/>
              <a:gd name="connsiteX156" fmla="*/ 4828236 w 5227821"/>
              <a:gd name="connsiteY156" fmla="*/ 195801 h 1257266"/>
              <a:gd name="connsiteX157" fmla="*/ 4850795 w 5227821"/>
              <a:gd name="connsiteY157" fmla="*/ 180739 h 1257266"/>
              <a:gd name="connsiteX158" fmla="*/ 4794399 w 5227821"/>
              <a:gd name="connsiteY158" fmla="*/ 150616 h 1257266"/>
              <a:gd name="connsiteX159" fmla="*/ 4813197 w 5227821"/>
              <a:gd name="connsiteY159" fmla="*/ 143085 h 1257266"/>
              <a:gd name="connsiteX160" fmla="*/ 4738002 w 5227821"/>
              <a:gd name="connsiteY160" fmla="*/ 135554 h 1257266"/>
              <a:gd name="connsiteX161" fmla="*/ 4677847 w 5227821"/>
              <a:gd name="connsiteY161" fmla="*/ 139320 h 1257266"/>
              <a:gd name="connsiteX162" fmla="*/ 4644009 w 5227821"/>
              <a:gd name="connsiteY162" fmla="*/ 116727 h 1257266"/>
              <a:gd name="connsiteX163" fmla="*/ 4516177 w 5227821"/>
              <a:gd name="connsiteY163" fmla="*/ 109197 h 1257266"/>
              <a:gd name="connsiteX164" fmla="*/ 4444743 w 5227821"/>
              <a:gd name="connsiteY164" fmla="*/ 90370 h 1257266"/>
              <a:gd name="connsiteX165" fmla="*/ 4380827 w 5227821"/>
              <a:gd name="connsiteY165" fmla="*/ 82839 h 1257266"/>
              <a:gd name="connsiteX166" fmla="*/ 4365788 w 5227821"/>
              <a:gd name="connsiteY166" fmla="*/ 90370 h 1257266"/>
              <a:gd name="connsiteX167" fmla="*/ 4354509 w 5227821"/>
              <a:gd name="connsiteY167" fmla="*/ 86604 h 1257266"/>
              <a:gd name="connsiteX168" fmla="*/ 4331951 w 5227821"/>
              <a:gd name="connsiteY168" fmla="*/ 82839 h 1257266"/>
              <a:gd name="connsiteX169" fmla="*/ 4335710 w 5227821"/>
              <a:gd name="connsiteY169" fmla="*/ 67777 h 1257266"/>
              <a:gd name="connsiteX170" fmla="*/ 4474821 w 5227821"/>
              <a:gd name="connsiteY170" fmla="*/ 79073 h 1257266"/>
              <a:gd name="connsiteX171" fmla="*/ 4561295 w 5227821"/>
              <a:gd name="connsiteY171" fmla="*/ 90370 h 1257266"/>
              <a:gd name="connsiteX172" fmla="*/ 4681606 w 5227821"/>
              <a:gd name="connsiteY172" fmla="*/ 94135 h 1257266"/>
              <a:gd name="connsiteX173" fmla="*/ 4685366 w 5227821"/>
              <a:gd name="connsiteY173" fmla="*/ 97900 h 1257266"/>
              <a:gd name="connsiteX174" fmla="*/ 4801918 w 5227821"/>
              <a:gd name="connsiteY174" fmla="*/ 109197 h 1257266"/>
              <a:gd name="connsiteX175" fmla="*/ 4809437 w 5227821"/>
              <a:gd name="connsiteY175" fmla="*/ 112962 h 1257266"/>
              <a:gd name="connsiteX176" fmla="*/ 4824476 w 5227821"/>
              <a:gd name="connsiteY176" fmla="*/ 105431 h 1257266"/>
              <a:gd name="connsiteX177" fmla="*/ 4828236 w 5227821"/>
              <a:gd name="connsiteY177" fmla="*/ 109197 h 1257266"/>
              <a:gd name="connsiteX178" fmla="*/ 4805677 w 5227821"/>
              <a:gd name="connsiteY178" fmla="*/ 124258 h 1257266"/>
              <a:gd name="connsiteX179" fmla="*/ 4903431 w 5227821"/>
              <a:gd name="connsiteY179" fmla="*/ 124258 h 1257266"/>
              <a:gd name="connsiteX180" fmla="*/ 4925989 w 5227821"/>
              <a:gd name="connsiteY180" fmla="*/ 143085 h 1257266"/>
              <a:gd name="connsiteX181" fmla="*/ 4941028 w 5227821"/>
              <a:gd name="connsiteY181" fmla="*/ 143085 h 1257266"/>
              <a:gd name="connsiteX182" fmla="*/ 4922229 w 5227821"/>
              <a:gd name="connsiteY182" fmla="*/ 109197 h 1257266"/>
              <a:gd name="connsiteX183" fmla="*/ 4956067 w 5227821"/>
              <a:gd name="connsiteY183" fmla="*/ 97900 h 1257266"/>
              <a:gd name="connsiteX184" fmla="*/ 4959827 w 5227821"/>
              <a:gd name="connsiteY184" fmla="*/ 94135 h 1257266"/>
              <a:gd name="connsiteX185" fmla="*/ 4922229 w 5227821"/>
              <a:gd name="connsiteY185" fmla="*/ 97900 h 1257266"/>
              <a:gd name="connsiteX186" fmla="*/ 4903431 w 5227821"/>
              <a:gd name="connsiteY186" fmla="*/ 86604 h 1257266"/>
              <a:gd name="connsiteX187" fmla="*/ 4933509 w 5227821"/>
              <a:gd name="connsiteY187" fmla="*/ 75308 h 1257266"/>
              <a:gd name="connsiteX188" fmla="*/ 4929749 w 5227821"/>
              <a:gd name="connsiteY188" fmla="*/ 71543 h 1257266"/>
              <a:gd name="connsiteX189" fmla="*/ 5068859 w 5227821"/>
              <a:gd name="connsiteY189" fmla="*/ 79073 h 1257266"/>
              <a:gd name="connsiteX190" fmla="*/ 5061339 w 5227821"/>
              <a:gd name="connsiteY190" fmla="*/ 75308 h 1257266"/>
              <a:gd name="connsiteX191" fmla="*/ 5132775 w 5227821"/>
              <a:gd name="connsiteY191" fmla="*/ 75308 h 1257266"/>
              <a:gd name="connsiteX192" fmla="*/ 5136535 w 5227821"/>
              <a:gd name="connsiteY192" fmla="*/ 71543 h 1257266"/>
              <a:gd name="connsiteX193" fmla="*/ 5087658 w 5227821"/>
              <a:gd name="connsiteY193" fmla="*/ 71543 h 1257266"/>
              <a:gd name="connsiteX194" fmla="*/ 5189171 w 5227821"/>
              <a:gd name="connsiteY194" fmla="*/ 52716 h 1257266"/>
              <a:gd name="connsiteX195" fmla="*/ 5095177 w 5227821"/>
              <a:gd name="connsiteY195" fmla="*/ 101666 h 1257266"/>
              <a:gd name="connsiteX196" fmla="*/ 5065099 w 5227821"/>
              <a:gd name="connsiteY196" fmla="*/ 131789 h 1257266"/>
              <a:gd name="connsiteX197" fmla="*/ 4971106 w 5227821"/>
              <a:gd name="connsiteY197" fmla="*/ 161912 h 1257266"/>
              <a:gd name="connsiteX198" fmla="*/ 5035021 w 5227821"/>
              <a:gd name="connsiteY198" fmla="*/ 165678 h 1257266"/>
              <a:gd name="connsiteX199" fmla="*/ 5023743 w 5227821"/>
              <a:gd name="connsiteY199" fmla="*/ 184504 h 1257266"/>
              <a:gd name="connsiteX200" fmla="*/ 4869593 w 5227821"/>
              <a:gd name="connsiteY200" fmla="*/ 263578 h 1257266"/>
              <a:gd name="connsiteX201" fmla="*/ 4884632 w 5227821"/>
              <a:gd name="connsiteY201" fmla="*/ 267343 h 1257266"/>
              <a:gd name="connsiteX202" fmla="*/ 4798158 w 5227821"/>
              <a:gd name="connsiteY202" fmla="*/ 312528 h 1257266"/>
              <a:gd name="connsiteX203" fmla="*/ 4809437 w 5227821"/>
              <a:gd name="connsiteY203" fmla="*/ 316293 h 1257266"/>
              <a:gd name="connsiteX204" fmla="*/ 4783119 w 5227821"/>
              <a:gd name="connsiteY204" fmla="*/ 327589 h 1257266"/>
              <a:gd name="connsiteX205" fmla="*/ 4783119 w 5227821"/>
              <a:gd name="connsiteY205" fmla="*/ 304997 h 1257266"/>
              <a:gd name="connsiteX206" fmla="*/ 4760561 w 5227821"/>
              <a:gd name="connsiteY206" fmla="*/ 335120 h 1257266"/>
              <a:gd name="connsiteX207" fmla="*/ 4801918 w 5227821"/>
              <a:gd name="connsiteY207" fmla="*/ 342651 h 1257266"/>
              <a:gd name="connsiteX208" fmla="*/ 4801918 w 5227821"/>
              <a:gd name="connsiteY208" fmla="*/ 350182 h 1257266"/>
              <a:gd name="connsiteX209" fmla="*/ 4820717 w 5227821"/>
              <a:gd name="connsiteY209" fmla="*/ 346416 h 1257266"/>
              <a:gd name="connsiteX210" fmla="*/ 4816957 w 5227821"/>
              <a:gd name="connsiteY210" fmla="*/ 342651 h 1257266"/>
              <a:gd name="connsiteX211" fmla="*/ 4850795 w 5227821"/>
              <a:gd name="connsiteY211" fmla="*/ 342651 h 1257266"/>
              <a:gd name="connsiteX212" fmla="*/ 4850795 w 5227821"/>
              <a:gd name="connsiteY212" fmla="*/ 331355 h 1257266"/>
              <a:gd name="connsiteX213" fmla="*/ 4910950 w 5227821"/>
              <a:gd name="connsiteY213" fmla="*/ 323824 h 1257266"/>
              <a:gd name="connsiteX214" fmla="*/ 4918469 w 5227821"/>
              <a:gd name="connsiteY214" fmla="*/ 293701 h 1257266"/>
              <a:gd name="connsiteX215" fmla="*/ 4937269 w 5227821"/>
              <a:gd name="connsiteY215" fmla="*/ 278639 h 1257266"/>
              <a:gd name="connsiteX216" fmla="*/ 4941028 w 5227821"/>
              <a:gd name="connsiteY216" fmla="*/ 278639 h 1257266"/>
              <a:gd name="connsiteX217" fmla="*/ 4997424 w 5227821"/>
              <a:gd name="connsiteY217" fmla="*/ 256047 h 1257266"/>
              <a:gd name="connsiteX218" fmla="*/ 5042541 w 5227821"/>
              <a:gd name="connsiteY218" fmla="*/ 263578 h 1257266"/>
              <a:gd name="connsiteX219" fmla="*/ 5027502 w 5227821"/>
              <a:gd name="connsiteY219" fmla="*/ 278639 h 1257266"/>
              <a:gd name="connsiteX220" fmla="*/ 5061339 w 5227821"/>
              <a:gd name="connsiteY220" fmla="*/ 278639 h 1257266"/>
              <a:gd name="connsiteX221" fmla="*/ 5019983 w 5227821"/>
              <a:gd name="connsiteY221" fmla="*/ 323824 h 1257266"/>
              <a:gd name="connsiteX222" fmla="*/ 5012463 w 5227821"/>
              <a:gd name="connsiteY222" fmla="*/ 342651 h 1257266"/>
              <a:gd name="connsiteX223" fmla="*/ 5001184 w 5227821"/>
              <a:gd name="connsiteY223" fmla="*/ 335120 h 1257266"/>
              <a:gd name="connsiteX224" fmla="*/ 5001184 w 5227821"/>
              <a:gd name="connsiteY224" fmla="*/ 327589 h 1257266"/>
              <a:gd name="connsiteX225" fmla="*/ 4986145 w 5227821"/>
              <a:gd name="connsiteY225" fmla="*/ 335120 h 1257266"/>
              <a:gd name="connsiteX226" fmla="*/ 4978625 w 5227821"/>
              <a:gd name="connsiteY226" fmla="*/ 335120 h 1257266"/>
              <a:gd name="connsiteX227" fmla="*/ 4993665 w 5227821"/>
              <a:gd name="connsiteY227" fmla="*/ 301232 h 1257266"/>
              <a:gd name="connsiteX228" fmla="*/ 5008703 w 5227821"/>
              <a:gd name="connsiteY228" fmla="*/ 297466 h 1257266"/>
              <a:gd name="connsiteX229" fmla="*/ 5012463 w 5227821"/>
              <a:gd name="connsiteY229" fmla="*/ 286170 h 1257266"/>
              <a:gd name="connsiteX230" fmla="*/ 5027502 w 5227821"/>
              <a:gd name="connsiteY230" fmla="*/ 282405 h 1257266"/>
              <a:gd name="connsiteX231" fmla="*/ 4982385 w 5227821"/>
              <a:gd name="connsiteY231" fmla="*/ 286170 h 1257266"/>
              <a:gd name="connsiteX232" fmla="*/ 4888392 w 5227821"/>
              <a:gd name="connsiteY232" fmla="*/ 353947 h 1257266"/>
              <a:gd name="connsiteX233" fmla="*/ 4884632 w 5227821"/>
              <a:gd name="connsiteY233" fmla="*/ 365243 h 1257266"/>
              <a:gd name="connsiteX234" fmla="*/ 4869593 w 5227821"/>
              <a:gd name="connsiteY234" fmla="*/ 369009 h 1257266"/>
              <a:gd name="connsiteX235" fmla="*/ 4880873 w 5227821"/>
              <a:gd name="connsiteY235" fmla="*/ 380305 h 1257266"/>
              <a:gd name="connsiteX236" fmla="*/ 4865833 w 5227821"/>
              <a:gd name="connsiteY236" fmla="*/ 387836 h 1257266"/>
              <a:gd name="connsiteX237" fmla="*/ 4903431 w 5227821"/>
              <a:gd name="connsiteY237" fmla="*/ 391601 h 1257266"/>
              <a:gd name="connsiteX238" fmla="*/ 4929749 w 5227821"/>
              <a:gd name="connsiteY238" fmla="*/ 384070 h 1257266"/>
              <a:gd name="connsiteX239" fmla="*/ 4918469 w 5227821"/>
              <a:gd name="connsiteY239" fmla="*/ 395366 h 1257266"/>
              <a:gd name="connsiteX240" fmla="*/ 4925989 w 5227821"/>
              <a:gd name="connsiteY240" fmla="*/ 399132 h 1257266"/>
              <a:gd name="connsiteX241" fmla="*/ 4971106 w 5227821"/>
              <a:gd name="connsiteY241" fmla="*/ 380305 h 1257266"/>
              <a:gd name="connsiteX242" fmla="*/ 4967347 w 5227821"/>
              <a:gd name="connsiteY242" fmla="*/ 429255 h 1257266"/>
              <a:gd name="connsiteX243" fmla="*/ 5001184 w 5227821"/>
              <a:gd name="connsiteY243" fmla="*/ 391601 h 1257266"/>
              <a:gd name="connsiteX244" fmla="*/ 5012463 w 5227821"/>
              <a:gd name="connsiteY244" fmla="*/ 391601 h 1257266"/>
              <a:gd name="connsiteX245" fmla="*/ 4974865 w 5227821"/>
              <a:gd name="connsiteY245" fmla="*/ 466909 h 1257266"/>
              <a:gd name="connsiteX246" fmla="*/ 4971106 w 5227821"/>
              <a:gd name="connsiteY246" fmla="*/ 466909 h 1257266"/>
              <a:gd name="connsiteX247" fmla="*/ 4963587 w 5227821"/>
              <a:gd name="connsiteY247" fmla="*/ 470674 h 1257266"/>
              <a:gd name="connsiteX248" fmla="*/ 4952307 w 5227821"/>
              <a:gd name="connsiteY248" fmla="*/ 470674 h 1257266"/>
              <a:gd name="connsiteX249" fmla="*/ 4929749 w 5227821"/>
              <a:gd name="connsiteY249" fmla="*/ 474440 h 1257266"/>
              <a:gd name="connsiteX250" fmla="*/ 4952307 w 5227821"/>
              <a:gd name="connsiteY250" fmla="*/ 470674 h 1257266"/>
              <a:gd name="connsiteX251" fmla="*/ 4963587 w 5227821"/>
              <a:gd name="connsiteY251" fmla="*/ 470674 h 1257266"/>
              <a:gd name="connsiteX252" fmla="*/ 4967347 w 5227821"/>
              <a:gd name="connsiteY252" fmla="*/ 470674 h 1257266"/>
              <a:gd name="connsiteX253" fmla="*/ 4944788 w 5227821"/>
              <a:gd name="connsiteY253" fmla="*/ 481970 h 1257266"/>
              <a:gd name="connsiteX254" fmla="*/ 4959827 w 5227821"/>
              <a:gd name="connsiteY254" fmla="*/ 485736 h 1257266"/>
              <a:gd name="connsiteX255" fmla="*/ 4974865 w 5227821"/>
              <a:gd name="connsiteY255" fmla="*/ 474440 h 1257266"/>
              <a:gd name="connsiteX256" fmla="*/ 4978625 w 5227821"/>
              <a:gd name="connsiteY256" fmla="*/ 478205 h 1257266"/>
              <a:gd name="connsiteX257" fmla="*/ 4993665 w 5227821"/>
              <a:gd name="connsiteY257" fmla="*/ 455613 h 1257266"/>
              <a:gd name="connsiteX258" fmla="*/ 5004943 w 5227821"/>
              <a:gd name="connsiteY258" fmla="*/ 455613 h 1257266"/>
              <a:gd name="connsiteX259" fmla="*/ 5019983 w 5227821"/>
              <a:gd name="connsiteY259" fmla="*/ 497032 h 1257266"/>
              <a:gd name="connsiteX260" fmla="*/ 5046301 w 5227821"/>
              <a:gd name="connsiteY260" fmla="*/ 466909 h 1257266"/>
              <a:gd name="connsiteX261" fmla="*/ 5042541 w 5227821"/>
              <a:gd name="connsiteY261" fmla="*/ 451847 h 1257266"/>
              <a:gd name="connsiteX262" fmla="*/ 5065099 w 5227821"/>
              <a:gd name="connsiteY262" fmla="*/ 448082 h 1257266"/>
              <a:gd name="connsiteX263" fmla="*/ 5065099 w 5227821"/>
              <a:gd name="connsiteY263" fmla="*/ 474440 h 1257266"/>
              <a:gd name="connsiteX264" fmla="*/ 5080139 w 5227821"/>
              <a:gd name="connsiteY264" fmla="*/ 470674 h 1257266"/>
              <a:gd name="connsiteX265" fmla="*/ 5095177 w 5227821"/>
              <a:gd name="connsiteY265" fmla="*/ 497032 h 1257266"/>
              <a:gd name="connsiteX266" fmla="*/ 5072619 w 5227821"/>
              <a:gd name="connsiteY266" fmla="*/ 500797 h 1257266"/>
              <a:gd name="connsiteX267" fmla="*/ 5053821 w 5227821"/>
              <a:gd name="connsiteY267" fmla="*/ 493267 h 1257266"/>
              <a:gd name="connsiteX268" fmla="*/ 5019983 w 5227821"/>
              <a:gd name="connsiteY268" fmla="*/ 504563 h 1257266"/>
              <a:gd name="connsiteX269" fmla="*/ 5038781 w 5227821"/>
              <a:gd name="connsiteY269" fmla="*/ 504563 h 1257266"/>
              <a:gd name="connsiteX270" fmla="*/ 5035021 w 5227821"/>
              <a:gd name="connsiteY270" fmla="*/ 508328 h 1257266"/>
              <a:gd name="connsiteX271" fmla="*/ 5102697 w 5227821"/>
              <a:gd name="connsiteY271" fmla="*/ 508328 h 1257266"/>
              <a:gd name="connsiteX272" fmla="*/ 5110217 w 5227821"/>
              <a:gd name="connsiteY272" fmla="*/ 512094 h 1257266"/>
              <a:gd name="connsiteX273" fmla="*/ 5113976 w 5227821"/>
              <a:gd name="connsiteY273" fmla="*/ 508328 h 1257266"/>
              <a:gd name="connsiteX274" fmla="*/ 5125255 w 5227821"/>
              <a:gd name="connsiteY274" fmla="*/ 504563 h 1257266"/>
              <a:gd name="connsiteX275" fmla="*/ 5113976 w 5227821"/>
              <a:gd name="connsiteY275" fmla="*/ 504563 h 1257266"/>
              <a:gd name="connsiteX276" fmla="*/ 5117736 w 5227821"/>
              <a:gd name="connsiteY276" fmla="*/ 485736 h 1257266"/>
              <a:gd name="connsiteX277" fmla="*/ 5113976 w 5227821"/>
              <a:gd name="connsiteY277" fmla="*/ 444317 h 1257266"/>
              <a:gd name="connsiteX278" fmla="*/ 5159093 w 5227821"/>
              <a:gd name="connsiteY278" fmla="*/ 489501 h 1257266"/>
              <a:gd name="connsiteX279" fmla="*/ 5162853 w 5227821"/>
              <a:gd name="connsiteY279" fmla="*/ 485736 h 1257266"/>
              <a:gd name="connsiteX280" fmla="*/ 5170372 w 5227821"/>
              <a:gd name="connsiteY280" fmla="*/ 489501 h 1257266"/>
              <a:gd name="connsiteX281" fmla="*/ 5170372 w 5227821"/>
              <a:gd name="connsiteY281" fmla="*/ 519624 h 1257266"/>
              <a:gd name="connsiteX282" fmla="*/ 5162853 w 5227821"/>
              <a:gd name="connsiteY282" fmla="*/ 508328 h 1257266"/>
              <a:gd name="connsiteX283" fmla="*/ 5144054 w 5227821"/>
              <a:gd name="connsiteY283" fmla="*/ 549748 h 1257266"/>
              <a:gd name="connsiteX284" fmla="*/ 5110217 w 5227821"/>
              <a:gd name="connsiteY284" fmla="*/ 564809 h 1257266"/>
              <a:gd name="connsiteX285" fmla="*/ 5129015 w 5227821"/>
              <a:gd name="connsiteY285" fmla="*/ 606228 h 1257266"/>
              <a:gd name="connsiteX286" fmla="*/ 5159093 w 5227821"/>
              <a:gd name="connsiteY286" fmla="*/ 591167 h 1257266"/>
              <a:gd name="connsiteX287" fmla="*/ 5129015 w 5227821"/>
              <a:gd name="connsiteY287" fmla="*/ 617524 h 1257266"/>
              <a:gd name="connsiteX288" fmla="*/ 5136535 w 5227821"/>
              <a:gd name="connsiteY288" fmla="*/ 681536 h 1257266"/>
              <a:gd name="connsiteX289" fmla="*/ 5159093 w 5227821"/>
              <a:gd name="connsiteY289" fmla="*/ 692832 h 1257266"/>
              <a:gd name="connsiteX290" fmla="*/ 5207969 w 5227821"/>
              <a:gd name="connsiteY290" fmla="*/ 670240 h 1257266"/>
              <a:gd name="connsiteX291" fmla="*/ 5215489 w 5227821"/>
              <a:gd name="connsiteY291" fmla="*/ 674005 h 1257266"/>
              <a:gd name="connsiteX292" fmla="*/ 5223009 w 5227821"/>
              <a:gd name="connsiteY292" fmla="*/ 670240 h 1257266"/>
              <a:gd name="connsiteX293" fmla="*/ 5226769 w 5227821"/>
              <a:gd name="connsiteY293" fmla="*/ 704128 h 1257266"/>
              <a:gd name="connsiteX294" fmla="*/ 5129015 w 5227821"/>
              <a:gd name="connsiteY294" fmla="*/ 745548 h 1257266"/>
              <a:gd name="connsiteX295" fmla="*/ 5113976 w 5227821"/>
              <a:gd name="connsiteY295" fmla="*/ 745548 h 1257266"/>
              <a:gd name="connsiteX296" fmla="*/ 5117736 w 5227821"/>
              <a:gd name="connsiteY296" fmla="*/ 741782 h 1257266"/>
              <a:gd name="connsiteX297" fmla="*/ 5095177 w 5227821"/>
              <a:gd name="connsiteY297" fmla="*/ 741782 h 1257266"/>
              <a:gd name="connsiteX298" fmla="*/ 5038781 w 5227821"/>
              <a:gd name="connsiteY298" fmla="*/ 749313 h 1257266"/>
              <a:gd name="connsiteX299" fmla="*/ 5117736 w 5227821"/>
              <a:gd name="connsiteY299" fmla="*/ 756844 h 1257266"/>
              <a:gd name="connsiteX300" fmla="*/ 5016223 w 5227821"/>
              <a:gd name="connsiteY300" fmla="*/ 775671 h 1257266"/>
              <a:gd name="connsiteX301" fmla="*/ 4933509 w 5227821"/>
              <a:gd name="connsiteY301" fmla="*/ 768140 h 1257266"/>
              <a:gd name="connsiteX302" fmla="*/ 4892151 w 5227821"/>
              <a:gd name="connsiteY302" fmla="*/ 790732 h 1257266"/>
              <a:gd name="connsiteX303" fmla="*/ 4888392 w 5227821"/>
              <a:gd name="connsiteY303" fmla="*/ 786967 h 1257266"/>
              <a:gd name="connsiteX304" fmla="*/ 4869593 w 5227821"/>
              <a:gd name="connsiteY304" fmla="*/ 809559 h 1257266"/>
              <a:gd name="connsiteX305" fmla="*/ 4873353 w 5227821"/>
              <a:gd name="connsiteY305" fmla="*/ 813325 h 1257266"/>
              <a:gd name="connsiteX306" fmla="*/ 4831995 w 5227821"/>
              <a:gd name="connsiteY306" fmla="*/ 805794 h 1257266"/>
              <a:gd name="connsiteX307" fmla="*/ 4771840 w 5227821"/>
              <a:gd name="connsiteY307" fmla="*/ 820856 h 1257266"/>
              <a:gd name="connsiteX308" fmla="*/ 4764275 w 5227821"/>
              <a:gd name="connsiteY308" fmla="*/ 817267 h 1257266"/>
              <a:gd name="connsiteX309" fmla="*/ 4765000 w 5227821"/>
              <a:gd name="connsiteY309" fmla="*/ 823531 h 1257266"/>
              <a:gd name="connsiteX310" fmla="*/ 4797427 w 5227821"/>
              <a:gd name="connsiteY310" fmla="*/ 839063 h 1257266"/>
              <a:gd name="connsiteX311" fmla="*/ 4801187 w 5227821"/>
              <a:gd name="connsiteY311" fmla="*/ 835298 h 1257266"/>
              <a:gd name="connsiteX312" fmla="*/ 4808706 w 5227821"/>
              <a:gd name="connsiteY312" fmla="*/ 839063 h 1257266"/>
              <a:gd name="connsiteX313" fmla="*/ 4808706 w 5227821"/>
              <a:gd name="connsiteY313" fmla="*/ 869186 h 1257266"/>
              <a:gd name="connsiteX314" fmla="*/ 4801187 w 5227821"/>
              <a:gd name="connsiteY314" fmla="*/ 857890 h 1257266"/>
              <a:gd name="connsiteX315" fmla="*/ 4782388 w 5227821"/>
              <a:gd name="connsiteY315" fmla="*/ 899309 h 1257266"/>
              <a:gd name="connsiteX316" fmla="*/ 4748551 w 5227821"/>
              <a:gd name="connsiteY316" fmla="*/ 914371 h 1257266"/>
              <a:gd name="connsiteX317" fmla="*/ 4767349 w 5227821"/>
              <a:gd name="connsiteY317" fmla="*/ 955790 h 1257266"/>
              <a:gd name="connsiteX318" fmla="*/ 4797427 w 5227821"/>
              <a:gd name="connsiteY318" fmla="*/ 940729 h 1257266"/>
              <a:gd name="connsiteX319" fmla="*/ 4767349 w 5227821"/>
              <a:gd name="connsiteY319" fmla="*/ 967086 h 1257266"/>
              <a:gd name="connsiteX320" fmla="*/ 4774869 w 5227821"/>
              <a:gd name="connsiteY320" fmla="*/ 1031098 h 1257266"/>
              <a:gd name="connsiteX321" fmla="*/ 4797427 w 5227821"/>
              <a:gd name="connsiteY321" fmla="*/ 1042394 h 1257266"/>
              <a:gd name="connsiteX322" fmla="*/ 4846303 w 5227821"/>
              <a:gd name="connsiteY322" fmla="*/ 1019802 h 1257266"/>
              <a:gd name="connsiteX323" fmla="*/ 4853823 w 5227821"/>
              <a:gd name="connsiteY323" fmla="*/ 1023567 h 1257266"/>
              <a:gd name="connsiteX324" fmla="*/ 4861343 w 5227821"/>
              <a:gd name="connsiteY324" fmla="*/ 1019802 h 1257266"/>
              <a:gd name="connsiteX325" fmla="*/ 4865103 w 5227821"/>
              <a:gd name="connsiteY325" fmla="*/ 1053690 h 1257266"/>
              <a:gd name="connsiteX326" fmla="*/ 4767349 w 5227821"/>
              <a:gd name="connsiteY326" fmla="*/ 1095110 h 1257266"/>
              <a:gd name="connsiteX327" fmla="*/ 4752310 w 5227821"/>
              <a:gd name="connsiteY327" fmla="*/ 1095110 h 1257266"/>
              <a:gd name="connsiteX328" fmla="*/ 4756070 w 5227821"/>
              <a:gd name="connsiteY328" fmla="*/ 1091344 h 1257266"/>
              <a:gd name="connsiteX329" fmla="*/ 4733511 w 5227821"/>
              <a:gd name="connsiteY329" fmla="*/ 1091344 h 1257266"/>
              <a:gd name="connsiteX330" fmla="*/ 4677115 w 5227821"/>
              <a:gd name="connsiteY330" fmla="*/ 1098875 h 1257266"/>
              <a:gd name="connsiteX331" fmla="*/ 4756070 w 5227821"/>
              <a:gd name="connsiteY331" fmla="*/ 1106406 h 1257266"/>
              <a:gd name="connsiteX332" fmla="*/ 4654557 w 5227821"/>
              <a:gd name="connsiteY332" fmla="*/ 1125233 h 1257266"/>
              <a:gd name="connsiteX333" fmla="*/ 4571843 w 5227821"/>
              <a:gd name="connsiteY333" fmla="*/ 1117702 h 1257266"/>
              <a:gd name="connsiteX334" fmla="*/ 4530485 w 5227821"/>
              <a:gd name="connsiteY334" fmla="*/ 1140294 h 1257266"/>
              <a:gd name="connsiteX335" fmla="*/ 4526726 w 5227821"/>
              <a:gd name="connsiteY335" fmla="*/ 1136529 h 1257266"/>
              <a:gd name="connsiteX336" fmla="*/ 4507927 w 5227821"/>
              <a:gd name="connsiteY336" fmla="*/ 1159121 h 1257266"/>
              <a:gd name="connsiteX337" fmla="*/ 4511687 w 5227821"/>
              <a:gd name="connsiteY337" fmla="*/ 1162887 h 1257266"/>
              <a:gd name="connsiteX338" fmla="*/ 4470329 w 5227821"/>
              <a:gd name="connsiteY338" fmla="*/ 1155356 h 1257266"/>
              <a:gd name="connsiteX339" fmla="*/ 4410174 w 5227821"/>
              <a:gd name="connsiteY339" fmla="*/ 1170418 h 1257266"/>
              <a:gd name="connsiteX340" fmla="*/ 4406414 w 5227821"/>
              <a:gd name="connsiteY340" fmla="*/ 1159121 h 1257266"/>
              <a:gd name="connsiteX341" fmla="*/ 4342499 w 5227821"/>
              <a:gd name="connsiteY341" fmla="*/ 1159121 h 1257266"/>
              <a:gd name="connsiteX342" fmla="*/ 4350018 w 5227821"/>
              <a:gd name="connsiteY342" fmla="*/ 1166652 h 1257266"/>
              <a:gd name="connsiteX343" fmla="*/ 4282343 w 5227821"/>
              <a:gd name="connsiteY343" fmla="*/ 1170418 h 1257266"/>
              <a:gd name="connsiteX344" fmla="*/ 4297381 w 5227821"/>
              <a:gd name="connsiteY344" fmla="*/ 1177948 h 1257266"/>
              <a:gd name="connsiteX345" fmla="*/ 4229707 w 5227821"/>
              <a:gd name="connsiteY345" fmla="*/ 1177948 h 1257266"/>
              <a:gd name="connsiteX346" fmla="*/ 4146992 w 5227821"/>
              <a:gd name="connsiteY346" fmla="*/ 1200541 h 1257266"/>
              <a:gd name="connsiteX347" fmla="*/ 4041719 w 5227821"/>
              <a:gd name="connsiteY347" fmla="*/ 1215602 h 1257266"/>
              <a:gd name="connsiteX348" fmla="*/ 3665745 w 5227821"/>
              <a:gd name="connsiteY348" fmla="*/ 1249491 h 1257266"/>
              <a:gd name="connsiteX349" fmla="*/ 3673265 w 5227821"/>
              <a:gd name="connsiteY349" fmla="*/ 1245725 h 1257266"/>
              <a:gd name="connsiteX350" fmla="*/ 3349927 w 5227821"/>
              <a:gd name="connsiteY350" fmla="*/ 1257022 h 1257266"/>
              <a:gd name="connsiteX351" fmla="*/ 3500317 w 5227821"/>
              <a:gd name="connsiteY351" fmla="*/ 1234429 h 1257266"/>
              <a:gd name="connsiteX352" fmla="*/ 3244655 w 5227821"/>
              <a:gd name="connsiteY352" fmla="*/ 1241960 h 1257266"/>
              <a:gd name="connsiteX353" fmla="*/ 3316090 w 5227821"/>
              <a:gd name="connsiteY353" fmla="*/ 1226898 h 1257266"/>
              <a:gd name="connsiteX354" fmla="*/ 3327369 w 5227821"/>
              <a:gd name="connsiteY354" fmla="*/ 1234429 h 1257266"/>
              <a:gd name="connsiteX355" fmla="*/ 3410083 w 5227821"/>
              <a:gd name="connsiteY355" fmla="*/ 1215602 h 1257266"/>
              <a:gd name="connsiteX356" fmla="*/ 3410083 w 5227821"/>
              <a:gd name="connsiteY356" fmla="*/ 1208071 h 1257266"/>
              <a:gd name="connsiteX357" fmla="*/ 3996603 w 5227821"/>
              <a:gd name="connsiteY357" fmla="*/ 1147825 h 1257266"/>
              <a:gd name="connsiteX358" fmla="*/ 4056759 w 5227821"/>
              <a:gd name="connsiteY358" fmla="*/ 1136529 h 1257266"/>
              <a:gd name="connsiteX359" fmla="*/ 4037960 w 5227821"/>
              <a:gd name="connsiteY359" fmla="*/ 1132764 h 1257266"/>
              <a:gd name="connsiteX360" fmla="*/ 4064278 w 5227821"/>
              <a:gd name="connsiteY360" fmla="*/ 1132764 h 1257266"/>
              <a:gd name="connsiteX361" fmla="*/ 4068037 w 5227821"/>
              <a:gd name="connsiteY361" fmla="*/ 1132764 h 1257266"/>
              <a:gd name="connsiteX362" fmla="*/ 4105635 w 5227821"/>
              <a:gd name="connsiteY362" fmla="*/ 1121467 h 1257266"/>
              <a:gd name="connsiteX363" fmla="*/ 4064278 w 5227821"/>
              <a:gd name="connsiteY363" fmla="*/ 1121467 h 1257266"/>
              <a:gd name="connsiteX364" fmla="*/ 3985323 w 5227821"/>
              <a:gd name="connsiteY364" fmla="*/ 1121467 h 1257266"/>
              <a:gd name="connsiteX365" fmla="*/ 3631908 w 5227821"/>
              <a:gd name="connsiteY365" fmla="*/ 1132764 h 1257266"/>
              <a:gd name="connsiteX366" fmla="*/ 3470239 w 5227821"/>
              <a:gd name="connsiteY366" fmla="*/ 1140294 h 1257266"/>
              <a:gd name="connsiteX367" fmla="*/ 2981473 w 5227821"/>
              <a:gd name="connsiteY367" fmla="*/ 1170418 h 1257266"/>
              <a:gd name="connsiteX368" fmla="*/ 2789726 w 5227821"/>
              <a:gd name="connsiteY368" fmla="*/ 1166652 h 1257266"/>
              <a:gd name="connsiteX369" fmla="*/ 2519025 w 5227821"/>
              <a:gd name="connsiteY369" fmla="*/ 1159121 h 1257266"/>
              <a:gd name="connsiteX370" fmla="*/ 2511506 w 5227821"/>
              <a:gd name="connsiteY370" fmla="*/ 1162887 h 1257266"/>
              <a:gd name="connsiteX371" fmla="*/ 2488947 w 5227821"/>
              <a:gd name="connsiteY371" fmla="*/ 1166652 h 1257266"/>
              <a:gd name="connsiteX372" fmla="*/ 2368636 w 5227821"/>
              <a:gd name="connsiteY372" fmla="*/ 1177948 h 1257266"/>
              <a:gd name="connsiteX373" fmla="*/ 2225766 w 5227821"/>
              <a:gd name="connsiteY373" fmla="*/ 1196775 h 1257266"/>
              <a:gd name="connsiteX374" fmla="*/ 1466298 w 5227821"/>
              <a:gd name="connsiteY374" fmla="*/ 1189245 h 1257266"/>
              <a:gd name="connsiteX375" fmla="*/ 1259513 w 5227821"/>
              <a:gd name="connsiteY375" fmla="*/ 1177948 h 1257266"/>
              <a:gd name="connsiteX376" fmla="*/ 992571 w 5227821"/>
              <a:gd name="connsiteY376" fmla="*/ 1162887 h 1257266"/>
              <a:gd name="connsiteX377" fmla="*/ 891058 w 5227821"/>
              <a:gd name="connsiteY377" fmla="*/ 1155356 h 1257266"/>
              <a:gd name="connsiteX378" fmla="*/ 883995 w 5227821"/>
              <a:gd name="connsiteY378" fmla="*/ 1158893 h 1257266"/>
              <a:gd name="connsiteX379" fmla="*/ 876489 w 5227821"/>
              <a:gd name="connsiteY379" fmla="*/ 1158650 h 1257266"/>
              <a:gd name="connsiteX380" fmla="*/ 774506 w 5227821"/>
              <a:gd name="connsiteY380" fmla="*/ 1155356 h 1257266"/>
              <a:gd name="connsiteX381" fmla="*/ 710591 w 5227821"/>
              <a:gd name="connsiteY381" fmla="*/ 1166652 h 1257266"/>
              <a:gd name="connsiteX382" fmla="*/ 530123 w 5227821"/>
              <a:gd name="connsiteY382" fmla="*/ 1166652 h 1257266"/>
              <a:gd name="connsiteX383" fmla="*/ 511325 w 5227821"/>
              <a:gd name="connsiteY383" fmla="*/ 1170418 h 1257266"/>
              <a:gd name="connsiteX384" fmla="*/ 507565 w 5227821"/>
              <a:gd name="connsiteY384" fmla="*/ 1170418 h 1257266"/>
              <a:gd name="connsiteX385" fmla="*/ 488766 w 5227821"/>
              <a:gd name="connsiteY385" fmla="*/ 1174183 h 1257266"/>
              <a:gd name="connsiteX386" fmla="*/ 424851 w 5227821"/>
              <a:gd name="connsiteY386" fmla="*/ 1170418 h 1257266"/>
              <a:gd name="connsiteX387" fmla="*/ 421091 w 5227821"/>
              <a:gd name="connsiteY387" fmla="*/ 1162887 h 1257266"/>
              <a:gd name="connsiteX388" fmla="*/ 398533 w 5227821"/>
              <a:gd name="connsiteY388" fmla="*/ 1170418 h 1257266"/>
              <a:gd name="connsiteX389" fmla="*/ 357175 w 5227821"/>
              <a:gd name="connsiteY389" fmla="*/ 1159121 h 1257266"/>
              <a:gd name="connsiteX390" fmla="*/ 334617 w 5227821"/>
              <a:gd name="connsiteY390" fmla="*/ 1162887 h 1257266"/>
              <a:gd name="connsiteX391" fmla="*/ 338376 w 5227821"/>
              <a:gd name="connsiteY391" fmla="*/ 1155356 h 1257266"/>
              <a:gd name="connsiteX392" fmla="*/ 300779 w 5227821"/>
              <a:gd name="connsiteY392" fmla="*/ 1155356 h 1257266"/>
              <a:gd name="connsiteX393" fmla="*/ 233104 w 5227821"/>
              <a:gd name="connsiteY393" fmla="*/ 1140294 h 1257266"/>
              <a:gd name="connsiteX394" fmla="*/ 353415 w 5227821"/>
              <a:gd name="connsiteY394" fmla="*/ 1125233 h 1257266"/>
              <a:gd name="connsiteX395" fmla="*/ 315818 w 5227821"/>
              <a:gd name="connsiteY395" fmla="*/ 1125233 h 1257266"/>
              <a:gd name="connsiteX396" fmla="*/ 327097 w 5227821"/>
              <a:gd name="connsiteY396" fmla="*/ 1110171 h 1257266"/>
              <a:gd name="connsiteX397" fmla="*/ 274461 w 5227821"/>
              <a:gd name="connsiteY397" fmla="*/ 1102641 h 1257266"/>
              <a:gd name="connsiteX398" fmla="*/ 387253 w 5227821"/>
              <a:gd name="connsiteY398" fmla="*/ 1095110 h 1257266"/>
              <a:gd name="connsiteX399" fmla="*/ 334617 w 5227821"/>
              <a:gd name="connsiteY399" fmla="*/ 1095110 h 1257266"/>
              <a:gd name="connsiteX400" fmla="*/ 312058 w 5227821"/>
              <a:gd name="connsiteY400" fmla="*/ 1083814 h 1257266"/>
              <a:gd name="connsiteX401" fmla="*/ 338376 w 5227821"/>
              <a:gd name="connsiteY401" fmla="*/ 1072517 h 1257266"/>
              <a:gd name="connsiteX402" fmla="*/ 372214 w 5227821"/>
              <a:gd name="connsiteY402" fmla="*/ 1046160 h 1257266"/>
              <a:gd name="connsiteX403" fmla="*/ 293259 w 5227821"/>
              <a:gd name="connsiteY403" fmla="*/ 1064987 h 1257266"/>
              <a:gd name="connsiteX404" fmla="*/ 281980 w 5227821"/>
              <a:gd name="connsiteY404" fmla="*/ 1034863 h 1257266"/>
              <a:gd name="connsiteX405" fmla="*/ 308298 w 5227821"/>
              <a:gd name="connsiteY405" fmla="*/ 985913 h 1257266"/>
              <a:gd name="connsiteX406" fmla="*/ 323337 w 5227821"/>
              <a:gd name="connsiteY406" fmla="*/ 978383 h 1257266"/>
              <a:gd name="connsiteX407" fmla="*/ 263181 w 5227821"/>
              <a:gd name="connsiteY407" fmla="*/ 970852 h 1257266"/>
              <a:gd name="connsiteX408" fmla="*/ 300779 w 5227821"/>
              <a:gd name="connsiteY408" fmla="*/ 918136 h 1257266"/>
              <a:gd name="connsiteX409" fmla="*/ 330857 w 5227821"/>
              <a:gd name="connsiteY409" fmla="*/ 914371 h 1257266"/>
              <a:gd name="connsiteX410" fmla="*/ 67675 w 5227821"/>
              <a:gd name="connsiteY410" fmla="*/ 831532 h 1257266"/>
              <a:gd name="connsiteX411" fmla="*/ 11279 w 5227821"/>
              <a:gd name="connsiteY411" fmla="*/ 824001 h 1257266"/>
              <a:gd name="connsiteX412" fmla="*/ 0 w 5227821"/>
              <a:gd name="connsiteY412" fmla="*/ 820236 h 1257266"/>
              <a:gd name="connsiteX413" fmla="*/ 30078 w 5227821"/>
              <a:gd name="connsiteY413" fmla="*/ 820236 h 1257266"/>
              <a:gd name="connsiteX414" fmla="*/ 33837 w 5227821"/>
              <a:gd name="connsiteY414" fmla="*/ 824001 h 1257266"/>
              <a:gd name="connsiteX415" fmla="*/ 45117 w 5227821"/>
              <a:gd name="connsiteY415" fmla="*/ 820236 h 1257266"/>
              <a:gd name="connsiteX416" fmla="*/ 45117 w 5227821"/>
              <a:gd name="connsiteY416" fmla="*/ 812705 h 1257266"/>
              <a:gd name="connsiteX417" fmla="*/ 236863 w 5227821"/>
              <a:gd name="connsiteY417" fmla="*/ 865421 h 1257266"/>
              <a:gd name="connsiteX418" fmla="*/ 240623 w 5227821"/>
              <a:gd name="connsiteY418" fmla="*/ 861655 h 1257266"/>
              <a:gd name="connsiteX419" fmla="*/ 259422 w 5227821"/>
              <a:gd name="connsiteY419" fmla="*/ 869186 h 1257266"/>
              <a:gd name="connsiteX420" fmla="*/ 270701 w 5227821"/>
              <a:gd name="connsiteY420" fmla="*/ 861655 h 1257266"/>
              <a:gd name="connsiteX421" fmla="*/ 274461 w 5227821"/>
              <a:gd name="connsiteY421" fmla="*/ 865421 h 1257266"/>
              <a:gd name="connsiteX422" fmla="*/ 278220 w 5227821"/>
              <a:gd name="connsiteY422" fmla="*/ 861655 h 1257266"/>
              <a:gd name="connsiteX423" fmla="*/ 233104 w 5227821"/>
              <a:gd name="connsiteY423" fmla="*/ 857890 h 1257266"/>
              <a:gd name="connsiteX424" fmla="*/ 278220 w 5227821"/>
              <a:gd name="connsiteY424" fmla="*/ 842828 h 1257266"/>
              <a:gd name="connsiteX425" fmla="*/ 293259 w 5227821"/>
              <a:gd name="connsiteY425" fmla="*/ 842828 h 1257266"/>
              <a:gd name="connsiteX426" fmla="*/ 278220 w 5227821"/>
              <a:gd name="connsiteY426" fmla="*/ 854125 h 1257266"/>
              <a:gd name="connsiteX427" fmla="*/ 312058 w 5227821"/>
              <a:gd name="connsiteY427" fmla="*/ 857890 h 1257266"/>
              <a:gd name="connsiteX428" fmla="*/ 312058 w 5227821"/>
              <a:gd name="connsiteY428" fmla="*/ 842828 h 1257266"/>
              <a:gd name="connsiteX429" fmla="*/ 308298 w 5227821"/>
              <a:gd name="connsiteY429" fmla="*/ 839063 h 1257266"/>
              <a:gd name="connsiteX430" fmla="*/ 304539 w 5227821"/>
              <a:gd name="connsiteY430" fmla="*/ 839063 h 1257266"/>
              <a:gd name="connsiteX431" fmla="*/ 308298 w 5227821"/>
              <a:gd name="connsiteY431" fmla="*/ 835298 h 1257266"/>
              <a:gd name="connsiteX432" fmla="*/ 297019 w 5227821"/>
              <a:gd name="connsiteY432" fmla="*/ 831532 h 1257266"/>
              <a:gd name="connsiteX433" fmla="*/ 270701 w 5227821"/>
              <a:gd name="connsiteY433" fmla="*/ 835298 h 1257266"/>
              <a:gd name="connsiteX434" fmla="*/ 312058 w 5227821"/>
              <a:gd name="connsiteY434" fmla="*/ 820236 h 1257266"/>
              <a:gd name="connsiteX435" fmla="*/ 308298 w 5227821"/>
              <a:gd name="connsiteY435" fmla="*/ 816471 h 1257266"/>
              <a:gd name="connsiteX436" fmla="*/ 353415 w 5227821"/>
              <a:gd name="connsiteY436" fmla="*/ 793878 h 1257266"/>
              <a:gd name="connsiteX437" fmla="*/ 334617 w 5227821"/>
              <a:gd name="connsiteY437" fmla="*/ 790113 h 1257266"/>
              <a:gd name="connsiteX438" fmla="*/ 233104 w 5227821"/>
              <a:gd name="connsiteY438" fmla="*/ 824001 h 1257266"/>
              <a:gd name="connsiteX439" fmla="*/ 161669 w 5227821"/>
              <a:gd name="connsiteY439" fmla="*/ 839063 h 1257266"/>
              <a:gd name="connsiteX440" fmla="*/ 184227 w 5227821"/>
              <a:gd name="connsiteY440" fmla="*/ 827767 h 1257266"/>
              <a:gd name="connsiteX441" fmla="*/ 176707 w 5227821"/>
              <a:gd name="connsiteY441" fmla="*/ 827767 h 1257266"/>
              <a:gd name="connsiteX442" fmla="*/ 251902 w 5227821"/>
              <a:gd name="connsiteY442" fmla="*/ 805175 h 1257266"/>
              <a:gd name="connsiteX443" fmla="*/ 274461 w 5227821"/>
              <a:gd name="connsiteY443" fmla="*/ 797644 h 1257266"/>
              <a:gd name="connsiteX444" fmla="*/ 281980 w 5227821"/>
              <a:gd name="connsiteY444" fmla="*/ 797644 h 1257266"/>
              <a:gd name="connsiteX445" fmla="*/ 297019 w 5227821"/>
              <a:gd name="connsiteY445" fmla="*/ 790113 h 1257266"/>
              <a:gd name="connsiteX446" fmla="*/ 293259 w 5227821"/>
              <a:gd name="connsiteY446" fmla="*/ 786348 h 1257266"/>
              <a:gd name="connsiteX447" fmla="*/ 327097 w 5227821"/>
              <a:gd name="connsiteY447" fmla="*/ 763755 h 1257266"/>
              <a:gd name="connsiteX448" fmla="*/ 236863 w 5227821"/>
              <a:gd name="connsiteY448" fmla="*/ 786348 h 1257266"/>
              <a:gd name="connsiteX449" fmla="*/ 199266 w 5227821"/>
              <a:gd name="connsiteY449" fmla="*/ 790113 h 1257266"/>
              <a:gd name="connsiteX450" fmla="*/ 330857 w 5227821"/>
              <a:gd name="connsiteY450" fmla="*/ 726101 h 1257266"/>
              <a:gd name="connsiteX451" fmla="*/ 357175 w 5227821"/>
              <a:gd name="connsiteY451" fmla="*/ 699743 h 1257266"/>
              <a:gd name="connsiteX452" fmla="*/ 364695 w 5227821"/>
              <a:gd name="connsiteY452" fmla="*/ 699743 h 1257266"/>
              <a:gd name="connsiteX453" fmla="*/ 364695 w 5227821"/>
              <a:gd name="connsiteY453" fmla="*/ 688447 h 1257266"/>
              <a:gd name="connsiteX454" fmla="*/ 402292 w 5227821"/>
              <a:gd name="connsiteY454" fmla="*/ 650793 h 1257266"/>
              <a:gd name="connsiteX455" fmla="*/ 511325 w 5227821"/>
              <a:gd name="connsiteY455" fmla="*/ 579251 h 1257266"/>
              <a:gd name="connsiteX456" fmla="*/ 551742 w 5227821"/>
              <a:gd name="connsiteY456" fmla="*/ 534537 h 1257266"/>
              <a:gd name="connsiteX457" fmla="*/ 561872 w 5227821"/>
              <a:gd name="connsiteY457" fmla="*/ 527136 h 1257266"/>
              <a:gd name="connsiteX458" fmla="*/ 558113 w 5227821"/>
              <a:gd name="connsiteY458" fmla="*/ 526214 h 1257266"/>
              <a:gd name="connsiteX459" fmla="*/ 429342 w 5227821"/>
              <a:gd name="connsiteY459" fmla="*/ 481970 h 1257266"/>
              <a:gd name="connsiteX460" fmla="*/ 372945 w 5227821"/>
              <a:gd name="connsiteY460" fmla="*/ 474440 h 1257266"/>
              <a:gd name="connsiteX461" fmla="*/ 361666 w 5227821"/>
              <a:gd name="connsiteY461" fmla="*/ 470674 h 1257266"/>
              <a:gd name="connsiteX462" fmla="*/ 391744 w 5227821"/>
              <a:gd name="connsiteY462" fmla="*/ 470674 h 1257266"/>
              <a:gd name="connsiteX463" fmla="*/ 395504 w 5227821"/>
              <a:gd name="connsiteY463" fmla="*/ 474440 h 1257266"/>
              <a:gd name="connsiteX464" fmla="*/ 406783 w 5227821"/>
              <a:gd name="connsiteY464" fmla="*/ 470674 h 1257266"/>
              <a:gd name="connsiteX465" fmla="*/ 406783 w 5227821"/>
              <a:gd name="connsiteY465" fmla="*/ 463144 h 1257266"/>
              <a:gd name="connsiteX466" fmla="*/ 495607 w 5227821"/>
              <a:gd name="connsiteY466" fmla="*/ 493737 h 1257266"/>
              <a:gd name="connsiteX467" fmla="*/ 582131 w 5227821"/>
              <a:gd name="connsiteY467" fmla="*/ 512335 h 1257266"/>
              <a:gd name="connsiteX468" fmla="*/ 609078 w 5227821"/>
              <a:gd name="connsiteY468" fmla="*/ 492647 h 1257266"/>
              <a:gd name="connsiteX469" fmla="*/ 618947 w 5227821"/>
              <a:gd name="connsiteY469" fmla="*/ 494530 h 1257266"/>
              <a:gd name="connsiteX470" fmla="*/ 624178 w 5227821"/>
              <a:gd name="connsiteY470" fmla="*/ 495306 h 1257266"/>
              <a:gd name="connsiteX471" fmla="*/ 639060 w 5227821"/>
              <a:gd name="connsiteY471" fmla="*/ 493374 h 1257266"/>
              <a:gd name="connsiteX472" fmla="*/ 653196 w 5227821"/>
              <a:gd name="connsiteY472" fmla="*/ 487588 h 1257266"/>
              <a:gd name="connsiteX473" fmla="*/ 661962 w 5227821"/>
              <a:gd name="connsiteY473" fmla="*/ 483064 h 1257266"/>
              <a:gd name="connsiteX474" fmla="*/ 658686 w 5227821"/>
              <a:gd name="connsiteY474" fmla="*/ 481970 h 1257266"/>
              <a:gd name="connsiteX475" fmla="*/ 632367 w 5227821"/>
              <a:gd name="connsiteY475" fmla="*/ 485736 h 1257266"/>
              <a:gd name="connsiteX476" fmla="*/ 673725 w 5227821"/>
              <a:gd name="connsiteY476" fmla="*/ 470674 h 1257266"/>
              <a:gd name="connsiteX477" fmla="*/ 669965 w 5227821"/>
              <a:gd name="connsiteY477" fmla="*/ 466909 h 1257266"/>
              <a:gd name="connsiteX478" fmla="*/ 715082 w 5227821"/>
              <a:gd name="connsiteY478" fmla="*/ 444317 h 1257266"/>
              <a:gd name="connsiteX479" fmla="*/ 696283 w 5227821"/>
              <a:gd name="connsiteY479" fmla="*/ 440551 h 1257266"/>
              <a:gd name="connsiteX480" fmla="*/ 594770 w 5227821"/>
              <a:gd name="connsiteY480" fmla="*/ 474440 h 1257266"/>
              <a:gd name="connsiteX481" fmla="*/ 523335 w 5227821"/>
              <a:gd name="connsiteY481" fmla="*/ 489501 h 1257266"/>
              <a:gd name="connsiteX482" fmla="*/ 545893 w 5227821"/>
              <a:gd name="connsiteY482" fmla="*/ 478205 h 1257266"/>
              <a:gd name="connsiteX483" fmla="*/ 538374 w 5227821"/>
              <a:gd name="connsiteY483" fmla="*/ 478205 h 1257266"/>
              <a:gd name="connsiteX484" fmla="*/ 613569 w 5227821"/>
              <a:gd name="connsiteY484" fmla="*/ 455613 h 1257266"/>
              <a:gd name="connsiteX485" fmla="*/ 636127 w 5227821"/>
              <a:gd name="connsiteY485" fmla="*/ 448082 h 1257266"/>
              <a:gd name="connsiteX486" fmla="*/ 643647 w 5227821"/>
              <a:gd name="connsiteY486" fmla="*/ 448082 h 1257266"/>
              <a:gd name="connsiteX487" fmla="*/ 658686 w 5227821"/>
              <a:gd name="connsiteY487" fmla="*/ 440551 h 1257266"/>
              <a:gd name="connsiteX488" fmla="*/ 654926 w 5227821"/>
              <a:gd name="connsiteY488" fmla="*/ 436786 h 1257266"/>
              <a:gd name="connsiteX489" fmla="*/ 688764 w 5227821"/>
              <a:gd name="connsiteY489" fmla="*/ 414193 h 1257266"/>
              <a:gd name="connsiteX490" fmla="*/ 598530 w 5227821"/>
              <a:gd name="connsiteY490" fmla="*/ 436786 h 1257266"/>
              <a:gd name="connsiteX491" fmla="*/ 560932 w 5227821"/>
              <a:gd name="connsiteY491" fmla="*/ 440551 h 1257266"/>
              <a:gd name="connsiteX492" fmla="*/ 692523 w 5227821"/>
              <a:gd name="connsiteY492" fmla="*/ 376539 h 1257266"/>
              <a:gd name="connsiteX493" fmla="*/ 718841 w 5227821"/>
              <a:gd name="connsiteY493" fmla="*/ 350182 h 1257266"/>
              <a:gd name="connsiteX494" fmla="*/ 726361 w 5227821"/>
              <a:gd name="connsiteY494" fmla="*/ 350182 h 1257266"/>
              <a:gd name="connsiteX495" fmla="*/ 726361 w 5227821"/>
              <a:gd name="connsiteY495" fmla="*/ 338886 h 1257266"/>
              <a:gd name="connsiteX496" fmla="*/ 763958 w 5227821"/>
              <a:gd name="connsiteY496" fmla="*/ 301232 h 1257266"/>
              <a:gd name="connsiteX497" fmla="*/ 872991 w 5227821"/>
              <a:gd name="connsiteY497" fmla="*/ 229689 h 1257266"/>
              <a:gd name="connsiteX498" fmla="*/ 970744 w 5227821"/>
              <a:gd name="connsiteY498" fmla="*/ 143085 h 1257266"/>
              <a:gd name="connsiteX499" fmla="*/ 993302 w 5227821"/>
              <a:gd name="connsiteY499" fmla="*/ 146851 h 1257266"/>
              <a:gd name="connsiteX500" fmla="*/ 1087296 w 5227821"/>
              <a:gd name="connsiteY500" fmla="*/ 124258 h 1257266"/>
              <a:gd name="connsiteX501" fmla="*/ 1109854 w 5227821"/>
              <a:gd name="connsiteY501" fmla="*/ 120493 h 1257266"/>
              <a:gd name="connsiteX502" fmla="*/ 1109854 w 5227821"/>
              <a:gd name="connsiteY502" fmla="*/ 112962 h 1257266"/>
              <a:gd name="connsiteX503" fmla="*/ 1173770 w 5227821"/>
              <a:gd name="connsiteY503" fmla="*/ 120493 h 1257266"/>
              <a:gd name="connsiteX504" fmla="*/ 1166250 w 5227821"/>
              <a:gd name="connsiteY504" fmla="*/ 131789 h 1257266"/>
              <a:gd name="connsiteX505" fmla="*/ 1290322 w 5227821"/>
              <a:gd name="connsiteY505" fmla="*/ 154381 h 1257266"/>
              <a:gd name="connsiteX506" fmla="*/ 1286562 w 5227821"/>
              <a:gd name="connsiteY506" fmla="*/ 158147 h 1257266"/>
              <a:gd name="connsiteX507" fmla="*/ 1316640 w 5227821"/>
              <a:gd name="connsiteY507" fmla="*/ 161912 h 1257266"/>
              <a:gd name="connsiteX508" fmla="*/ 1399354 w 5227821"/>
              <a:gd name="connsiteY508" fmla="*/ 101666 h 1257266"/>
              <a:gd name="connsiteX509" fmla="*/ 1380555 w 5227821"/>
              <a:gd name="connsiteY509" fmla="*/ 82839 h 1257266"/>
              <a:gd name="connsiteX510" fmla="*/ 1369276 w 5227821"/>
              <a:gd name="connsiteY510" fmla="*/ 90370 h 1257266"/>
              <a:gd name="connsiteX511" fmla="*/ 1369276 w 5227821"/>
              <a:gd name="connsiteY511" fmla="*/ 86604 h 1257266"/>
              <a:gd name="connsiteX512" fmla="*/ 1275283 w 5227821"/>
              <a:gd name="connsiteY512" fmla="*/ 86604 h 1257266"/>
              <a:gd name="connsiteX513" fmla="*/ 1252724 w 5227821"/>
              <a:gd name="connsiteY513" fmla="*/ 97900 h 1257266"/>
              <a:gd name="connsiteX514" fmla="*/ 1282802 w 5227821"/>
              <a:gd name="connsiteY514" fmla="*/ 71543 h 1257266"/>
              <a:gd name="connsiteX515" fmla="*/ 1309120 w 5227821"/>
              <a:gd name="connsiteY515" fmla="*/ 67777 h 1257266"/>
              <a:gd name="connsiteX516" fmla="*/ 1399354 w 5227821"/>
              <a:gd name="connsiteY516" fmla="*/ 82839 h 1257266"/>
              <a:gd name="connsiteX517" fmla="*/ 1455750 w 5227821"/>
              <a:gd name="connsiteY517" fmla="*/ 56481 h 1257266"/>
              <a:gd name="connsiteX518" fmla="*/ 1440711 w 5227821"/>
              <a:gd name="connsiteY518" fmla="*/ 52716 h 1257266"/>
              <a:gd name="connsiteX519" fmla="*/ 1508387 w 5227821"/>
              <a:gd name="connsiteY519" fmla="*/ 22593 h 1257266"/>
              <a:gd name="connsiteX520" fmla="*/ 1474549 w 5227821"/>
              <a:gd name="connsiteY520" fmla="*/ 18827 h 1257266"/>
              <a:gd name="connsiteX521" fmla="*/ 1594861 w 5227821"/>
              <a:gd name="connsiteY521" fmla="*/ 0 h 1257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</a:cxnLst>
            <a:rect l="l" t="t" r="r" b="b"/>
            <a:pathLst>
              <a:path w="5227821" h="1257266">
                <a:moveTo>
                  <a:pt x="883995" y="1158893"/>
                </a:moveTo>
                <a:lnTo>
                  <a:pt x="891058" y="1159121"/>
                </a:lnTo>
                <a:cubicBezTo>
                  <a:pt x="883539" y="1159121"/>
                  <a:pt x="883539" y="1159121"/>
                  <a:pt x="883539" y="1159121"/>
                </a:cubicBezTo>
                <a:close/>
                <a:moveTo>
                  <a:pt x="4615788" y="826594"/>
                </a:moveTo>
                <a:lnTo>
                  <a:pt x="4616959" y="827767"/>
                </a:lnTo>
                <a:lnTo>
                  <a:pt x="4617450" y="827029"/>
                </a:lnTo>
                <a:close/>
                <a:moveTo>
                  <a:pt x="4610559" y="825984"/>
                </a:moveTo>
                <a:lnTo>
                  <a:pt x="4591373" y="828386"/>
                </a:lnTo>
                <a:lnTo>
                  <a:pt x="4584680" y="830752"/>
                </a:lnTo>
                <a:lnTo>
                  <a:pt x="4583122" y="831532"/>
                </a:lnTo>
                <a:cubicBezTo>
                  <a:pt x="4583122" y="835298"/>
                  <a:pt x="4590641" y="835298"/>
                  <a:pt x="4598161" y="835298"/>
                </a:cubicBezTo>
                <a:cubicBezTo>
                  <a:pt x="4598161" y="835298"/>
                  <a:pt x="4598161" y="835298"/>
                  <a:pt x="4600041" y="833886"/>
                </a:cubicBezTo>
                <a:close/>
                <a:moveTo>
                  <a:pt x="4763331" y="809097"/>
                </a:moveTo>
                <a:lnTo>
                  <a:pt x="4764025" y="815097"/>
                </a:lnTo>
                <a:lnTo>
                  <a:pt x="4768080" y="809559"/>
                </a:lnTo>
                <a:close/>
                <a:moveTo>
                  <a:pt x="4653526" y="808089"/>
                </a:moveTo>
                <a:cubicBezTo>
                  <a:pt x="4649178" y="809559"/>
                  <a:pt x="4645889" y="813325"/>
                  <a:pt x="4644009" y="820856"/>
                </a:cubicBezTo>
                <a:cubicBezTo>
                  <a:pt x="4647769" y="824621"/>
                  <a:pt x="4655288" y="824621"/>
                  <a:pt x="4659047" y="828386"/>
                </a:cubicBezTo>
                <a:lnTo>
                  <a:pt x="4642634" y="833009"/>
                </a:lnTo>
                <a:lnTo>
                  <a:pt x="4658317" y="846594"/>
                </a:lnTo>
                <a:cubicBezTo>
                  <a:pt x="4680875" y="839063"/>
                  <a:pt x="4677115" y="827767"/>
                  <a:pt x="4684635" y="816471"/>
                </a:cubicBezTo>
                <a:lnTo>
                  <a:pt x="4683861" y="813370"/>
                </a:lnTo>
                <a:lnTo>
                  <a:pt x="4669387" y="809089"/>
                </a:lnTo>
                <a:cubicBezTo>
                  <a:pt x="4663277" y="807441"/>
                  <a:pt x="4657873" y="806618"/>
                  <a:pt x="4653526" y="808089"/>
                </a:cubicBezTo>
                <a:close/>
                <a:moveTo>
                  <a:pt x="4720496" y="800558"/>
                </a:moveTo>
                <a:cubicBezTo>
                  <a:pt x="4715209" y="801322"/>
                  <a:pt x="4709804" y="803911"/>
                  <a:pt x="4704165" y="809559"/>
                </a:cubicBezTo>
                <a:cubicBezTo>
                  <a:pt x="4704165" y="809559"/>
                  <a:pt x="4704165" y="809559"/>
                  <a:pt x="4711684" y="817090"/>
                </a:cubicBezTo>
                <a:lnTo>
                  <a:pt x="4703433" y="816325"/>
                </a:lnTo>
                <a:lnTo>
                  <a:pt x="4703433" y="824001"/>
                </a:lnTo>
                <a:cubicBezTo>
                  <a:pt x="4703433" y="824001"/>
                  <a:pt x="4703433" y="824001"/>
                  <a:pt x="4718473" y="820236"/>
                </a:cubicBezTo>
                <a:cubicBezTo>
                  <a:pt x="4725992" y="827767"/>
                  <a:pt x="4729751" y="839063"/>
                  <a:pt x="4733511" y="846594"/>
                </a:cubicBezTo>
                <a:cubicBezTo>
                  <a:pt x="4725992" y="842828"/>
                  <a:pt x="4718473" y="842828"/>
                  <a:pt x="4710953" y="850359"/>
                </a:cubicBezTo>
                <a:cubicBezTo>
                  <a:pt x="4710953" y="850359"/>
                  <a:pt x="4710953" y="850359"/>
                  <a:pt x="4692155" y="842828"/>
                </a:cubicBezTo>
                <a:cubicBezTo>
                  <a:pt x="4680875" y="846594"/>
                  <a:pt x="4665836" y="846594"/>
                  <a:pt x="4658317" y="854125"/>
                </a:cubicBezTo>
                <a:cubicBezTo>
                  <a:pt x="4658317" y="854125"/>
                  <a:pt x="4658317" y="854125"/>
                  <a:pt x="4677115" y="854125"/>
                </a:cubicBezTo>
                <a:cubicBezTo>
                  <a:pt x="4677115" y="854125"/>
                  <a:pt x="4677115" y="854125"/>
                  <a:pt x="4673355" y="857890"/>
                </a:cubicBezTo>
                <a:cubicBezTo>
                  <a:pt x="4707193" y="854125"/>
                  <a:pt x="4722232" y="861655"/>
                  <a:pt x="4741031" y="857890"/>
                </a:cubicBezTo>
                <a:cubicBezTo>
                  <a:pt x="4744791" y="861655"/>
                  <a:pt x="4744791" y="861655"/>
                  <a:pt x="4748551" y="861655"/>
                </a:cubicBezTo>
                <a:cubicBezTo>
                  <a:pt x="4752310" y="861655"/>
                  <a:pt x="4752310" y="857890"/>
                  <a:pt x="4752310" y="857890"/>
                </a:cubicBezTo>
                <a:cubicBezTo>
                  <a:pt x="4756070" y="854125"/>
                  <a:pt x="4759829" y="854125"/>
                  <a:pt x="4763589" y="854125"/>
                </a:cubicBezTo>
                <a:cubicBezTo>
                  <a:pt x="4763589" y="850359"/>
                  <a:pt x="4759829" y="854125"/>
                  <a:pt x="4752310" y="854125"/>
                </a:cubicBezTo>
                <a:cubicBezTo>
                  <a:pt x="4752310" y="846594"/>
                  <a:pt x="4748551" y="842828"/>
                  <a:pt x="4756070" y="835298"/>
                </a:cubicBezTo>
                <a:cubicBezTo>
                  <a:pt x="4750430" y="829650"/>
                  <a:pt x="4745731" y="824001"/>
                  <a:pt x="4744321" y="817412"/>
                </a:cubicBezTo>
                <a:lnTo>
                  <a:pt x="4747974" y="806649"/>
                </a:lnTo>
                <a:lnTo>
                  <a:pt x="4736122" y="802499"/>
                </a:lnTo>
                <a:cubicBezTo>
                  <a:pt x="4730953" y="800852"/>
                  <a:pt x="4725783" y="799793"/>
                  <a:pt x="4720496" y="800558"/>
                </a:cubicBezTo>
                <a:close/>
                <a:moveTo>
                  <a:pt x="1676438" y="90716"/>
                </a:moveTo>
                <a:lnTo>
                  <a:pt x="1850993" y="94135"/>
                </a:lnTo>
                <a:cubicBezTo>
                  <a:pt x="1918198" y="94135"/>
                  <a:pt x="1985874" y="94135"/>
                  <a:pt x="2046029" y="97900"/>
                </a:cubicBezTo>
                <a:cubicBezTo>
                  <a:pt x="2046029" y="97900"/>
                  <a:pt x="2046029" y="97900"/>
                  <a:pt x="2057308" y="101666"/>
                </a:cubicBezTo>
                <a:cubicBezTo>
                  <a:pt x="1997153" y="97900"/>
                  <a:pt x="1910679" y="112962"/>
                  <a:pt x="1850523" y="97900"/>
                </a:cubicBezTo>
                <a:cubicBezTo>
                  <a:pt x="1797886" y="101666"/>
                  <a:pt x="1737731" y="94135"/>
                  <a:pt x="1692614" y="94135"/>
                </a:cubicBezTo>
                <a:close/>
                <a:moveTo>
                  <a:pt x="1675636" y="90546"/>
                </a:moveTo>
                <a:lnTo>
                  <a:pt x="1676438" y="90716"/>
                </a:lnTo>
                <a:lnTo>
                  <a:pt x="1674865" y="90685"/>
                </a:lnTo>
                <a:close/>
                <a:moveTo>
                  <a:pt x="2005634" y="36919"/>
                </a:moveTo>
                <a:lnTo>
                  <a:pt x="2008432" y="37654"/>
                </a:lnTo>
                <a:cubicBezTo>
                  <a:pt x="2000912" y="37654"/>
                  <a:pt x="2000912" y="37654"/>
                  <a:pt x="2000912" y="37654"/>
                </a:cubicBezTo>
                <a:close/>
                <a:moveTo>
                  <a:pt x="1594861" y="0"/>
                </a:moveTo>
                <a:cubicBezTo>
                  <a:pt x="1621179" y="0"/>
                  <a:pt x="1651257" y="0"/>
                  <a:pt x="1655016" y="11296"/>
                </a:cubicBezTo>
                <a:cubicBezTo>
                  <a:pt x="1658776" y="15062"/>
                  <a:pt x="1655016" y="15062"/>
                  <a:pt x="1651257" y="18827"/>
                </a:cubicBezTo>
                <a:cubicBezTo>
                  <a:pt x="1685094" y="22593"/>
                  <a:pt x="1730211" y="22593"/>
                  <a:pt x="1767809" y="22593"/>
                </a:cubicBezTo>
                <a:cubicBezTo>
                  <a:pt x="1925718" y="26358"/>
                  <a:pt x="2079867" y="30123"/>
                  <a:pt x="2230256" y="26358"/>
                </a:cubicBezTo>
                <a:cubicBezTo>
                  <a:pt x="2241536" y="30123"/>
                  <a:pt x="2256575" y="33889"/>
                  <a:pt x="2275373" y="30123"/>
                </a:cubicBezTo>
                <a:cubicBezTo>
                  <a:pt x="2218977" y="41420"/>
                  <a:pt x="2117464" y="33889"/>
                  <a:pt x="2046029" y="33889"/>
                </a:cubicBezTo>
                <a:cubicBezTo>
                  <a:pt x="2036630" y="32006"/>
                  <a:pt x="2029111" y="32947"/>
                  <a:pt x="2022061" y="34359"/>
                </a:cubicBezTo>
                <a:lnTo>
                  <a:pt x="2005634" y="36919"/>
                </a:lnTo>
                <a:lnTo>
                  <a:pt x="1983817" y="31183"/>
                </a:lnTo>
                <a:cubicBezTo>
                  <a:pt x="1955091" y="28711"/>
                  <a:pt x="1916318" y="35772"/>
                  <a:pt x="1888120" y="30123"/>
                </a:cubicBezTo>
                <a:cubicBezTo>
                  <a:pt x="1805406" y="30123"/>
                  <a:pt x="1749010" y="22593"/>
                  <a:pt x="1662536" y="26358"/>
                </a:cubicBezTo>
                <a:cubicBezTo>
                  <a:pt x="1655016" y="30123"/>
                  <a:pt x="1655016" y="33889"/>
                  <a:pt x="1655016" y="37654"/>
                </a:cubicBezTo>
                <a:cubicBezTo>
                  <a:pt x="1636218" y="37654"/>
                  <a:pt x="1617419" y="37654"/>
                  <a:pt x="1609900" y="30123"/>
                </a:cubicBezTo>
                <a:cubicBezTo>
                  <a:pt x="1591101" y="41420"/>
                  <a:pt x="1572302" y="41420"/>
                  <a:pt x="1553503" y="52716"/>
                </a:cubicBezTo>
                <a:cubicBezTo>
                  <a:pt x="1553503" y="52716"/>
                  <a:pt x="1553503" y="52716"/>
                  <a:pt x="1587341" y="56481"/>
                </a:cubicBezTo>
                <a:cubicBezTo>
                  <a:pt x="1579822" y="64012"/>
                  <a:pt x="1557263" y="64012"/>
                  <a:pt x="1542224" y="56481"/>
                </a:cubicBezTo>
                <a:cubicBezTo>
                  <a:pt x="1515906" y="56481"/>
                  <a:pt x="1549744" y="67777"/>
                  <a:pt x="1527185" y="71543"/>
                </a:cubicBezTo>
                <a:cubicBezTo>
                  <a:pt x="1527185" y="71543"/>
                  <a:pt x="1527185" y="71543"/>
                  <a:pt x="1478309" y="79073"/>
                </a:cubicBezTo>
                <a:cubicBezTo>
                  <a:pt x="1527185" y="90370"/>
                  <a:pt x="1609900" y="82839"/>
                  <a:pt x="1658776" y="90370"/>
                </a:cubicBezTo>
                <a:lnTo>
                  <a:pt x="1674865" y="90685"/>
                </a:lnTo>
                <a:lnTo>
                  <a:pt x="1658306" y="93664"/>
                </a:lnTo>
                <a:cubicBezTo>
                  <a:pt x="1646557" y="96959"/>
                  <a:pt x="1634338" y="101666"/>
                  <a:pt x="1621179" y="101666"/>
                </a:cubicBezTo>
                <a:cubicBezTo>
                  <a:pt x="1613659" y="109197"/>
                  <a:pt x="1598620" y="116727"/>
                  <a:pt x="1579822" y="128024"/>
                </a:cubicBezTo>
                <a:cubicBezTo>
                  <a:pt x="1579822" y="128024"/>
                  <a:pt x="1579822" y="128024"/>
                  <a:pt x="1576062" y="120493"/>
                </a:cubicBezTo>
                <a:cubicBezTo>
                  <a:pt x="1579822" y="112962"/>
                  <a:pt x="1598620" y="124258"/>
                  <a:pt x="1598620" y="112962"/>
                </a:cubicBezTo>
                <a:cubicBezTo>
                  <a:pt x="1598620" y="112962"/>
                  <a:pt x="1598620" y="112962"/>
                  <a:pt x="1587341" y="109197"/>
                </a:cubicBezTo>
                <a:cubicBezTo>
                  <a:pt x="1583581" y="112962"/>
                  <a:pt x="1572302" y="109197"/>
                  <a:pt x="1564783" y="109197"/>
                </a:cubicBezTo>
                <a:cubicBezTo>
                  <a:pt x="1564783" y="109197"/>
                  <a:pt x="1564783" y="109197"/>
                  <a:pt x="1553503" y="105431"/>
                </a:cubicBezTo>
                <a:cubicBezTo>
                  <a:pt x="1583581" y="101666"/>
                  <a:pt x="1609900" y="109197"/>
                  <a:pt x="1621179" y="94135"/>
                </a:cubicBezTo>
                <a:cubicBezTo>
                  <a:pt x="1564783" y="82839"/>
                  <a:pt x="1508387" y="94135"/>
                  <a:pt x="1448231" y="86604"/>
                </a:cubicBezTo>
                <a:cubicBezTo>
                  <a:pt x="1433192" y="82839"/>
                  <a:pt x="1425672" y="94135"/>
                  <a:pt x="1410633" y="97900"/>
                </a:cubicBezTo>
                <a:cubicBezTo>
                  <a:pt x="1410633" y="97900"/>
                  <a:pt x="1410633" y="97900"/>
                  <a:pt x="1444471" y="101666"/>
                </a:cubicBezTo>
                <a:cubicBezTo>
                  <a:pt x="1440711" y="109197"/>
                  <a:pt x="1384315" y="116727"/>
                  <a:pt x="1380555" y="131789"/>
                </a:cubicBezTo>
                <a:cubicBezTo>
                  <a:pt x="1373036" y="124258"/>
                  <a:pt x="1399354" y="120493"/>
                  <a:pt x="1380555" y="112962"/>
                </a:cubicBezTo>
                <a:cubicBezTo>
                  <a:pt x="1380555" y="120493"/>
                  <a:pt x="1350478" y="124258"/>
                  <a:pt x="1369276" y="131789"/>
                </a:cubicBezTo>
                <a:cubicBezTo>
                  <a:pt x="1365517" y="128024"/>
                  <a:pt x="1361757" y="131789"/>
                  <a:pt x="1357997" y="131789"/>
                </a:cubicBezTo>
                <a:cubicBezTo>
                  <a:pt x="1365517" y="146851"/>
                  <a:pt x="1361757" y="143085"/>
                  <a:pt x="1354237" y="146851"/>
                </a:cubicBezTo>
                <a:cubicBezTo>
                  <a:pt x="1357997" y="143085"/>
                  <a:pt x="1357997" y="143085"/>
                  <a:pt x="1350478" y="139320"/>
                </a:cubicBezTo>
                <a:cubicBezTo>
                  <a:pt x="1350478" y="139320"/>
                  <a:pt x="1350478" y="139320"/>
                  <a:pt x="1327919" y="161912"/>
                </a:cubicBezTo>
                <a:cubicBezTo>
                  <a:pt x="1365517" y="161912"/>
                  <a:pt x="1391835" y="184504"/>
                  <a:pt x="1436952" y="173208"/>
                </a:cubicBezTo>
                <a:cubicBezTo>
                  <a:pt x="1455750" y="173208"/>
                  <a:pt x="1451990" y="184504"/>
                  <a:pt x="1459510" y="192035"/>
                </a:cubicBezTo>
                <a:cubicBezTo>
                  <a:pt x="1440711" y="192035"/>
                  <a:pt x="1436952" y="199566"/>
                  <a:pt x="1421913" y="207097"/>
                </a:cubicBezTo>
                <a:cubicBezTo>
                  <a:pt x="1429432" y="210862"/>
                  <a:pt x="1440711" y="207097"/>
                  <a:pt x="1451990" y="207097"/>
                </a:cubicBezTo>
                <a:cubicBezTo>
                  <a:pt x="1451990" y="207097"/>
                  <a:pt x="1451990" y="207097"/>
                  <a:pt x="1451990" y="210862"/>
                </a:cubicBezTo>
                <a:cubicBezTo>
                  <a:pt x="1474549" y="214628"/>
                  <a:pt x="1485828" y="210862"/>
                  <a:pt x="1512146" y="210862"/>
                </a:cubicBezTo>
                <a:cubicBezTo>
                  <a:pt x="1512146" y="210862"/>
                  <a:pt x="1512146" y="210862"/>
                  <a:pt x="1512146" y="214628"/>
                </a:cubicBezTo>
                <a:cubicBezTo>
                  <a:pt x="1512146" y="214628"/>
                  <a:pt x="1512146" y="214628"/>
                  <a:pt x="1534705" y="214628"/>
                </a:cubicBezTo>
                <a:cubicBezTo>
                  <a:pt x="1534705" y="210862"/>
                  <a:pt x="1538464" y="210862"/>
                  <a:pt x="1538464" y="210862"/>
                </a:cubicBezTo>
                <a:cubicBezTo>
                  <a:pt x="1534705" y="214628"/>
                  <a:pt x="1530945" y="218393"/>
                  <a:pt x="1538464" y="218393"/>
                </a:cubicBezTo>
                <a:cubicBezTo>
                  <a:pt x="1530945" y="222158"/>
                  <a:pt x="1523426" y="222158"/>
                  <a:pt x="1515906" y="225924"/>
                </a:cubicBezTo>
                <a:cubicBezTo>
                  <a:pt x="1523426" y="229689"/>
                  <a:pt x="1538464" y="225924"/>
                  <a:pt x="1549744" y="229689"/>
                </a:cubicBezTo>
                <a:cubicBezTo>
                  <a:pt x="1549744" y="229689"/>
                  <a:pt x="1549744" y="233455"/>
                  <a:pt x="1542224" y="237220"/>
                </a:cubicBezTo>
                <a:cubicBezTo>
                  <a:pt x="1609900" y="252282"/>
                  <a:pt x="1651257" y="222158"/>
                  <a:pt x="1722692" y="225924"/>
                </a:cubicBezTo>
                <a:cubicBezTo>
                  <a:pt x="1730211" y="222158"/>
                  <a:pt x="1745250" y="214628"/>
                  <a:pt x="1764049" y="218393"/>
                </a:cubicBezTo>
                <a:cubicBezTo>
                  <a:pt x="1767809" y="225924"/>
                  <a:pt x="1790367" y="218393"/>
                  <a:pt x="1801646" y="218393"/>
                </a:cubicBezTo>
                <a:cubicBezTo>
                  <a:pt x="1801646" y="218393"/>
                  <a:pt x="1801646" y="218393"/>
                  <a:pt x="1809166" y="214628"/>
                </a:cubicBezTo>
                <a:cubicBezTo>
                  <a:pt x="1846763" y="225924"/>
                  <a:pt x="1899399" y="214628"/>
                  <a:pt x="1940757" y="214628"/>
                </a:cubicBezTo>
                <a:cubicBezTo>
                  <a:pt x="1985873" y="188270"/>
                  <a:pt x="2030990" y="225924"/>
                  <a:pt x="2083627" y="203331"/>
                </a:cubicBezTo>
                <a:cubicBezTo>
                  <a:pt x="2091146" y="207097"/>
                  <a:pt x="2109945" y="203331"/>
                  <a:pt x="2124984" y="203331"/>
                </a:cubicBezTo>
                <a:cubicBezTo>
                  <a:pt x="2124984" y="203331"/>
                  <a:pt x="2124984" y="203331"/>
                  <a:pt x="2128744" y="199566"/>
                </a:cubicBezTo>
                <a:cubicBezTo>
                  <a:pt x="2128744" y="199566"/>
                  <a:pt x="2128744" y="199566"/>
                  <a:pt x="2117464" y="195801"/>
                </a:cubicBezTo>
                <a:cubicBezTo>
                  <a:pt x="2124984" y="195801"/>
                  <a:pt x="2128744" y="195801"/>
                  <a:pt x="2128744" y="192035"/>
                </a:cubicBezTo>
                <a:cubicBezTo>
                  <a:pt x="2128744" y="192035"/>
                  <a:pt x="2128744" y="192035"/>
                  <a:pt x="2121224" y="188270"/>
                </a:cubicBezTo>
                <a:cubicBezTo>
                  <a:pt x="2143782" y="195801"/>
                  <a:pt x="2170101" y="176974"/>
                  <a:pt x="2192659" y="184504"/>
                </a:cubicBezTo>
                <a:cubicBezTo>
                  <a:pt x="2196419" y="188270"/>
                  <a:pt x="2185140" y="195801"/>
                  <a:pt x="2196419" y="199566"/>
                </a:cubicBezTo>
                <a:cubicBezTo>
                  <a:pt x="2203938" y="199566"/>
                  <a:pt x="2207698" y="199566"/>
                  <a:pt x="2215218" y="195801"/>
                </a:cubicBezTo>
                <a:cubicBezTo>
                  <a:pt x="2215218" y="195801"/>
                  <a:pt x="2215218" y="195801"/>
                  <a:pt x="2203938" y="188270"/>
                </a:cubicBezTo>
                <a:cubicBezTo>
                  <a:pt x="2218977" y="184504"/>
                  <a:pt x="2245295" y="192035"/>
                  <a:pt x="2271614" y="188270"/>
                </a:cubicBezTo>
                <a:cubicBezTo>
                  <a:pt x="2309211" y="188270"/>
                  <a:pt x="2354328" y="176974"/>
                  <a:pt x="2395685" y="184504"/>
                </a:cubicBezTo>
                <a:cubicBezTo>
                  <a:pt x="2391925" y="180739"/>
                  <a:pt x="2406964" y="169443"/>
                  <a:pt x="2422003" y="169443"/>
                </a:cubicBezTo>
                <a:cubicBezTo>
                  <a:pt x="2478399" y="176974"/>
                  <a:pt x="2534795" y="150616"/>
                  <a:pt x="2564873" y="180739"/>
                </a:cubicBezTo>
                <a:cubicBezTo>
                  <a:pt x="2628789" y="180739"/>
                  <a:pt x="2673906" y="184504"/>
                  <a:pt x="2737821" y="176974"/>
                </a:cubicBezTo>
                <a:cubicBezTo>
                  <a:pt x="2737821" y="176974"/>
                  <a:pt x="2737821" y="176974"/>
                  <a:pt x="2737821" y="169443"/>
                </a:cubicBezTo>
                <a:cubicBezTo>
                  <a:pt x="2756620" y="173208"/>
                  <a:pt x="2775419" y="173208"/>
                  <a:pt x="2794217" y="176974"/>
                </a:cubicBezTo>
                <a:cubicBezTo>
                  <a:pt x="2794217" y="176974"/>
                  <a:pt x="2794217" y="176974"/>
                  <a:pt x="2805496" y="169443"/>
                </a:cubicBezTo>
                <a:cubicBezTo>
                  <a:pt x="3076198" y="161912"/>
                  <a:pt x="3290503" y="158147"/>
                  <a:pt x="3568723" y="165678"/>
                </a:cubicBezTo>
                <a:cubicBezTo>
                  <a:pt x="3568723" y="165678"/>
                  <a:pt x="3568723" y="165678"/>
                  <a:pt x="3673996" y="158147"/>
                </a:cubicBezTo>
                <a:cubicBezTo>
                  <a:pt x="3673996" y="169443"/>
                  <a:pt x="3707834" y="158147"/>
                  <a:pt x="3719113" y="161912"/>
                </a:cubicBezTo>
                <a:cubicBezTo>
                  <a:pt x="3786788" y="154381"/>
                  <a:pt x="3828145" y="176974"/>
                  <a:pt x="3880782" y="150616"/>
                </a:cubicBezTo>
                <a:cubicBezTo>
                  <a:pt x="3880782" y="150616"/>
                  <a:pt x="3880782" y="150616"/>
                  <a:pt x="3869503" y="161912"/>
                </a:cubicBezTo>
                <a:cubicBezTo>
                  <a:pt x="3884541" y="169443"/>
                  <a:pt x="3914619" y="158147"/>
                  <a:pt x="3922139" y="169443"/>
                </a:cubicBezTo>
                <a:cubicBezTo>
                  <a:pt x="3959736" y="154381"/>
                  <a:pt x="4001093" y="169443"/>
                  <a:pt x="4046210" y="165678"/>
                </a:cubicBezTo>
                <a:cubicBezTo>
                  <a:pt x="4046210" y="165678"/>
                  <a:pt x="4046210" y="165678"/>
                  <a:pt x="4083807" y="165678"/>
                </a:cubicBezTo>
                <a:cubicBezTo>
                  <a:pt x="4083807" y="165678"/>
                  <a:pt x="4083807" y="165678"/>
                  <a:pt x="4083807" y="169443"/>
                </a:cubicBezTo>
                <a:cubicBezTo>
                  <a:pt x="4102606" y="176974"/>
                  <a:pt x="4162762" y="165678"/>
                  <a:pt x="4181561" y="173208"/>
                </a:cubicBezTo>
                <a:cubicBezTo>
                  <a:pt x="4211639" y="161912"/>
                  <a:pt x="4234197" y="184504"/>
                  <a:pt x="4264275" y="173208"/>
                </a:cubicBezTo>
                <a:cubicBezTo>
                  <a:pt x="4275554" y="184504"/>
                  <a:pt x="4298113" y="176974"/>
                  <a:pt x="4316911" y="184504"/>
                </a:cubicBezTo>
                <a:cubicBezTo>
                  <a:pt x="4350749" y="184504"/>
                  <a:pt x="4399626" y="195801"/>
                  <a:pt x="4440983" y="184504"/>
                </a:cubicBezTo>
                <a:cubicBezTo>
                  <a:pt x="4433463" y="184504"/>
                  <a:pt x="4433463" y="188270"/>
                  <a:pt x="4433463" y="192035"/>
                </a:cubicBezTo>
                <a:cubicBezTo>
                  <a:pt x="4467301" y="195801"/>
                  <a:pt x="4493619" y="192035"/>
                  <a:pt x="4512418" y="199566"/>
                </a:cubicBezTo>
                <a:cubicBezTo>
                  <a:pt x="4508658" y="214628"/>
                  <a:pt x="4534976" y="203331"/>
                  <a:pt x="4550015" y="203331"/>
                </a:cubicBezTo>
                <a:cubicBezTo>
                  <a:pt x="4550015" y="203331"/>
                  <a:pt x="4550015" y="203331"/>
                  <a:pt x="4557535" y="199566"/>
                </a:cubicBezTo>
                <a:cubicBezTo>
                  <a:pt x="4550015" y="210862"/>
                  <a:pt x="4595132" y="199566"/>
                  <a:pt x="4568814" y="207097"/>
                </a:cubicBezTo>
                <a:cubicBezTo>
                  <a:pt x="4583853" y="225924"/>
                  <a:pt x="4640249" y="210862"/>
                  <a:pt x="4644009" y="233455"/>
                </a:cubicBezTo>
                <a:cubicBezTo>
                  <a:pt x="4700405" y="218393"/>
                  <a:pt x="4722963" y="248516"/>
                  <a:pt x="4775599" y="237220"/>
                </a:cubicBezTo>
                <a:cubicBezTo>
                  <a:pt x="4794399" y="214628"/>
                  <a:pt x="4790639" y="214628"/>
                  <a:pt x="4828236" y="199566"/>
                </a:cubicBezTo>
                <a:cubicBezTo>
                  <a:pt x="4816957" y="192035"/>
                  <a:pt x="4771840" y="207097"/>
                  <a:pt x="4783119" y="188270"/>
                </a:cubicBezTo>
                <a:cubicBezTo>
                  <a:pt x="4801918" y="192035"/>
                  <a:pt x="4835755" y="173208"/>
                  <a:pt x="4828236" y="195801"/>
                </a:cubicBezTo>
                <a:cubicBezTo>
                  <a:pt x="4835755" y="188270"/>
                  <a:pt x="4854554" y="188270"/>
                  <a:pt x="4850795" y="180739"/>
                </a:cubicBezTo>
                <a:cubicBezTo>
                  <a:pt x="4824476" y="173208"/>
                  <a:pt x="4847035" y="143085"/>
                  <a:pt x="4794399" y="150616"/>
                </a:cubicBezTo>
                <a:cubicBezTo>
                  <a:pt x="4794399" y="150616"/>
                  <a:pt x="4794399" y="150616"/>
                  <a:pt x="4813197" y="143085"/>
                </a:cubicBezTo>
                <a:cubicBezTo>
                  <a:pt x="4805677" y="128024"/>
                  <a:pt x="4764321" y="139320"/>
                  <a:pt x="4738002" y="135554"/>
                </a:cubicBezTo>
                <a:cubicBezTo>
                  <a:pt x="4722963" y="146851"/>
                  <a:pt x="4696645" y="131789"/>
                  <a:pt x="4677847" y="139320"/>
                </a:cubicBezTo>
                <a:cubicBezTo>
                  <a:pt x="4689125" y="128024"/>
                  <a:pt x="4659047" y="124258"/>
                  <a:pt x="4644009" y="116727"/>
                </a:cubicBezTo>
                <a:cubicBezTo>
                  <a:pt x="4591373" y="128024"/>
                  <a:pt x="4565054" y="105431"/>
                  <a:pt x="4516177" y="109197"/>
                </a:cubicBezTo>
                <a:cubicBezTo>
                  <a:pt x="4508658" y="101666"/>
                  <a:pt x="4452262" y="112962"/>
                  <a:pt x="4444743" y="90370"/>
                </a:cubicBezTo>
                <a:cubicBezTo>
                  <a:pt x="4418425" y="90370"/>
                  <a:pt x="4403385" y="90370"/>
                  <a:pt x="4380827" y="82839"/>
                </a:cubicBezTo>
                <a:cubicBezTo>
                  <a:pt x="4380827" y="82839"/>
                  <a:pt x="4380827" y="82839"/>
                  <a:pt x="4365788" y="90370"/>
                </a:cubicBezTo>
                <a:cubicBezTo>
                  <a:pt x="4365788" y="90370"/>
                  <a:pt x="4362028" y="86604"/>
                  <a:pt x="4354509" y="86604"/>
                </a:cubicBezTo>
                <a:cubicBezTo>
                  <a:pt x="4346989" y="86604"/>
                  <a:pt x="4343229" y="79073"/>
                  <a:pt x="4331951" y="82839"/>
                </a:cubicBezTo>
                <a:cubicBezTo>
                  <a:pt x="4331951" y="82839"/>
                  <a:pt x="4331951" y="82839"/>
                  <a:pt x="4335710" y="67777"/>
                </a:cubicBezTo>
                <a:cubicBezTo>
                  <a:pt x="4380827" y="71543"/>
                  <a:pt x="4429703" y="75308"/>
                  <a:pt x="4474821" y="79073"/>
                </a:cubicBezTo>
                <a:cubicBezTo>
                  <a:pt x="4474821" y="101666"/>
                  <a:pt x="4531217" y="86604"/>
                  <a:pt x="4561295" y="90370"/>
                </a:cubicBezTo>
                <a:cubicBezTo>
                  <a:pt x="4602651" y="97900"/>
                  <a:pt x="4655288" y="82839"/>
                  <a:pt x="4681606" y="94135"/>
                </a:cubicBezTo>
                <a:cubicBezTo>
                  <a:pt x="4681606" y="94135"/>
                  <a:pt x="4681606" y="94135"/>
                  <a:pt x="4685366" y="97900"/>
                </a:cubicBezTo>
                <a:cubicBezTo>
                  <a:pt x="4719203" y="101666"/>
                  <a:pt x="4749281" y="120493"/>
                  <a:pt x="4801918" y="109197"/>
                </a:cubicBezTo>
                <a:cubicBezTo>
                  <a:pt x="4801918" y="109197"/>
                  <a:pt x="4801918" y="109197"/>
                  <a:pt x="4809437" y="112962"/>
                </a:cubicBezTo>
                <a:cubicBezTo>
                  <a:pt x="4809437" y="112962"/>
                  <a:pt x="4809437" y="112962"/>
                  <a:pt x="4824476" y="105431"/>
                </a:cubicBezTo>
                <a:cubicBezTo>
                  <a:pt x="4824476" y="105431"/>
                  <a:pt x="4824476" y="105431"/>
                  <a:pt x="4828236" y="109197"/>
                </a:cubicBezTo>
                <a:cubicBezTo>
                  <a:pt x="4824476" y="112962"/>
                  <a:pt x="4801918" y="116727"/>
                  <a:pt x="4805677" y="124258"/>
                </a:cubicBezTo>
                <a:cubicBezTo>
                  <a:pt x="4839515" y="128024"/>
                  <a:pt x="4865833" y="128024"/>
                  <a:pt x="4903431" y="124258"/>
                </a:cubicBezTo>
                <a:cubicBezTo>
                  <a:pt x="4888392" y="131789"/>
                  <a:pt x="4899671" y="150616"/>
                  <a:pt x="4925989" y="143085"/>
                </a:cubicBezTo>
                <a:cubicBezTo>
                  <a:pt x="4925989" y="143085"/>
                  <a:pt x="4925989" y="143085"/>
                  <a:pt x="4941028" y="143085"/>
                </a:cubicBezTo>
                <a:cubicBezTo>
                  <a:pt x="4971106" y="120493"/>
                  <a:pt x="4914710" y="128024"/>
                  <a:pt x="4922229" y="109197"/>
                </a:cubicBezTo>
                <a:cubicBezTo>
                  <a:pt x="4933509" y="105431"/>
                  <a:pt x="4948547" y="105431"/>
                  <a:pt x="4956067" y="97900"/>
                </a:cubicBezTo>
                <a:cubicBezTo>
                  <a:pt x="4956067" y="97900"/>
                  <a:pt x="4956067" y="97900"/>
                  <a:pt x="4959827" y="94135"/>
                </a:cubicBezTo>
                <a:cubicBezTo>
                  <a:pt x="4952307" y="86604"/>
                  <a:pt x="4937269" y="97900"/>
                  <a:pt x="4922229" y="97900"/>
                </a:cubicBezTo>
                <a:cubicBezTo>
                  <a:pt x="4922229" y="90370"/>
                  <a:pt x="4914710" y="86604"/>
                  <a:pt x="4903431" y="86604"/>
                </a:cubicBezTo>
                <a:cubicBezTo>
                  <a:pt x="4910950" y="82839"/>
                  <a:pt x="4922229" y="79073"/>
                  <a:pt x="4933509" y="75308"/>
                </a:cubicBezTo>
                <a:cubicBezTo>
                  <a:pt x="4937269" y="75308"/>
                  <a:pt x="4933509" y="71543"/>
                  <a:pt x="4929749" y="71543"/>
                </a:cubicBezTo>
                <a:cubicBezTo>
                  <a:pt x="4989905" y="67777"/>
                  <a:pt x="5004943" y="97900"/>
                  <a:pt x="5068859" y="79073"/>
                </a:cubicBezTo>
                <a:cubicBezTo>
                  <a:pt x="5068859" y="79073"/>
                  <a:pt x="5068859" y="79073"/>
                  <a:pt x="5061339" y="75308"/>
                </a:cubicBezTo>
                <a:cubicBezTo>
                  <a:pt x="5068859" y="75308"/>
                  <a:pt x="5117736" y="79073"/>
                  <a:pt x="5132775" y="75308"/>
                </a:cubicBezTo>
                <a:cubicBezTo>
                  <a:pt x="5132775" y="75308"/>
                  <a:pt x="5132775" y="75308"/>
                  <a:pt x="5136535" y="71543"/>
                </a:cubicBezTo>
                <a:cubicBezTo>
                  <a:pt x="5125255" y="67777"/>
                  <a:pt x="5102697" y="71543"/>
                  <a:pt x="5087658" y="71543"/>
                </a:cubicBezTo>
                <a:cubicBezTo>
                  <a:pt x="5125255" y="60247"/>
                  <a:pt x="5147813" y="60247"/>
                  <a:pt x="5189171" y="52716"/>
                </a:cubicBezTo>
                <a:cubicBezTo>
                  <a:pt x="5189171" y="52716"/>
                  <a:pt x="5189171" y="52716"/>
                  <a:pt x="5095177" y="101666"/>
                </a:cubicBezTo>
                <a:cubicBezTo>
                  <a:pt x="5129015" y="112962"/>
                  <a:pt x="5083898" y="120493"/>
                  <a:pt x="5065099" y="131789"/>
                </a:cubicBezTo>
                <a:cubicBezTo>
                  <a:pt x="5042541" y="150616"/>
                  <a:pt x="4997424" y="135554"/>
                  <a:pt x="4971106" y="161912"/>
                </a:cubicBezTo>
                <a:cubicBezTo>
                  <a:pt x="5001184" y="158147"/>
                  <a:pt x="5004943" y="158147"/>
                  <a:pt x="5035021" y="165678"/>
                </a:cubicBezTo>
                <a:cubicBezTo>
                  <a:pt x="5035021" y="165678"/>
                  <a:pt x="5035021" y="165678"/>
                  <a:pt x="5023743" y="184504"/>
                </a:cubicBezTo>
                <a:cubicBezTo>
                  <a:pt x="4971106" y="207097"/>
                  <a:pt x="4910950" y="237220"/>
                  <a:pt x="4869593" y="263578"/>
                </a:cubicBezTo>
                <a:cubicBezTo>
                  <a:pt x="4873353" y="267343"/>
                  <a:pt x="4880873" y="267343"/>
                  <a:pt x="4884632" y="267343"/>
                </a:cubicBezTo>
                <a:cubicBezTo>
                  <a:pt x="4843275" y="278639"/>
                  <a:pt x="4839515" y="304997"/>
                  <a:pt x="4798158" y="312528"/>
                </a:cubicBezTo>
                <a:cubicBezTo>
                  <a:pt x="4801918" y="316293"/>
                  <a:pt x="4801918" y="320059"/>
                  <a:pt x="4809437" y="316293"/>
                </a:cubicBezTo>
                <a:cubicBezTo>
                  <a:pt x="4813197" y="327589"/>
                  <a:pt x="4790639" y="320059"/>
                  <a:pt x="4783119" y="327589"/>
                </a:cubicBezTo>
                <a:cubicBezTo>
                  <a:pt x="4783119" y="320059"/>
                  <a:pt x="4798158" y="308762"/>
                  <a:pt x="4783119" y="304997"/>
                </a:cubicBezTo>
                <a:cubicBezTo>
                  <a:pt x="4760561" y="312528"/>
                  <a:pt x="4756801" y="327589"/>
                  <a:pt x="4760561" y="335120"/>
                </a:cubicBezTo>
                <a:cubicBezTo>
                  <a:pt x="4768080" y="346416"/>
                  <a:pt x="4783119" y="346416"/>
                  <a:pt x="4801918" y="342651"/>
                </a:cubicBezTo>
                <a:cubicBezTo>
                  <a:pt x="4798158" y="346416"/>
                  <a:pt x="4801918" y="346416"/>
                  <a:pt x="4801918" y="350182"/>
                </a:cubicBezTo>
                <a:cubicBezTo>
                  <a:pt x="4809437" y="350182"/>
                  <a:pt x="4816957" y="350182"/>
                  <a:pt x="4820717" y="346416"/>
                </a:cubicBezTo>
                <a:cubicBezTo>
                  <a:pt x="4820717" y="346416"/>
                  <a:pt x="4820717" y="346416"/>
                  <a:pt x="4816957" y="342651"/>
                </a:cubicBezTo>
                <a:cubicBezTo>
                  <a:pt x="4816957" y="342651"/>
                  <a:pt x="4816957" y="342651"/>
                  <a:pt x="4850795" y="342651"/>
                </a:cubicBezTo>
                <a:cubicBezTo>
                  <a:pt x="4862073" y="338886"/>
                  <a:pt x="4854554" y="335120"/>
                  <a:pt x="4850795" y="331355"/>
                </a:cubicBezTo>
                <a:cubicBezTo>
                  <a:pt x="4862073" y="327589"/>
                  <a:pt x="4892151" y="335120"/>
                  <a:pt x="4910950" y="323824"/>
                </a:cubicBezTo>
                <a:cubicBezTo>
                  <a:pt x="4877113" y="312528"/>
                  <a:pt x="4937269" y="304997"/>
                  <a:pt x="4918469" y="293701"/>
                </a:cubicBezTo>
                <a:cubicBezTo>
                  <a:pt x="4910950" y="293701"/>
                  <a:pt x="4937269" y="289935"/>
                  <a:pt x="4937269" y="278639"/>
                </a:cubicBezTo>
                <a:cubicBezTo>
                  <a:pt x="4937269" y="278639"/>
                  <a:pt x="4937269" y="278639"/>
                  <a:pt x="4941028" y="278639"/>
                </a:cubicBezTo>
                <a:cubicBezTo>
                  <a:pt x="4959827" y="263578"/>
                  <a:pt x="4989905" y="274874"/>
                  <a:pt x="4997424" y="256047"/>
                </a:cubicBezTo>
                <a:cubicBezTo>
                  <a:pt x="5050061" y="244751"/>
                  <a:pt x="4993665" y="271108"/>
                  <a:pt x="5042541" y="263578"/>
                </a:cubicBezTo>
                <a:cubicBezTo>
                  <a:pt x="5038781" y="271108"/>
                  <a:pt x="5027502" y="271108"/>
                  <a:pt x="5027502" y="278639"/>
                </a:cubicBezTo>
                <a:cubicBezTo>
                  <a:pt x="5027502" y="278639"/>
                  <a:pt x="5027502" y="278639"/>
                  <a:pt x="5061339" y="278639"/>
                </a:cubicBezTo>
                <a:cubicBezTo>
                  <a:pt x="5068859" y="301232"/>
                  <a:pt x="4986145" y="308762"/>
                  <a:pt x="5019983" y="323824"/>
                </a:cubicBezTo>
                <a:cubicBezTo>
                  <a:pt x="5019983" y="323824"/>
                  <a:pt x="5019983" y="323824"/>
                  <a:pt x="5012463" y="342651"/>
                </a:cubicBezTo>
                <a:cubicBezTo>
                  <a:pt x="4997424" y="346416"/>
                  <a:pt x="5004943" y="338886"/>
                  <a:pt x="5001184" y="335120"/>
                </a:cubicBezTo>
                <a:cubicBezTo>
                  <a:pt x="5001184" y="331355"/>
                  <a:pt x="5004943" y="327589"/>
                  <a:pt x="5001184" y="327589"/>
                </a:cubicBezTo>
                <a:cubicBezTo>
                  <a:pt x="4993665" y="327589"/>
                  <a:pt x="4982385" y="331355"/>
                  <a:pt x="4986145" y="335120"/>
                </a:cubicBezTo>
                <a:cubicBezTo>
                  <a:pt x="4986145" y="335120"/>
                  <a:pt x="4986145" y="335120"/>
                  <a:pt x="4978625" y="335120"/>
                </a:cubicBezTo>
                <a:cubicBezTo>
                  <a:pt x="4978625" y="335120"/>
                  <a:pt x="4978625" y="335120"/>
                  <a:pt x="4993665" y="301232"/>
                </a:cubicBezTo>
                <a:cubicBezTo>
                  <a:pt x="5001184" y="304997"/>
                  <a:pt x="5008703" y="301232"/>
                  <a:pt x="5008703" y="297466"/>
                </a:cubicBezTo>
                <a:cubicBezTo>
                  <a:pt x="5008703" y="297466"/>
                  <a:pt x="5008703" y="297466"/>
                  <a:pt x="5012463" y="286170"/>
                </a:cubicBezTo>
                <a:cubicBezTo>
                  <a:pt x="5019983" y="286170"/>
                  <a:pt x="5019983" y="286170"/>
                  <a:pt x="5027502" y="282405"/>
                </a:cubicBezTo>
                <a:cubicBezTo>
                  <a:pt x="5023743" y="271108"/>
                  <a:pt x="4989905" y="274874"/>
                  <a:pt x="4982385" y="286170"/>
                </a:cubicBezTo>
                <a:cubicBezTo>
                  <a:pt x="4963587" y="308762"/>
                  <a:pt x="4925989" y="335120"/>
                  <a:pt x="4888392" y="353947"/>
                </a:cubicBezTo>
                <a:cubicBezTo>
                  <a:pt x="4888392" y="353947"/>
                  <a:pt x="4888392" y="353947"/>
                  <a:pt x="4884632" y="365243"/>
                </a:cubicBezTo>
                <a:cubicBezTo>
                  <a:pt x="4877113" y="365243"/>
                  <a:pt x="4873353" y="365243"/>
                  <a:pt x="4869593" y="369009"/>
                </a:cubicBezTo>
                <a:cubicBezTo>
                  <a:pt x="4865833" y="376539"/>
                  <a:pt x="4880873" y="372774"/>
                  <a:pt x="4880873" y="380305"/>
                </a:cubicBezTo>
                <a:cubicBezTo>
                  <a:pt x="4877113" y="384070"/>
                  <a:pt x="4865833" y="384070"/>
                  <a:pt x="4865833" y="387836"/>
                </a:cubicBezTo>
                <a:cubicBezTo>
                  <a:pt x="4880873" y="395366"/>
                  <a:pt x="4888392" y="380305"/>
                  <a:pt x="4903431" y="391601"/>
                </a:cubicBezTo>
                <a:cubicBezTo>
                  <a:pt x="4910950" y="391601"/>
                  <a:pt x="4918469" y="387836"/>
                  <a:pt x="4929749" y="384070"/>
                </a:cubicBezTo>
                <a:cubicBezTo>
                  <a:pt x="4925989" y="387836"/>
                  <a:pt x="4925989" y="391601"/>
                  <a:pt x="4918469" y="395366"/>
                </a:cubicBezTo>
                <a:cubicBezTo>
                  <a:pt x="4918469" y="395366"/>
                  <a:pt x="4918469" y="395366"/>
                  <a:pt x="4925989" y="399132"/>
                </a:cubicBezTo>
                <a:cubicBezTo>
                  <a:pt x="4925989" y="399132"/>
                  <a:pt x="4925989" y="399132"/>
                  <a:pt x="4971106" y="380305"/>
                </a:cubicBezTo>
                <a:cubicBezTo>
                  <a:pt x="4982385" y="395366"/>
                  <a:pt x="4941028" y="421724"/>
                  <a:pt x="4967347" y="429255"/>
                </a:cubicBezTo>
                <a:cubicBezTo>
                  <a:pt x="4989905" y="414193"/>
                  <a:pt x="4982385" y="406663"/>
                  <a:pt x="5001184" y="391601"/>
                </a:cubicBezTo>
                <a:cubicBezTo>
                  <a:pt x="5001184" y="391601"/>
                  <a:pt x="5001184" y="391601"/>
                  <a:pt x="5012463" y="391601"/>
                </a:cubicBezTo>
                <a:cubicBezTo>
                  <a:pt x="4989905" y="414193"/>
                  <a:pt x="4974865" y="448082"/>
                  <a:pt x="4974865" y="466909"/>
                </a:cubicBezTo>
                <a:cubicBezTo>
                  <a:pt x="4974865" y="466909"/>
                  <a:pt x="4974865" y="466909"/>
                  <a:pt x="4971106" y="466909"/>
                </a:cubicBezTo>
                <a:cubicBezTo>
                  <a:pt x="4971106" y="466909"/>
                  <a:pt x="4971106" y="466909"/>
                  <a:pt x="4963587" y="470674"/>
                </a:cubicBezTo>
                <a:cubicBezTo>
                  <a:pt x="4959827" y="466909"/>
                  <a:pt x="4956067" y="470674"/>
                  <a:pt x="4952307" y="470674"/>
                </a:cubicBezTo>
                <a:cubicBezTo>
                  <a:pt x="4944788" y="470674"/>
                  <a:pt x="4937269" y="474440"/>
                  <a:pt x="4929749" y="474440"/>
                </a:cubicBezTo>
                <a:cubicBezTo>
                  <a:pt x="4952307" y="470674"/>
                  <a:pt x="4952307" y="470674"/>
                  <a:pt x="4952307" y="470674"/>
                </a:cubicBezTo>
                <a:cubicBezTo>
                  <a:pt x="4952307" y="470674"/>
                  <a:pt x="4952307" y="470674"/>
                  <a:pt x="4963587" y="470674"/>
                </a:cubicBezTo>
                <a:cubicBezTo>
                  <a:pt x="4963587" y="470674"/>
                  <a:pt x="4963587" y="470674"/>
                  <a:pt x="4967347" y="470674"/>
                </a:cubicBezTo>
                <a:cubicBezTo>
                  <a:pt x="4967347" y="470674"/>
                  <a:pt x="4967347" y="470674"/>
                  <a:pt x="4944788" y="481970"/>
                </a:cubicBezTo>
                <a:cubicBezTo>
                  <a:pt x="4944788" y="485736"/>
                  <a:pt x="4952307" y="485736"/>
                  <a:pt x="4959827" y="485736"/>
                </a:cubicBezTo>
                <a:cubicBezTo>
                  <a:pt x="4959827" y="485736"/>
                  <a:pt x="4959827" y="485736"/>
                  <a:pt x="4974865" y="474440"/>
                </a:cubicBezTo>
                <a:cubicBezTo>
                  <a:pt x="4974865" y="474440"/>
                  <a:pt x="4974865" y="474440"/>
                  <a:pt x="4978625" y="478205"/>
                </a:cubicBezTo>
                <a:cubicBezTo>
                  <a:pt x="4997424" y="470674"/>
                  <a:pt x="4974865" y="463144"/>
                  <a:pt x="4993665" y="455613"/>
                </a:cubicBezTo>
                <a:cubicBezTo>
                  <a:pt x="4993665" y="455613"/>
                  <a:pt x="4993665" y="455613"/>
                  <a:pt x="5004943" y="455613"/>
                </a:cubicBezTo>
                <a:cubicBezTo>
                  <a:pt x="5001184" y="474440"/>
                  <a:pt x="4997424" y="493267"/>
                  <a:pt x="5019983" y="497032"/>
                </a:cubicBezTo>
                <a:cubicBezTo>
                  <a:pt x="5042541" y="489501"/>
                  <a:pt x="5038781" y="478205"/>
                  <a:pt x="5046301" y="466909"/>
                </a:cubicBezTo>
                <a:cubicBezTo>
                  <a:pt x="5038781" y="463144"/>
                  <a:pt x="5038781" y="459378"/>
                  <a:pt x="5042541" y="451847"/>
                </a:cubicBezTo>
                <a:cubicBezTo>
                  <a:pt x="5053821" y="451847"/>
                  <a:pt x="5061339" y="455613"/>
                  <a:pt x="5065099" y="448082"/>
                </a:cubicBezTo>
                <a:cubicBezTo>
                  <a:pt x="5065099" y="448082"/>
                  <a:pt x="5065099" y="448082"/>
                  <a:pt x="5065099" y="474440"/>
                </a:cubicBezTo>
                <a:cubicBezTo>
                  <a:pt x="5065099" y="474440"/>
                  <a:pt x="5065099" y="474440"/>
                  <a:pt x="5080139" y="470674"/>
                </a:cubicBezTo>
                <a:cubicBezTo>
                  <a:pt x="5087658" y="478205"/>
                  <a:pt x="5091417" y="489501"/>
                  <a:pt x="5095177" y="497032"/>
                </a:cubicBezTo>
                <a:cubicBezTo>
                  <a:pt x="5087658" y="493267"/>
                  <a:pt x="5080139" y="493267"/>
                  <a:pt x="5072619" y="500797"/>
                </a:cubicBezTo>
                <a:cubicBezTo>
                  <a:pt x="5072619" y="500797"/>
                  <a:pt x="5072619" y="500797"/>
                  <a:pt x="5053821" y="493267"/>
                </a:cubicBezTo>
                <a:cubicBezTo>
                  <a:pt x="5042541" y="497032"/>
                  <a:pt x="5027502" y="497032"/>
                  <a:pt x="5019983" y="504563"/>
                </a:cubicBezTo>
                <a:cubicBezTo>
                  <a:pt x="5019983" y="504563"/>
                  <a:pt x="5019983" y="504563"/>
                  <a:pt x="5038781" y="504563"/>
                </a:cubicBezTo>
                <a:cubicBezTo>
                  <a:pt x="5038781" y="504563"/>
                  <a:pt x="5038781" y="504563"/>
                  <a:pt x="5035021" y="508328"/>
                </a:cubicBezTo>
                <a:cubicBezTo>
                  <a:pt x="5068859" y="504563"/>
                  <a:pt x="5083898" y="512094"/>
                  <a:pt x="5102697" y="508328"/>
                </a:cubicBezTo>
                <a:cubicBezTo>
                  <a:pt x="5106457" y="512094"/>
                  <a:pt x="5106457" y="512094"/>
                  <a:pt x="5110217" y="512094"/>
                </a:cubicBezTo>
                <a:cubicBezTo>
                  <a:pt x="5113976" y="512094"/>
                  <a:pt x="5113976" y="508328"/>
                  <a:pt x="5113976" y="508328"/>
                </a:cubicBezTo>
                <a:cubicBezTo>
                  <a:pt x="5117736" y="504563"/>
                  <a:pt x="5121495" y="504563"/>
                  <a:pt x="5125255" y="504563"/>
                </a:cubicBezTo>
                <a:cubicBezTo>
                  <a:pt x="5125255" y="500797"/>
                  <a:pt x="5121495" y="504563"/>
                  <a:pt x="5113976" y="504563"/>
                </a:cubicBezTo>
                <a:cubicBezTo>
                  <a:pt x="5113976" y="497032"/>
                  <a:pt x="5110217" y="493267"/>
                  <a:pt x="5117736" y="485736"/>
                </a:cubicBezTo>
                <a:cubicBezTo>
                  <a:pt x="5106457" y="474440"/>
                  <a:pt x="5098937" y="463144"/>
                  <a:pt x="5113976" y="444317"/>
                </a:cubicBezTo>
                <a:cubicBezTo>
                  <a:pt x="5140295" y="455613"/>
                  <a:pt x="5106457" y="497032"/>
                  <a:pt x="5159093" y="489501"/>
                </a:cubicBezTo>
                <a:cubicBezTo>
                  <a:pt x="5159093" y="489501"/>
                  <a:pt x="5159093" y="489501"/>
                  <a:pt x="5162853" y="485736"/>
                </a:cubicBezTo>
                <a:cubicBezTo>
                  <a:pt x="5162853" y="485736"/>
                  <a:pt x="5166613" y="489501"/>
                  <a:pt x="5170372" y="489501"/>
                </a:cubicBezTo>
                <a:cubicBezTo>
                  <a:pt x="5177891" y="497032"/>
                  <a:pt x="5181651" y="508328"/>
                  <a:pt x="5170372" y="519624"/>
                </a:cubicBezTo>
                <a:cubicBezTo>
                  <a:pt x="5170372" y="519624"/>
                  <a:pt x="5170372" y="519624"/>
                  <a:pt x="5162853" y="508328"/>
                </a:cubicBezTo>
                <a:cubicBezTo>
                  <a:pt x="5155333" y="519624"/>
                  <a:pt x="5132775" y="534686"/>
                  <a:pt x="5144054" y="549748"/>
                </a:cubicBezTo>
                <a:cubicBezTo>
                  <a:pt x="5136535" y="545982"/>
                  <a:pt x="5121495" y="557278"/>
                  <a:pt x="5110217" y="564809"/>
                </a:cubicBezTo>
                <a:cubicBezTo>
                  <a:pt x="5113976" y="579870"/>
                  <a:pt x="5113976" y="594932"/>
                  <a:pt x="5129015" y="606228"/>
                </a:cubicBezTo>
                <a:cubicBezTo>
                  <a:pt x="5129015" y="606228"/>
                  <a:pt x="5129015" y="606228"/>
                  <a:pt x="5159093" y="591167"/>
                </a:cubicBezTo>
                <a:cubicBezTo>
                  <a:pt x="5174132" y="602463"/>
                  <a:pt x="5129015" y="606228"/>
                  <a:pt x="5129015" y="617524"/>
                </a:cubicBezTo>
                <a:cubicBezTo>
                  <a:pt x="5129015" y="640117"/>
                  <a:pt x="5147813" y="662709"/>
                  <a:pt x="5136535" y="681536"/>
                </a:cubicBezTo>
                <a:cubicBezTo>
                  <a:pt x="5151573" y="685301"/>
                  <a:pt x="5147813" y="689067"/>
                  <a:pt x="5159093" y="692832"/>
                </a:cubicBezTo>
                <a:cubicBezTo>
                  <a:pt x="5159093" y="692832"/>
                  <a:pt x="5159093" y="692832"/>
                  <a:pt x="5207969" y="670240"/>
                </a:cubicBezTo>
                <a:cubicBezTo>
                  <a:pt x="5207969" y="670240"/>
                  <a:pt x="5207969" y="670240"/>
                  <a:pt x="5215489" y="674005"/>
                </a:cubicBezTo>
                <a:cubicBezTo>
                  <a:pt x="5215489" y="674005"/>
                  <a:pt x="5215489" y="674005"/>
                  <a:pt x="5223009" y="670240"/>
                </a:cubicBezTo>
                <a:cubicBezTo>
                  <a:pt x="5223009" y="681536"/>
                  <a:pt x="5230528" y="692832"/>
                  <a:pt x="5226769" y="704128"/>
                </a:cubicBezTo>
                <a:cubicBezTo>
                  <a:pt x="5200450" y="722955"/>
                  <a:pt x="5162853" y="730486"/>
                  <a:pt x="5129015" y="745548"/>
                </a:cubicBezTo>
                <a:cubicBezTo>
                  <a:pt x="5129015" y="745548"/>
                  <a:pt x="5129015" y="745548"/>
                  <a:pt x="5113976" y="745548"/>
                </a:cubicBezTo>
                <a:cubicBezTo>
                  <a:pt x="5113976" y="745548"/>
                  <a:pt x="5113976" y="745548"/>
                  <a:pt x="5117736" y="741782"/>
                </a:cubicBezTo>
                <a:cubicBezTo>
                  <a:pt x="5117736" y="734252"/>
                  <a:pt x="5102697" y="741782"/>
                  <a:pt x="5095177" y="741782"/>
                </a:cubicBezTo>
                <a:cubicBezTo>
                  <a:pt x="5095177" y="741782"/>
                  <a:pt x="5095177" y="741782"/>
                  <a:pt x="5038781" y="749313"/>
                </a:cubicBezTo>
                <a:cubicBezTo>
                  <a:pt x="5061339" y="756844"/>
                  <a:pt x="5102697" y="753079"/>
                  <a:pt x="5117736" y="756844"/>
                </a:cubicBezTo>
                <a:cubicBezTo>
                  <a:pt x="5087658" y="771905"/>
                  <a:pt x="5046301" y="756844"/>
                  <a:pt x="5016223" y="775671"/>
                </a:cubicBezTo>
                <a:cubicBezTo>
                  <a:pt x="5008703" y="760609"/>
                  <a:pt x="4959827" y="771905"/>
                  <a:pt x="4933509" y="768140"/>
                </a:cubicBezTo>
                <a:cubicBezTo>
                  <a:pt x="4918469" y="775671"/>
                  <a:pt x="4910950" y="786967"/>
                  <a:pt x="4892151" y="790732"/>
                </a:cubicBezTo>
                <a:cubicBezTo>
                  <a:pt x="4892151" y="790732"/>
                  <a:pt x="4892151" y="790732"/>
                  <a:pt x="4888392" y="786967"/>
                </a:cubicBezTo>
                <a:cubicBezTo>
                  <a:pt x="4873353" y="790732"/>
                  <a:pt x="4862073" y="805794"/>
                  <a:pt x="4869593" y="809559"/>
                </a:cubicBezTo>
                <a:cubicBezTo>
                  <a:pt x="4869593" y="809559"/>
                  <a:pt x="4869593" y="809559"/>
                  <a:pt x="4873353" y="813325"/>
                </a:cubicBezTo>
                <a:cubicBezTo>
                  <a:pt x="4858314" y="813325"/>
                  <a:pt x="4839515" y="813325"/>
                  <a:pt x="4831995" y="805794"/>
                </a:cubicBezTo>
                <a:cubicBezTo>
                  <a:pt x="4809437" y="809559"/>
                  <a:pt x="4786879" y="813325"/>
                  <a:pt x="4771840" y="820856"/>
                </a:cubicBezTo>
                <a:lnTo>
                  <a:pt x="4764275" y="817267"/>
                </a:lnTo>
                <a:lnTo>
                  <a:pt x="4765000" y="823531"/>
                </a:lnTo>
                <a:cubicBezTo>
                  <a:pt x="4766410" y="834357"/>
                  <a:pt x="4771109" y="842828"/>
                  <a:pt x="4797427" y="839063"/>
                </a:cubicBezTo>
                <a:cubicBezTo>
                  <a:pt x="4797427" y="839063"/>
                  <a:pt x="4797427" y="839063"/>
                  <a:pt x="4801187" y="835298"/>
                </a:cubicBezTo>
                <a:cubicBezTo>
                  <a:pt x="4801187" y="835298"/>
                  <a:pt x="4804947" y="839063"/>
                  <a:pt x="4808706" y="839063"/>
                </a:cubicBezTo>
                <a:cubicBezTo>
                  <a:pt x="4816225" y="846594"/>
                  <a:pt x="4819985" y="857890"/>
                  <a:pt x="4808706" y="869186"/>
                </a:cubicBezTo>
                <a:cubicBezTo>
                  <a:pt x="4808706" y="869186"/>
                  <a:pt x="4808706" y="869186"/>
                  <a:pt x="4801187" y="857890"/>
                </a:cubicBezTo>
                <a:cubicBezTo>
                  <a:pt x="4793667" y="869186"/>
                  <a:pt x="4771109" y="884248"/>
                  <a:pt x="4782388" y="899309"/>
                </a:cubicBezTo>
                <a:cubicBezTo>
                  <a:pt x="4774869" y="895544"/>
                  <a:pt x="4759829" y="906840"/>
                  <a:pt x="4748551" y="914371"/>
                </a:cubicBezTo>
                <a:cubicBezTo>
                  <a:pt x="4752310" y="929432"/>
                  <a:pt x="4752310" y="944494"/>
                  <a:pt x="4767349" y="955790"/>
                </a:cubicBezTo>
                <a:cubicBezTo>
                  <a:pt x="4767349" y="955790"/>
                  <a:pt x="4767349" y="955790"/>
                  <a:pt x="4797427" y="940729"/>
                </a:cubicBezTo>
                <a:cubicBezTo>
                  <a:pt x="4812466" y="952025"/>
                  <a:pt x="4767349" y="955790"/>
                  <a:pt x="4767349" y="967086"/>
                </a:cubicBezTo>
                <a:cubicBezTo>
                  <a:pt x="4767349" y="989679"/>
                  <a:pt x="4786147" y="1012271"/>
                  <a:pt x="4774869" y="1031098"/>
                </a:cubicBezTo>
                <a:cubicBezTo>
                  <a:pt x="4789907" y="1034863"/>
                  <a:pt x="4786147" y="1038629"/>
                  <a:pt x="4797427" y="1042394"/>
                </a:cubicBezTo>
                <a:cubicBezTo>
                  <a:pt x="4797427" y="1042394"/>
                  <a:pt x="4797427" y="1042394"/>
                  <a:pt x="4846303" y="1019802"/>
                </a:cubicBezTo>
                <a:cubicBezTo>
                  <a:pt x="4846303" y="1019802"/>
                  <a:pt x="4846303" y="1019802"/>
                  <a:pt x="4853823" y="1023567"/>
                </a:cubicBezTo>
                <a:cubicBezTo>
                  <a:pt x="4853823" y="1023567"/>
                  <a:pt x="4853823" y="1023567"/>
                  <a:pt x="4861343" y="1019802"/>
                </a:cubicBezTo>
                <a:cubicBezTo>
                  <a:pt x="4861343" y="1031098"/>
                  <a:pt x="4868862" y="1042394"/>
                  <a:pt x="4865103" y="1053690"/>
                </a:cubicBezTo>
                <a:cubicBezTo>
                  <a:pt x="4838784" y="1072517"/>
                  <a:pt x="4801187" y="1080048"/>
                  <a:pt x="4767349" y="1095110"/>
                </a:cubicBezTo>
                <a:cubicBezTo>
                  <a:pt x="4767349" y="1095110"/>
                  <a:pt x="4767349" y="1095110"/>
                  <a:pt x="4752310" y="1095110"/>
                </a:cubicBezTo>
                <a:cubicBezTo>
                  <a:pt x="4752310" y="1095110"/>
                  <a:pt x="4752310" y="1095110"/>
                  <a:pt x="4756070" y="1091344"/>
                </a:cubicBezTo>
                <a:cubicBezTo>
                  <a:pt x="4756070" y="1083814"/>
                  <a:pt x="4741031" y="1091344"/>
                  <a:pt x="4733511" y="1091344"/>
                </a:cubicBezTo>
                <a:cubicBezTo>
                  <a:pt x="4733511" y="1091344"/>
                  <a:pt x="4733511" y="1091344"/>
                  <a:pt x="4677115" y="1098875"/>
                </a:cubicBezTo>
                <a:cubicBezTo>
                  <a:pt x="4699673" y="1106406"/>
                  <a:pt x="4741031" y="1102641"/>
                  <a:pt x="4756070" y="1106406"/>
                </a:cubicBezTo>
                <a:cubicBezTo>
                  <a:pt x="4725992" y="1121467"/>
                  <a:pt x="4684635" y="1106406"/>
                  <a:pt x="4654557" y="1125233"/>
                </a:cubicBezTo>
                <a:cubicBezTo>
                  <a:pt x="4647037" y="1110171"/>
                  <a:pt x="4598161" y="1121467"/>
                  <a:pt x="4571843" y="1117702"/>
                </a:cubicBezTo>
                <a:cubicBezTo>
                  <a:pt x="4556803" y="1125233"/>
                  <a:pt x="4549284" y="1136529"/>
                  <a:pt x="4530485" y="1140294"/>
                </a:cubicBezTo>
                <a:cubicBezTo>
                  <a:pt x="4530485" y="1140294"/>
                  <a:pt x="4530485" y="1140294"/>
                  <a:pt x="4526726" y="1136529"/>
                </a:cubicBezTo>
                <a:cubicBezTo>
                  <a:pt x="4511687" y="1140294"/>
                  <a:pt x="4500407" y="1155356"/>
                  <a:pt x="4507927" y="1159121"/>
                </a:cubicBezTo>
                <a:cubicBezTo>
                  <a:pt x="4507927" y="1159121"/>
                  <a:pt x="4507927" y="1159121"/>
                  <a:pt x="4511687" y="1162887"/>
                </a:cubicBezTo>
                <a:cubicBezTo>
                  <a:pt x="4496648" y="1162887"/>
                  <a:pt x="4477849" y="1162887"/>
                  <a:pt x="4470329" y="1155356"/>
                </a:cubicBezTo>
                <a:cubicBezTo>
                  <a:pt x="4447771" y="1159121"/>
                  <a:pt x="4425213" y="1162887"/>
                  <a:pt x="4410174" y="1170418"/>
                </a:cubicBezTo>
                <a:cubicBezTo>
                  <a:pt x="4413933" y="1166652"/>
                  <a:pt x="4383855" y="1166652"/>
                  <a:pt x="4406414" y="1159121"/>
                </a:cubicBezTo>
                <a:cubicBezTo>
                  <a:pt x="4383855" y="1162887"/>
                  <a:pt x="4365057" y="1136529"/>
                  <a:pt x="4342499" y="1159121"/>
                </a:cubicBezTo>
                <a:cubicBezTo>
                  <a:pt x="4342499" y="1159121"/>
                  <a:pt x="4342499" y="1159121"/>
                  <a:pt x="4350018" y="1166652"/>
                </a:cubicBezTo>
                <a:cubicBezTo>
                  <a:pt x="4319940" y="1170418"/>
                  <a:pt x="4289862" y="1140294"/>
                  <a:pt x="4282343" y="1170418"/>
                </a:cubicBezTo>
                <a:cubicBezTo>
                  <a:pt x="4286103" y="1174183"/>
                  <a:pt x="4293622" y="1174183"/>
                  <a:pt x="4297381" y="1177948"/>
                </a:cubicBezTo>
                <a:cubicBezTo>
                  <a:pt x="4271063" y="1193010"/>
                  <a:pt x="4263544" y="1166652"/>
                  <a:pt x="4229707" y="1177948"/>
                </a:cubicBezTo>
                <a:cubicBezTo>
                  <a:pt x="4203388" y="1185479"/>
                  <a:pt x="4177070" y="1200541"/>
                  <a:pt x="4146992" y="1200541"/>
                </a:cubicBezTo>
                <a:cubicBezTo>
                  <a:pt x="4109395" y="1208071"/>
                  <a:pt x="4079317" y="1208071"/>
                  <a:pt x="4041719" y="1215602"/>
                </a:cubicBezTo>
                <a:cubicBezTo>
                  <a:pt x="3913888" y="1238195"/>
                  <a:pt x="3782297" y="1245725"/>
                  <a:pt x="3665745" y="1249491"/>
                </a:cubicBezTo>
                <a:cubicBezTo>
                  <a:pt x="3669505" y="1249491"/>
                  <a:pt x="3669505" y="1249491"/>
                  <a:pt x="3673265" y="1245725"/>
                </a:cubicBezTo>
                <a:cubicBezTo>
                  <a:pt x="3583031" y="1219368"/>
                  <a:pt x="3447681" y="1260787"/>
                  <a:pt x="3349927" y="1257022"/>
                </a:cubicBezTo>
                <a:cubicBezTo>
                  <a:pt x="3402564" y="1253256"/>
                  <a:pt x="3447681" y="1245725"/>
                  <a:pt x="3500317" y="1234429"/>
                </a:cubicBezTo>
                <a:cubicBezTo>
                  <a:pt x="3417603" y="1226898"/>
                  <a:pt x="3327369" y="1238195"/>
                  <a:pt x="3244655" y="1241960"/>
                </a:cubicBezTo>
                <a:cubicBezTo>
                  <a:pt x="3267213" y="1230664"/>
                  <a:pt x="3297291" y="1234429"/>
                  <a:pt x="3316090" y="1226898"/>
                </a:cubicBezTo>
                <a:cubicBezTo>
                  <a:pt x="3316090" y="1226898"/>
                  <a:pt x="3316090" y="1226898"/>
                  <a:pt x="3327369" y="1234429"/>
                </a:cubicBezTo>
                <a:cubicBezTo>
                  <a:pt x="3353687" y="1230664"/>
                  <a:pt x="3380005" y="1211837"/>
                  <a:pt x="3410083" y="1215602"/>
                </a:cubicBezTo>
                <a:cubicBezTo>
                  <a:pt x="3410083" y="1215602"/>
                  <a:pt x="3410083" y="1215602"/>
                  <a:pt x="3410083" y="1208071"/>
                </a:cubicBezTo>
                <a:cubicBezTo>
                  <a:pt x="3598070" y="1193010"/>
                  <a:pt x="3804856" y="1185479"/>
                  <a:pt x="3996603" y="1147825"/>
                </a:cubicBezTo>
                <a:cubicBezTo>
                  <a:pt x="4015401" y="1144060"/>
                  <a:pt x="4045479" y="1151591"/>
                  <a:pt x="4056759" y="1136529"/>
                </a:cubicBezTo>
                <a:cubicBezTo>
                  <a:pt x="4056759" y="1136529"/>
                  <a:pt x="4056759" y="1136529"/>
                  <a:pt x="4037960" y="1132764"/>
                </a:cubicBezTo>
                <a:cubicBezTo>
                  <a:pt x="4045479" y="1125233"/>
                  <a:pt x="4060518" y="1128998"/>
                  <a:pt x="4064278" y="1132764"/>
                </a:cubicBezTo>
                <a:cubicBezTo>
                  <a:pt x="4064278" y="1132764"/>
                  <a:pt x="4064278" y="1132764"/>
                  <a:pt x="4068037" y="1132764"/>
                </a:cubicBezTo>
                <a:cubicBezTo>
                  <a:pt x="4075557" y="1121467"/>
                  <a:pt x="4094356" y="1136529"/>
                  <a:pt x="4105635" y="1121467"/>
                </a:cubicBezTo>
                <a:cubicBezTo>
                  <a:pt x="4101875" y="1110171"/>
                  <a:pt x="4079317" y="1121467"/>
                  <a:pt x="4064278" y="1121467"/>
                </a:cubicBezTo>
                <a:cubicBezTo>
                  <a:pt x="4049239" y="1117702"/>
                  <a:pt x="4022921" y="1106406"/>
                  <a:pt x="3985323" y="1121467"/>
                </a:cubicBezTo>
                <a:cubicBezTo>
                  <a:pt x="3868771" y="1106406"/>
                  <a:pt x="3748460" y="1147825"/>
                  <a:pt x="3631908" y="1132764"/>
                </a:cubicBezTo>
                <a:cubicBezTo>
                  <a:pt x="3594311" y="1117702"/>
                  <a:pt x="3526635" y="1140294"/>
                  <a:pt x="3470239" y="1140294"/>
                </a:cubicBezTo>
                <a:cubicBezTo>
                  <a:pt x="3308570" y="1159121"/>
                  <a:pt x="3146901" y="1147825"/>
                  <a:pt x="2981473" y="1170418"/>
                </a:cubicBezTo>
                <a:cubicBezTo>
                  <a:pt x="2913798" y="1159121"/>
                  <a:pt x="2846123" y="1181714"/>
                  <a:pt x="2789726" y="1166652"/>
                </a:cubicBezTo>
                <a:cubicBezTo>
                  <a:pt x="2691973" y="1159121"/>
                  <a:pt x="2601740" y="1174183"/>
                  <a:pt x="2519025" y="1159121"/>
                </a:cubicBezTo>
                <a:cubicBezTo>
                  <a:pt x="2519025" y="1159121"/>
                  <a:pt x="2519025" y="1159121"/>
                  <a:pt x="2511506" y="1162887"/>
                </a:cubicBezTo>
                <a:cubicBezTo>
                  <a:pt x="2503986" y="1155356"/>
                  <a:pt x="2492707" y="1166652"/>
                  <a:pt x="2488947" y="1166652"/>
                </a:cubicBezTo>
                <a:cubicBezTo>
                  <a:pt x="2451350" y="1177948"/>
                  <a:pt x="2406233" y="1177948"/>
                  <a:pt x="2368636" y="1177948"/>
                </a:cubicBezTo>
                <a:cubicBezTo>
                  <a:pt x="2323519" y="1196775"/>
                  <a:pt x="2274642" y="1193010"/>
                  <a:pt x="2225766" y="1196775"/>
                </a:cubicBezTo>
                <a:cubicBezTo>
                  <a:pt x="2000181" y="1196775"/>
                  <a:pt x="1706922" y="1193010"/>
                  <a:pt x="1466298" y="1189245"/>
                </a:cubicBezTo>
                <a:cubicBezTo>
                  <a:pt x="1402383" y="1174183"/>
                  <a:pt x="1327188" y="1189245"/>
                  <a:pt x="1259513" y="1177948"/>
                </a:cubicBezTo>
                <a:cubicBezTo>
                  <a:pt x="1165519" y="1174183"/>
                  <a:pt x="1086565" y="1162887"/>
                  <a:pt x="992571" y="1162887"/>
                </a:cubicBezTo>
                <a:cubicBezTo>
                  <a:pt x="966253" y="1162887"/>
                  <a:pt x="917377" y="1162887"/>
                  <a:pt x="891058" y="1155356"/>
                </a:cubicBezTo>
                <a:lnTo>
                  <a:pt x="883995" y="1158893"/>
                </a:lnTo>
                <a:lnTo>
                  <a:pt x="876489" y="1158650"/>
                </a:lnTo>
                <a:cubicBezTo>
                  <a:pt x="861920" y="1158180"/>
                  <a:pt x="832782" y="1157239"/>
                  <a:pt x="774506" y="1155356"/>
                </a:cubicBezTo>
                <a:cubicBezTo>
                  <a:pt x="755708" y="1166652"/>
                  <a:pt x="733149" y="1155356"/>
                  <a:pt x="710591" y="1166652"/>
                </a:cubicBezTo>
                <a:cubicBezTo>
                  <a:pt x="661714" y="1162887"/>
                  <a:pt x="590279" y="1166652"/>
                  <a:pt x="530123" y="1166652"/>
                </a:cubicBezTo>
                <a:cubicBezTo>
                  <a:pt x="522604" y="1166652"/>
                  <a:pt x="522604" y="1174183"/>
                  <a:pt x="511325" y="1170418"/>
                </a:cubicBezTo>
                <a:cubicBezTo>
                  <a:pt x="511325" y="1170418"/>
                  <a:pt x="511325" y="1170418"/>
                  <a:pt x="507565" y="1170418"/>
                </a:cubicBezTo>
                <a:cubicBezTo>
                  <a:pt x="500046" y="1174183"/>
                  <a:pt x="496286" y="1177948"/>
                  <a:pt x="488766" y="1174183"/>
                </a:cubicBezTo>
                <a:cubicBezTo>
                  <a:pt x="469968" y="1170418"/>
                  <a:pt x="443649" y="1166652"/>
                  <a:pt x="424851" y="1170418"/>
                </a:cubicBezTo>
                <a:cubicBezTo>
                  <a:pt x="424851" y="1170418"/>
                  <a:pt x="424851" y="1170418"/>
                  <a:pt x="421091" y="1162887"/>
                </a:cubicBezTo>
                <a:cubicBezTo>
                  <a:pt x="413572" y="1166652"/>
                  <a:pt x="409812" y="1170418"/>
                  <a:pt x="398533" y="1170418"/>
                </a:cubicBezTo>
                <a:cubicBezTo>
                  <a:pt x="406052" y="1151591"/>
                  <a:pt x="368455" y="1166652"/>
                  <a:pt x="357175" y="1159121"/>
                </a:cubicBezTo>
                <a:cubicBezTo>
                  <a:pt x="349655" y="1162887"/>
                  <a:pt x="342136" y="1159121"/>
                  <a:pt x="334617" y="1162887"/>
                </a:cubicBezTo>
                <a:cubicBezTo>
                  <a:pt x="338376" y="1159121"/>
                  <a:pt x="334617" y="1159121"/>
                  <a:pt x="338376" y="1155356"/>
                </a:cubicBezTo>
                <a:cubicBezTo>
                  <a:pt x="323337" y="1155356"/>
                  <a:pt x="315818" y="1151591"/>
                  <a:pt x="300779" y="1155356"/>
                </a:cubicBezTo>
                <a:cubicBezTo>
                  <a:pt x="289500" y="1140294"/>
                  <a:pt x="263181" y="1140294"/>
                  <a:pt x="233104" y="1140294"/>
                </a:cubicBezTo>
                <a:cubicBezTo>
                  <a:pt x="266941" y="1136529"/>
                  <a:pt x="323337" y="1136529"/>
                  <a:pt x="353415" y="1125233"/>
                </a:cubicBezTo>
                <a:cubicBezTo>
                  <a:pt x="345896" y="1121467"/>
                  <a:pt x="330857" y="1125233"/>
                  <a:pt x="315818" y="1125233"/>
                </a:cubicBezTo>
                <a:cubicBezTo>
                  <a:pt x="312058" y="1117702"/>
                  <a:pt x="323337" y="1113937"/>
                  <a:pt x="327097" y="1110171"/>
                </a:cubicBezTo>
                <a:cubicBezTo>
                  <a:pt x="327097" y="1110171"/>
                  <a:pt x="327097" y="1110171"/>
                  <a:pt x="274461" y="1102641"/>
                </a:cubicBezTo>
                <a:cubicBezTo>
                  <a:pt x="297019" y="1102641"/>
                  <a:pt x="360935" y="1106406"/>
                  <a:pt x="387253" y="1095110"/>
                </a:cubicBezTo>
                <a:cubicBezTo>
                  <a:pt x="364695" y="1091344"/>
                  <a:pt x="349655" y="1095110"/>
                  <a:pt x="334617" y="1095110"/>
                </a:cubicBezTo>
                <a:cubicBezTo>
                  <a:pt x="338376" y="1087579"/>
                  <a:pt x="319578" y="1083814"/>
                  <a:pt x="312058" y="1083814"/>
                </a:cubicBezTo>
                <a:cubicBezTo>
                  <a:pt x="308298" y="1080048"/>
                  <a:pt x="353415" y="1083814"/>
                  <a:pt x="338376" y="1072517"/>
                </a:cubicBezTo>
                <a:cubicBezTo>
                  <a:pt x="360935" y="1068752"/>
                  <a:pt x="342136" y="1049925"/>
                  <a:pt x="372214" y="1046160"/>
                </a:cubicBezTo>
                <a:cubicBezTo>
                  <a:pt x="338376" y="1042394"/>
                  <a:pt x="323337" y="1080048"/>
                  <a:pt x="293259" y="1064987"/>
                </a:cubicBezTo>
                <a:cubicBezTo>
                  <a:pt x="281980" y="1057456"/>
                  <a:pt x="315818" y="1031098"/>
                  <a:pt x="281980" y="1034863"/>
                </a:cubicBezTo>
                <a:cubicBezTo>
                  <a:pt x="236863" y="1016037"/>
                  <a:pt x="334617" y="1012271"/>
                  <a:pt x="308298" y="985913"/>
                </a:cubicBezTo>
                <a:cubicBezTo>
                  <a:pt x="315818" y="982148"/>
                  <a:pt x="315818" y="978383"/>
                  <a:pt x="323337" y="978383"/>
                </a:cubicBezTo>
                <a:cubicBezTo>
                  <a:pt x="300779" y="978383"/>
                  <a:pt x="289500" y="963321"/>
                  <a:pt x="263181" y="970852"/>
                </a:cubicBezTo>
                <a:cubicBezTo>
                  <a:pt x="206785" y="948259"/>
                  <a:pt x="289500" y="940729"/>
                  <a:pt x="300779" y="918136"/>
                </a:cubicBezTo>
                <a:cubicBezTo>
                  <a:pt x="312058" y="918136"/>
                  <a:pt x="327097" y="918136"/>
                  <a:pt x="330857" y="914371"/>
                </a:cubicBezTo>
                <a:cubicBezTo>
                  <a:pt x="251902" y="880482"/>
                  <a:pt x="139110" y="872952"/>
                  <a:pt x="67675" y="831532"/>
                </a:cubicBezTo>
                <a:cubicBezTo>
                  <a:pt x="52636" y="827767"/>
                  <a:pt x="33837" y="824001"/>
                  <a:pt x="11279" y="824001"/>
                </a:cubicBezTo>
                <a:cubicBezTo>
                  <a:pt x="11279" y="824001"/>
                  <a:pt x="11279" y="824001"/>
                  <a:pt x="0" y="820236"/>
                </a:cubicBezTo>
                <a:cubicBezTo>
                  <a:pt x="0" y="820236"/>
                  <a:pt x="0" y="820236"/>
                  <a:pt x="30078" y="820236"/>
                </a:cubicBezTo>
                <a:cubicBezTo>
                  <a:pt x="26318" y="820236"/>
                  <a:pt x="33837" y="824001"/>
                  <a:pt x="33837" y="824001"/>
                </a:cubicBezTo>
                <a:cubicBezTo>
                  <a:pt x="41357" y="824001"/>
                  <a:pt x="41357" y="820236"/>
                  <a:pt x="45117" y="820236"/>
                </a:cubicBezTo>
                <a:cubicBezTo>
                  <a:pt x="45117" y="820236"/>
                  <a:pt x="45117" y="820236"/>
                  <a:pt x="45117" y="812705"/>
                </a:cubicBezTo>
                <a:cubicBezTo>
                  <a:pt x="101513" y="831532"/>
                  <a:pt x="161669" y="857890"/>
                  <a:pt x="236863" y="865421"/>
                </a:cubicBezTo>
                <a:cubicBezTo>
                  <a:pt x="236863" y="865421"/>
                  <a:pt x="236863" y="865421"/>
                  <a:pt x="240623" y="861655"/>
                </a:cubicBezTo>
                <a:cubicBezTo>
                  <a:pt x="236863" y="872952"/>
                  <a:pt x="251902" y="869186"/>
                  <a:pt x="259422" y="869186"/>
                </a:cubicBezTo>
                <a:cubicBezTo>
                  <a:pt x="259422" y="869186"/>
                  <a:pt x="259422" y="869186"/>
                  <a:pt x="270701" y="861655"/>
                </a:cubicBezTo>
                <a:cubicBezTo>
                  <a:pt x="270701" y="861655"/>
                  <a:pt x="270701" y="861655"/>
                  <a:pt x="274461" y="865421"/>
                </a:cubicBezTo>
                <a:cubicBezTo>
                  <a:pt x="274461" y="865421"/>
                  <a:pt x="274461" y="865421"/>
                  <a:pt x="278220" y="861655"/>
                </a:cubicBezTo>
                <a:cubicBezTo>
                  <a:pt x="274461" y="854125"/>
                  <a:pt x="251902" y="854125"/>
                  <a:pt x="233104" y="857890"/>
                </a:cubicBezTo>
                <a:cubicBezTo>
                  <a:pt x="233104" y="839063"/>
                  <a:pt x="270701" y="850359"/>
                  <a:pt x="278220" y="842828"/>
                </a:cubicBezTo>
                <a:cubicBezTo>
                  <a:pt x="278220" y="842828"/>
                  <a:pt x="278220" y="842828"/>
                  <a:pt x="293259" y="842828"/>
                </a:cubicBezTo>
                <a:cubicBezTo>
                  <a:pt x="297019" y="846594"/>
                  <a:pt x="281980" y="850359"/>
                  <a:pt x="278220" y="854125"/>
                </a:cubicBezTo>
                <a:cubicBezTo>
                  <a:pt x="289500" y="854125"/>
                  <a:pt x="300779" y="865421"/>
                  <a:pt x="312058" y="857890"/>
                </a:cubicBezTo>
                <a:cubicBezTo>
                  <a:pt x="297019" y="850359"/>
                  <a:pt x="315818" y="850359"/>
                  <a:pt x="312058" y="842828"/>
                </a:cubicBezTo>
                <a:cubicBezTo>
                  <a:pt x="312058" y="842828"/>
                  <a:pt x="312058" y="842828"/>
                  <a:pt x="308298" y="839063"/>
                </a:cubicBezTo>
                <a:cubicBezTo>
                  <a:pt x="308298" y="839063"/>
                  <a:pt x="308298" y="839063"/>
                  <a:pt x="304539" y="839063"/>
                </a:cubicBezTo>
                <a:cubicBezTo>
                  <a:pt x="308298" y="839063"/>
                  <a:pt x="308298" y="839063"/>
                  <a:pt x="308298" y="835298"/>
                </a:cubicBezTo>
                <a:cubicBezTo>
                  <a:pt x="308298" y="835298"/>
                  <a:pt x="308298" y="835298"/>
                  <a:pt x="297019" y="831532"/>
                </a:cubicBezTo>
                <a:cubicBezTo>
                  <a:pt x="289500" y="835298"/>
                  <a:pt x="278220" y="839063"/>
                  <a:pt x="270701" y="835298"/>
                </a:cubicBezTo>
                <a:cubicBezTo>
                  <a:pt x="274461" y="827767"/>
                  <a:pt x="300779" y="827767"/>
                  <a:pt x="312058" y="820236"/>
                </a:cubicBezTo>
                <a:cubicBezTo>
                  <a:pt x="312058" y="820236"/>
                  <a:pt x="312058" y="820236"/>
                  <a:pt x="308298" y="816471"/>
                </a:cubicBezTo>
                <a:cubicBezTo>
                  <a:pt x="319578" y="808940"/>
                  <a:pt x="383494" y="812705"/>
                  <a:pt x="353415" y="793878"/>
                </a:cubicBezTo>
                <a:cubicBezTo>
                  <a:pt x="349655" y="790113"/>
                  <a:pt x="342136" y="790113"/>
                  <a:pt x="334617" y="790113"/>
                </a:cubicBezTo>
                <a:cubicBezTo>
                  <a:pt x="304539" y="801409"/>
                  <a:pt x="270701" y="835298"/>
                  <a:pt x="233104" y="824001"/>
                </a:cubicBezTo>
                <a:cubicBezTo>
                  <a:pt x="210545" y="839063"/>
                  <a:pt x="191746" y="835298"/>
                  <a:pt x="161669" y="839063"/>
                </a:cubicBezTo>
                <a:cubicBezTo>
                  <a:pt x="161669" y="839063"/>
                  <a:pt x="161669" y="839063"/>
                  <a:pt x="184227" y="827767"/>
                </a:cubicBezTo>
                <a:cubicBezTo>
                  <a:pt x="184227" y="827767"/>
                  <a:pt x="184227" y="827767"/>
                  <a:pt x="176707" y="827767"/>
                </a:cubicBezTo>
                <a:cubicBezTo>
                  <a:pt x="199266" y="827767"/>
                  <a:pt x="214305" y="805175"/>
                  <a:pt x="251902" y="805175"/>
                </a:cubicBezTo>
                <a:cubicBezTo>
                  <a:pt x="259422" y="801409"/>
                  <a:pt x="259422" y="793878"/>
                  <a:pt x="274461" y="797644"/>
                </a:cubicBezTo>
                <a:cubicBezTo>
                  <a:pt x="274461" y="797644"/>
                  <a:pt x="274461" y="797644"/>
                  <a:pt x="281980" y="797644"/>
                </a:cubicBezTo>
                <a:cubicBezTo>
                  <a:pt x="281980" y="797644"/>
                  <a:pt x="281980" y="797644"/>
                  <a:pt x="297019" y="790113"/>
                </a:cubicBezTo>
                <a:cubicBezTo>
                  <a:pt x="297019" y="790113"/>
                  <a:pt x="297019" y="790113"/>
                  <a:pt x="293259" y="786348"/>
                </a:cubicBezTo>
                <a:cubicBezTo>
                  <a:pt x="281980" y="778817"/>
                  <a:pt x="372214" y="782582"/>
                  <a:pt x="327097" y="763755"/>
                </a:cubicBezTo>
                <a:cubicBezTo>
                  <a:pt x="300779" y="778817"/>
                  <a:pt x="255662" y="771286"/>
                  <a:pt x="236863" y="786348"/>
                </a:cubicBezTo>
                <a:cubicBezTo>
                  <a:pt x="236863" y="786348"/>
                  <a:pt x="236863" y="786348"/>
                  <a:pt x="199266" y="790113"/>
                </a:cubicBezTo>
                <a:cubicBezTo>
                  <a:pt x="244383" y="771286"/>
                  <a:pt x="330857" y="763755"/>
                  <a:pt x="330857" y="726101"/>
                </a:cubicBezTo>
                <a:cubicBezTo>
                  <a:pt x="345896" y="718570"/>
                  <a:pt x="353415" y="711040"/>
                  <a:pt x="357175" y="699743"/>
                </a:cubicBezTo>
                <a:cubicBezTo>
                  <a:pt x="360935" y="703509"/>
                  <a:pt x="360935" y="699743"/>
                  <a:pt x="364695" y="699743"/>
                </a:cubicBezTo>
                <a:cubicBezTo>
                  <a:pt x="364695" y="699743"/>
                  <a:pt x="364695" y="699743"/>
                  <a:pt x="364695" y="688447"/>
                </a:cubicBezTo>
                <a:cubicBezTo>
                  <a:pt x="387253" y="680917"/>
                  <a:pt x="398533" y="665855"/>
                  <a:pt x="402292" y="650793"/>
                </a:cubicBezTo>
                <a:cubicBezTo>
                  <a:pt x="439890" y="628201"/>
                  <a:pt x="417331" y="575486"/>
                  <a:pt x="511325" y="579251"/>
                </a:cubicBezTo>
                <a:cubicBezTo>
                  <a:pt x="526364" y="564190"/>
                  <a:pt x="537643" y="549128"/>
                  <a:pt x="551742" y="534537"/>
                </a:cubicBezTo>
                <a:lnTo>
                  <a:pt x="561872" y="527136"/>
                </a:lnTo>
                <a:lnTo>
                  <a:pt x="558113" y="526214"/>
                </a:lnTo>
                <a:cubicBezTo>
                  <a:pt x="511116" y="514918"/>
                  <a:pt x="465059" y="502680"/>
                  <a:pt x="429342" y="481970"/>
                </a:cubicBezTo>
                <a:cubicBezTo>
                  <a:pt x="414303" y="478205"/>
                  <a:pt x="395504" y="474440"/>
                  <a:pt x="372945" y="474440"/>
                </a:cubicBezTo>
                <a:cubicBezTo>
                  <a:pt x="372945" y="474440"/>
                  <a:pt x="372945" y="474440"/>
                  <a:pt x="361666" y="470674"/>
                </a:cubicBezTo>
                <a:cubicBezTo>
                  <a:pt x="361666" y="470674"/>
                  <a:pt x="361666" y="470674"/>
                  <a:pt x="391744" y="470674"/>
                </a:cubicBezTo>
                <a:cubicBezTo>
                  <a:pt x="387984" y="470674"/>
                  <a:pt x="395504" y="474440"/>
                  <a:pt x="395504" y="474440"/>
                </a:cubicBezTo>
                <a:cubicBezTo>
                  <a:pt x="403023" y="474440"/>
                  <a:pt x="403023" y="470674"/>
                  <a:pt x="406783" y="470674"/>
                </a:cubicBezTo>
                <a:cubicBezTo>
                  <a:pt x="406783" y="470674"/>
                  <a:pt x="406783" y="470674"/>
                  <a:pt x="406783" y="463144"/>
                </a:cubicBezTo>
                <a:cubicBezTo>
                  <a:pt x="434981" y="472557"/>
                  <a:pt x="464119" y="483853"/>
                  <a:pt x="495607" y="493737"/>
                </a:cubicBezTo>
                <a:lnTo>
                  <a:pt x="582131" y="512335"/>
                </a:lnTo>
                <a:lnTo>
                  <a:pt x="609078" y="492647"/>
                </a:lnTo>
                <a:cubicBezTo>
                  <a:pt x="610958" y="494530"/>
                  <a:pt x="614718" y="494530"/>
                  <a:pt x="618947" y="494530"/>
                </a:cubicBezTo>
                <a:lnTo>
                  <a:pt x="624178" y="495306"/>
                </a:lnTo>
                <a:lnTo>
                  <a:pt x="639060" y="493374"/>
                </a:lnTo>
                <a:lnTo>
                  <a:pt x="653196" y="487588"/>
                </a:lnTo>
                <a:lnTo>
                  <a:pt x="661962" y="483064"/>
                </a:lnTo>
                <a:lnTo>
                  <a:pt x="658686" y="481970"/>
                </a:lnTo>
                <a:cubicBezTo>
                  <a:pt x="651166" y="485736"/>
                  <a:pt x="639887" y="489501"/>
                  <a:pt x="632367" y="485736"/>
                </a:cubicBezTo>
                <a:cubicBezTo>
                  <a:pt x="636127" y="478205"/>
                  <a:pt x="662445" y="478205"/>
                  <a:pt x="673725" y="470674"/>
                </a:cubicBezTo>
                <a:cubicBezTo>
                  <a:pt x="673725" y="470674"/>
                  <a:pt x="673725" y="470674"/>
                  <a:pt x="669965" y="466909"/>
                </a:cubicBezTo>
                <a:cubicBezTo>
                  <a:pt x="681244" y="459378"/>
                  <a:pt x="745160" y="463144"/>
                  <a:pt x="715082" y="444317"/>
                </a:cubicBezTo>
                <a:cubicBezTo>
                  <a:pt x="711322" y="440551"/>
                  <a:pt x="703802" y="440551"/>
                  <a:pt x="696283" y="440551"/>
                </a:cubicBezTo>
                <a:cubicBezTo>
                  <a:pt x="666205" y="451847"/>
                  <a:pt x="632367" y="485736"/>
                  <a:pt x="594770" y="474440"/>
                </a:cubicBezTo>
                <a:cubicBezTo>
                  <a:pt x="572212" y="489501"/>
                  <a:pt x="553413" y="485736"/>
                  <a:pt x="523335" y="489501"/>
                </a:cubicBezTo>
                <a:cubicBezTo>
                  <a:pt x="523335" y="489501"/>
                  <a:pt x="523335" y="489501"/>
                  <a:pt x="545893" y="478205"/>
                </a:cubicBezTo>
                <a:cubicBezTo>
                  <a:pt x="545893" y="478205"/>
                  <a:pt x="545893" y="478205"/>
                  <a:pt x="538374" y="478205"/>
                </a:cubicBezTo>
                <a:cubicBezTo>
                  <a:pt x="560932" y="478205"/>
                  <a:pt x="575971" y="455613"/>
                  <a:pt x="613569" y="455613"/>
                </a:cubicBezTo>
                <a:cubicBezTo>
                  <a:pt x="621088" y="451847"/>
                  <a:pt x="621088" y="444317"/>
                  <a:pt x="636127" y="448082"/>
                </a:cubicBezTo>
                <a:cubicBezTo>
                  <a:pt x="636127" y="448082"/>
                  <a:pt x="636127" y="448082"/>
                  <a:pt x="643647" y="448082"/>
                </a:cubicBezTo>
                <a:cubicBezTo>
                  <a:pt x="643647" y="448082"/>
                  <a:pt x="643647" y="448082"/>
                  <a:pt x="658686" y="440551"/>
                </a:cubicBezTo>
                <a:cubicBezTo>
                  <a:pt x="658686" y="440551"/>
                  <a:pt x="658686" y="440551"/>
                  <a:pt x="654926" y="436786"/>
                </a:cubicBezTo>
                <a:cubicBezTo>
                  <a:pt x="643647" y="429255"/>
                  <a:pt x="733880" y="433020"/>
                  <a:pt x="688764" y="414193"/>
                </a:cubicBezTo>
                <a:cubicBezTo>
                  <a:pt x="662445" y="429255"/>
                  <a:pt x="617328" y="421724"/>
                  <a:pt x="598530" y="436786"/>
                </a:cubicBezTo>
                <a:cubicBezTo>
                  <a:pt x="598530" y="436786"/>
                  <a:pt x="598530" y="436786"/>
                  <a:pt x="560932" y="440551"/>
                </a:cubicBezTo>
                <a:cubicBezTo>
                  <a:pt x="606049" y="421724"/>
                  <a:pt x="692523" y="414193"/>
                  <a:pt x="692523" y="376539"/>
                </a:cubicBezTo>
                <a:cubicBezTo>
                  <a:pt x="707562" y="369009"/>
                  <a:pt x="715082" y="361478"/>
                  <a:pt x="718841" y="350182"/>
                </a:cubicBezTo>
                <a:cubicBezTo>
                  <a:pt x="722601" y="353947"/>
                  <a:pt x="722601" y="350182"/>
                  <a:pt x="726361" y="350182"/>
                </a:cubicBezTo>
                <a:cubicBezTo>
                  <a:pt x="726361" y="350182"/>
                  <a:pt x="726361" y="350182"/>
                  <a:pt x="726361" y="338886"/>
                </a:cubicBezTo>
                <a:cubicBezTo>
                  <a:pt x="748919" y="331355"/>
                  <a:pt x="760199" y="316293"/>
                  <a:pt x="763958" y="301232"/>
                </a:cubicBezTo>
                <a:cubicBezTo>
                  <a:pt x="801556" y="278639"/>
                  <a:pt x="778997" y="225924"/>
                  <a:pt x="872991" y="229689"/>
                </a:cubicBezTo>
                <a:cubicBezTo>
                  <a:pt x="903069" y="199566"/>
                  <a:pt x="918108" y="169443"/>
                  <a:pt x="970744" y="143085"/>
                </a:cubicBezTo>
                <a:cubicBezTo>
                  <a:pt x="974504" y="146851"/>
                  <a:pt x="985783" y="143085"/>
                  <a:pt x="993302" y="146851"/>
                </a:cubicBezTo>
                <a:cubicBezTo>
                  <a:pt x="1023380" y="139320"/>
                  <a:pt x="1045939" y="109197"/>
                  <a:pt x="1087296" y="124258"/>
                </a:cubicBezTo>
                <a:cubicBezTo>
                  <a:pt x="1098575" y="128024"/>
                  <a:pt x="1102335" y="124258"/>
                  <a:pt x="1109854" y="120493"/>
                </a:cubicBezTo>
                <a:cubicBezTo>
                  <a:pt x="1109854" y="120493"/>
                  <a:pt x="1109854" y="120493"/>
                  <a:pt x="1109854" y="112962"/>
                </a:cubicBezTo>
                <a:cubicBezTo>
                  <a:pt x="1113614" y="128024"/>
                  <a:pt x="1154971" y="124258"/>
                  <a:pt x="1173770" y="120493"/>
                </a:cubicBezTo>
                <a:cubicBezTo>
                  <a:pt x="1170010" y="124258"/>
                  <a:pt x="1177530" y="128024"/>
                  <a:pt x="1166250" y="131789"/>
                </a:cubicBezTo>
                <a:cubicBezTo>
                  <a:pt x="1211367" y="139320"/>
                  <a:pt x="1233926" y="161912"/>
                  <a:pt x="1290322" y="154381"/>
                </a:cubicBezTo>
                <a:cubicBezTo>
                  <a:pt x="1290322" y="154381"/>
                  <a:pt x="1290322" y="154381"/>
                  <a:pt x="1286562" y="158147"/>
                </a:cubicBezTo>
                <a:cubicBezTo>
                  <a:pt x="1297841" y="158147"/>
                  <a:pt x="1301601" y="165678"/>
                  <a:pt x="1316640" y="161912"/>
                </a:cubicBezTo>
                <a:cubicBezTo>
                  <a:pt x="1350478" y="143085"/>
                  <a:pt x="1339198" y="109197"/>
                  <a:pt x="1399354" y="101666"/>
                </a:cubicBezTo>
                <a:cubicBezTo>
                  <a:pt x="1399354" y="94135"/>
                  <a:pt x="1406874" y="79073"/>
                  <a:pt x="1380555" y="82839"/>
                </a:cubicBezTo>
                <a:cubicBezTo>
                  <a:pt x="1376796" y="82839"/>
                  <a:pt x="1369276" y="86604"/>
                  <a:pt x="1369276" y="90370"/>
                </a:cubicBezTo>
                <a:cubicBezTo>
                  <a:pt x="1369276" y="86604"/>
                  <a:pt x="1369276" y="86604"/>
                  <a:pt x="1369276" y="86604"/>
                </a:cubicBezTo>
                <a:cubicBezTo>
                  <a:pt x="1339198" y="79073"/>
                  <a:pt x="1309120" y="79073"/>
                  <a:pt x="1275283" y="86604"/>
                </a:cubicBezTo>
                <a:cubicBezTo>
                  <a:pt x="1275283" y="86604"/>
                  <a:pt x="1275283" y="86604"/>
                  <a:pt x="1252724" y="97900"/>
                </a:cubicBezTo>
                <a:cubicBezTo>
                  <a:pt x="1248965" y="86604"/>
                  <a:pt x="1301601" y="86604"/>
                  <a:pt x="1282802" y="71543"/>
                </a:cubicBezTo>
                <a:cubicBezTo>
                  <a:pt x="1282802" y="71543"/>
                  <a:pt x="1282802" y="71543"/>
                  <a:pt x="1309120" y="67777"/>
                </a:cubicBezTo>
                <a:cubicBezTo>
                  <a:pt x="1327919" y="79073"/>
                  <a:pt x="1373036" y="79073"/>
                  <a:pt x="1399354" y="82839"/>
                </a:cubicBezTo>
                <a:cubicBezTo>
                  <a:pt x="1425672" y="82839"/>
                  <a:pt x="1433192" y="60247"/>
                  <a:pt x="1455750" y="56481"/>
                </a:cubicBezTo>
                <a:cubicBezTo>
                  <a:pt x="1455750" y="52716"/>
                  <a:pt x="1448231" y="52716"/>
                  <a:pt x="1440711" y="52716"/>
                </a:cubicBezTo>
                <a:cubicBezTo>
                  <a:pt x="1444471" y="33889"/>
                  <a:pt x="1485828" y="33889"/>
                  <a:pt x="1508387" y="22593"/>
                </a:cubicBezTo>
                <a:cubicBezTo>
                  <a:pt x="1497107" y="18827"/>
                  <a:pt x="1485828" y="15062"/>
                  <a:pt x="1474549" y="18827"/>
                </a:cubicBezTo>
                <a:cubicBezTo>
                  <a:pt x="1512146" y="7531"/>
                  <a:pt x="1557263" y="18827"/>
                  <a:pt x="1594861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800" b="1" dirty="0">
                <a:solidFill>
                  <a:srgbClr val="C00000"/>
                </a:solidFill>
                <a:latin typeface="汉仪雁翎体简" panose="02010609000101010101" pitchFamily="49" charset="-122"/>
                <a:ea typeface="汉仪雁翎体简" panose="02010609000101010101" pitchFamily="49" charset="-122"/>
              </a:rPr>
              <a:t>   </a:t>
            </a:r>
            <a:endParaRPr lang="en-US" altLang="zh-CN" sz="1800" b="1" dirty="0">
              <a:solidFill>
                <a:srgbClr val="C00000"/>
              </a:solidFill>
              <a:latin typeface="汉仪雁翎体简" panose="02010609000101010101" pitchFamily="49" charset="-122"/>
              <a:ea typeface="汉仪雁翎体简" panose="02010609000101010101" pitchFamily="49" charset="-122"/>
            </a:endParaRPr>
          </a:p>
          <a:p>
            <a:r>
              <a:rPr lang="en-US" altLang="zh-CN" b="1" dirty="0">
                <a:solidFill>
                  <a:srgbClr val="C00000"/>
                </a:solidFill>
                <a:latin typeface="汉仪雁翎体简" panose="02010609000101010101" pitchFamily="49" charset="-122"/>
                <a:ea typeface="汉仪雁翎体简" panose="02010609000101010101" pitchFamily="49" charset="-122"/>
              </a:rPr>
              <a:t>       </a:t>
            </a:r>
            <a:r>
              <a:rPr lang="zh-CN" altLang="en-US" sz="2800" b="1" dirty="0">
                <a:solidFill>
                  <a:srgbClr val="C00000"/>
                </a:solidFill>
                <a:latin typeface="汉仪雁翎体简" panose="02010609000101010101" pitchFamily="49" charset="-122"/>
                <a:ea typeface="汉仪雁翎体简" panose="02010609000101010101" pitchFamily="49" charset="-122"/>
              </a:rPr>
              <a:t>抗日硬刚王</a:t>
            </a:r>
            <a:endParaRPr lang="zh-CN" altLang="en-US" sz="2800" dirty="0">
              <a:solidFill>
                <a:prstClr val="black"/>
              </a:solidFill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C1DEB90D-6823-E9FE-4D6C-087D388ABC14}"/>
              </a:ext>
            </a:extLst>
          </p:cNvPr>
          <p:cNvSpPr>
            <a:spLocks/>
          </p:cNvSpPr>
          <p:nvPr/>
        </p:nvSpPr>
        <p:spPr bwMode="auto">
          <a:xfrm rot="21105539">
            <a:off x="856377" y="1345388"/>
            <a:ext cx="3387829" cy="919352"/>
          </a:xfrm>
          <a:custGeom>
            <a:avLst/>
            <a:gdLst>
              <a:gd name="connsiteX0" fmla="*/ 883995 w 5227821"/>
              <a:gd name="connsiteY0" fmla="*/ 1158893 h 1257266"/>
              <a:gd name="connsiteX1" fmla="*/ 891058 w 5227821"/>
              <a:gd name="connsiteY1" fmla="*/ 1159121 h 1257266"/>
              <a:gd name="connsiteX2" fmla="*/ 883539 w 5227821"/>
              <a:gd name="connsiteY2" fmla="*/ 1159121 h 1257266"/>
              <a:gd name="connsiteX3" fmla="*/ 4615788 w 5227821"/>
              <a:gd name="connsiteY3" fmla="*/ 826594 h 1257266"/>
              <a:gd name="connsiteX4" fmla="*/ 4616959 w 5227821"/>
              <a:gd name="connsiteY4" fmla="*/ 827767 h 1257266"/>
              <a:gd name="connsiteX5" fmla="*/ 4617450 w 5227821"/>
              <a:gd name="connsiteY5" fmla="*/ 827029 h 1257266"/>
              <a:gd name="connsiteX6" fmla="*/ 4610559 w 5227821"/>
              <a:gd name="connsiteY6" fmla="*/ 825984 h 1257266"/>
              <a:gd name="connsiteX7" fmla="*/ 4591373 w 5227821"/>
              <a:gd name="connsiteY7" fmla="*/ 828386 h 1257266"/>
              <a:gd name="connsiteX8" fmla="*/ 4584680 w 5227821"/>
              <a:gd name="connsiteY8" fmla="*/ 830752 h 1257266"/>
              <a:gd name="connsiteX9" fmla="*/ 4583122 w 5227821"/>
              <a:gd name="connsiteY9" fmla="*/ 831532 h 1257266"/>
              <a:gd name="connsiteX10" fmla="*/ 4598161 w 5227821"/>
              <a:gd name="connsiteY10" fmla="*/ 835298 h 1257266"/>
              <a:gd name="connsiteX11" fmla="*/ 4600041 w 5227821"/>
              <a:gd name="connsiteY11" fmla="*/ 833886 h 1257266"/>
              <a:gd name="connsiteX12" fmla="*/ 4763331 w 5227821"/>
              <a:gd name="connsiteY12" fmla="*/ 809097 h 1257266"/>
              <a:gd name="connsiteX13" fmla="*/ 4764025 w 5227821"/>
              <a:gd name="connsiteY13" fmla="*/ 815097 h 1257266"/>
              <a:gd name="connsiteX14" fmla="*/ 4768080 w 5227821"/>
              <a:gd name="connsiteY14" fmla="*/ 809559 h 1257266"/>
              <a:gd name="connsiteX15" fmla="*/ 4653526 w 5227821"/>
              <a:gd name="connsiteY15" fmla="*/ 808089 h 1257266"/>
              <a:gd name="connsiteX16" fmla="*/ 4644009 w 5227821"/>
              <a:gd name="connsiteY16" fmla="*/ 820856 h 1257266"/>
              <a:gd name="connsiteX17" fmla="*/ 4659047 w 5227821"/>
              <a:gd name="connsiteY17" fmla="*/ 828386 h 1257266"/>
              <a:gd name="connsiteX18" fmla="*/ 4642634 w 5227821"/>
              <a:gd name="connsiteY18" fmla="*/ 833009 h 1257266"/>
              <a:gd name="connsiteX19" fmla="*/ 4658317 w 5227821"/>
              <a:gd name="connsiteY19" fmla="*/ 846594 h 1257266"/>
              <a:gd name="connsiteX20" fmla="*/ 4684635 w 5227821"/>
              <a:gd name="connsiteY20" fmla="*/ 816471 h 1257266"/>
              <a:gd name="connsiteX21" fmla="*/ 4683861 w 5227821"/>
              <a:gd name="connsiteY21" fmla="*/ 813370 h 1257266"/>
              <a:gd name="connsiteX22" fmla="*/ 4669387 w 5227821"/>
              <a:gd name="connsiteY22" fmla="*/ 809089 h 1257266"/>
              <a:gd name="connsiteX23" fmla="*/ 4653526 w 5227821"/>
              <a:gd name="connsiteY23" fmla="*/ 808089 h 1257266"/>
              <a:gd name="connsiteX24" fmla="*/ 4720496 w 5227821"/>
              <a:gd name="connsiteY24" fmla="*/ 800558 h 1257266"/>
              <a:gd name="connsiteX25" fmla="*/ 4704165 w 5227821"/>
              <a:gd name="connsiteY25" fmla="*/ 809559 h 1257266"/>
              <a:gd name="connsiteX26" fmla="*/ 4711684 w 5227821"/>
              <a:gd name="connsiteY26" fmla="*/ 817090 h 1257266"/>
              <a:gd name="connsiteX27" fmla="*/ 4703433 w 5227821"/>
              <a:gd name="connsiteY27" fmla="*/ 816325 h 1257266"/>
              <a:gd name="connsiteX28" fmla="*/ 4703433 w 5227821"/>
              <a:gd name="connsiteY28" fmla="*/ 824001 h 1257266"/>
              <a:gd name="connsiteX29" fmla="*/ 4718473 w 5227821"/>
              <a:gd name="connsiteY29" fmla="*/ 820236 h 1257266"/>
              <a:gd name="connsiteX30" fmla="*/ 4733511 w 5227821"/>
              <a:gd name="connsiteY30" fmla="*/ 846594 h 1257266"/>
              <a:gd name="connsiteX31" fmla="*/ 4710953 w 5227821"/>
              <a:gd name="connsiteY31" fmla="*/ 850359 h 1257266"/>
              <a:gd name="connsiteX32" fmla="*/ 4692155 w 5227821"/>
              <a:gd name="connsiteY32" fmla="*/ 842828 h 1257266"/>
              <a:gd name="connsiteX33" fmla="*/ 4658317 w 5227821"/>
              <a:gd name="connsiteY33" fmla="*/ 854125 h 1257266"/>
              <a:gd name="connsiteX34" fmla="*/ 4677115 w 5227821"/>
              <a:gd name="connsiteY34" fmla="*/ 854125 h 1257266"/>
              <a:gd name="connsiteX35" fmla="*/ 4673355 w 5227821"/>
              <a:gd name="connsiteY35" fmla="*/ 857890 h 1257266"/>
              <a:gd name="connsiteX36" fmla="*/ 4741031 w 5227821"/>
              <a:gd name="connsiteY36" fmla="*/ 857890 h 1257266"/>
              <a:gd name="connsiteX37" fmla="*/ 4748551 w 5227821"/>
              <a:gd name="connsiteY37" fmla="*/ 861655 h 1257266"/>
              <a:gd name="connsiteX38" fmla="*/ 4752310 w 5227821"/>
              <a:gd name="connsiteY38" fmla="*/ 857890 h 1257266"/>
              <a:gd name="connsiteX39" fmla="*/ 4763589 w 5227821"/>
              <a:gd name="connsiteY39" fmla="*/ 854125 h 1257266"/>
              <a:gd name="connsiteX40" fmla="*/ 4752310 w 5227821"/>
              <a:gd name="connsiteY40" fmla="*/ 854125 h 1257266"/>
              <a:gd name="connsiteX41" fmla="*/ 4756070 w 5227821"/>
              <a:gd name="connsiteY41" fmla="*/ 835298 h 1257266"/>
              <a:gd name="connsiteX42" fmla="*/ 4744321 w 5227821"/>
              <a:gd name="connsiteY42" fmla="*/ 817412 h 1257266"/>
              <a:gd name="connsiteX43" fmla="*/ 4747974 w 5227821"/>
              <a:gd name="connsiteY43" fmla="*/ 806649 h 1257266"/>
              <a:gd name="connsiteX44" fmla="*/ 4736122 w 5227821"/>
              <a:gd name="connsiteY44" fmla="*/ 802499 h 1257266"/>
              <a:gd name="connsiteX45" fmla="*/ 4720496 w 5227821"/>
              <a:gd name="connsiteY45" fmla="*/ 800558 h 1257266"/>
              <a:gd name="connsiteX46" fmla="*/ 1676438 w 5227821"/>
              <a:gd name="connsiteY46" fmla="*/ 90716 h 1257266"/>
              <a:gd name="connsiteX47" fmla="*/ 1850993 w 5227821"/>
              <a:gd name="connsiteY47" fmla="*/ 94135 h 1257266"/>
              <a:gd name="connsiteX48" fmla="*/ 2046029 w 5227821"/>
              <a:gd name="connsiteY48" fmla="*/ 97900 h 1257266"/>
              <a:gd name="connsiteX49" fmla="*/ 2057308 w 5227821"/>
              <a:gd name="connsiteY49" fmla="*/ 101666 h 1257266"/>
              <a:gd name="connsiteX50" fmla="*/ 1850523 w 5227821"/>
              <a:gd name="connsiteY50" fmla="*/ 97900 h 1257266"/>
              <a:gd name="connsiteX51" fmla="*/ 1692614 w 5227821"/>
              <a:gd name="connsiteY51" fmla="*/ 94135 h 1257266"/>
              <a:gd name="connsiteX52" fmla="*/ 1675636 w 5227821"/>
              <a:gd name="connsiteY52" fmla="*/ 90546 h 1257266"/>
              <a:gd name="connsiteX53" fmla="*/ 1676438 w 5227821"/>
              <a:gd name="connsiteY53" fmla="*/ 90716 h 1257266"/>
              <a:gd name="connsiteX54" fmla="*/ 1674865 w 5227821"/>
              <a:gd name="connsiteY54" fmla="*/ 90685 h 1257266"/>
              <a:gd name="connsiteX55" fmla="*/ 2005634 w 5227821"/>
              <a:gd name="connsiteY55" fmla="*/ 36919 h 1257266"/>
              <a:gd name="connsiteX56" fmla="*/ 2008432 w 5227821"/>
              <a:gd name="connsiteY56" fmla="*/ 37654 h 1257266"/>
              <a:gd name="connsiteX57" fmla="*/ 2000912 w 5227821"/>
              <a:gd name="connsiteY57" fmla="*/ 37654 h 1257266"/>
              <a:gd name="connsiteX58" fmla="*/ 1594861 w 5227821"/>
              <a:gd name="connsiteY58" fmla="*/ 0 h 1257266"/>
              <a:gd name="connsiteX59" fmla="*/ 1655016 w 5227821"/>
              <a:gd name="connsiteY59" fmla="*/ 11296 h 1257266"/>
              <a:gd name="connsiteX60" fmla="*/ 1651257 w 5227821"/>
              <a:gd name="connsiteY60" fmla="*/ 18827 h 1257266"/>
              <a:gd name="connsiteX61" fmla="*/ 1767809 w 5227821"/>
              <a:gd name="connsiteY61" fmla="*/ 22593 h 1257266"/>
              <a:gd name="connsiteX62" fmla="*/ 2230256 w 5227821"/>
              <a:gd name="connsiteY62" fmla="*/ 26358 h 1257266"/>
              <a:gd name="connsiteX63" fmla="*/ 2275373 w 5227821"/>
              <a:gd name="connsiteY63" fmla="*/ 30123 h 1257266"/>
              <a:gd name="connsiteX64" fmla="*/ 2046029 w 5227821"/>
              <a:gd name="connsiteY64" fmla="*/ 33889 h 1257266"/>
              <a:gd name="connsiteX65" fmla="*/ 2022061 w 5227821"/>
              <a:gd name="connsiteY65" fmla="*/ 34359 h 1257266"/>
              <a:gd name="connsiteX66" fmla="*/ 2005634 w 5227821"/>
              <a:gd name="connsiteY66" fmla="*/ 36919 h 1257266"/>
              <a:gd name="connsiteX67" fmla="*/ 1983817 w 5227821"/>
              <a:gd name="connsiteY67" fmla="*/ 31183 h 1257266"/>
              <a:gd name="connsiteX68" fmla="*/ 1888120 w 5227821"/>
              <a:gd name="connsiteY68" fmla="*/ 30123 h 1257266"/>
              <a:gd name="connsiteX69" fmla="*/ 1662536 w 5227821"/>
              <a:gd name="connsiteY69" fmla="*/ 26358 h 1257266"/>
              <a:gd name="connsiteX70" fmla="*/ 1655016 w 5227821"/>
              <a:gd name="connsiteY70" fmla="*/ 37654 h 1257266"/>
              <a:gd name="connsiteX71" fmla="*/ 1609900 w 5227821"/>
              <a:gd name="connsiteY71" fmla="*/ 30123 h 1257266"/>
              <a:gd name="connsiteX72" fmla="*/ 1553503 w 5227821"/>
              <a:gd name="connsiteY72" fmla="*/ 52716 h 1257266"/>
              <a:gd name="connsiteX73" fmla="*/ 1587341 w 5227821"/>
              <a:gd name="connsiteY73" fmla="*/ 56481 h 1257266"/>
              <a:gd name="connsiteX74" fmla="*/ 1542224 w 5227821"/>
              <a:gd name="connsiteY74" fmla="*/ 56481 h 1257266"/>
              <a:gd name="connsiteX75" fmla="*/ 1527185 w 5227821"/>
              <a:gd name="connsiteY75" fmla="*/ 71543 h 1257266"/>
              <a:gd name="connsiteX76" fmla="*/ 1478309 w 5227821"/>
              <a:gd name="connsiteY76" fmla="*/ 79073 h 1257266"/>
              <a:gd name="connsiteX77" fmla="*/ 1658776 w 5227821"/>
              <a:gd name="connsiteY77" fmla="*/ 90370 h 1257266"/>
              <a:gd name="connsiteX78" fmla="*/ 1674865 w 5227821"/>
              <a:gd name="connsiteY78" fmla="*/ 90685 h 1257266"/>
              <a:gd name="connsiteX79" fmla="*/ 1658306 w 5227821"/>
              <a:gd name="connsiteY79" fmla="*/ 93664 h 1257266"/>
              <a:gd name="connsiteX80" fmla="*/ 1621179 w 5227821"/>
              <a:gd name="connsiteY80" fmla="*/ 101666 h 1257266"/>
              <a:gd name="connsiteX81" fmla="*/ 1579822 w 5227821"/>
              <a:gd name="connsiteY81" fmla="*/ 128024 h 1257266"/>
              <a:gd name="connsiteX82" fmla="*/ 1576062 w 5227821"/>
              <a:gd name="connsiteY82" fmla="*/ 120493 h 1257266"/>
              <a:gd name="connsiteX83" fmla="*/ 1598620 w 5227821"/>
              <a:gd name="connsiteY83" fmla="*/ 112962 h 1257266"/>
              <a:gd name="connsiteX84" fmla="*/ 1587341 w 5227821"/>
              <a:gd name="connsiteY84" fmla="*/ 109197 h 1257266"/>
              <a:gd name="connsiteX85" fmla="*/ 1564783 w 5227821"/>
              <a:gd name="connsiteY85" fmla="*/ 109197 h 1257266"/>
              <a:gd name="connsiteX86" fmla="*/ 1553503 w 5227821"/>
              <a:gd name="connsiteY86" fmla="*/ 105431 h 1257266"/>
              <a:gd name="connsiteX87" fmla="*/ 1621179 w 5227821"/>
              <a:gd name="connsiteY87" fmla="*/ 94135 h 1257266"/>
              <a:gd name="connsiteX88" fmla="*/ 1448231 w 5227821"/>
              <a:gd name="connsiteY88" fmla="*/ 86604 h 1257266"/>
              <a:gd name="connsiteX89" fmla="*/ 1410633 w 5227821"/>
              <a:gd name="connsiteY89" fmla="*/ 97900 h 1257266"/>
              <a:gd name="connsiteX90" fmla="*/ 1444471 w 5227821"/>
              <a:gd name="connsiteY90" fmla="*/ 101666 h 1257266"/>
              <a:gd name="connsiteX91" fmla="*/ 1380555 w 5227821"/>
              <a:gd name="connsiteY91" fmla="*/ 131789 h 1257266"/>
              <a:gd name="connsiteX92" fmla="*/ 1380555 w 5227821"/>
              <a:gd name="connsiteY92" fmla="*/ 112962 h 1257266"/>
              <a:gd name="connsiteX93" fmla="*/ 1369276 w 5227821"/>
              <a:gd name="connsiteY93" fmla="*/ 131789 h 1257266"/>
              <a:gd name="connsiteX94" fmla="*/ 1357997 w 5227821"/>
              <a:gd name="connsiteY94" fmla="*/ 131789 h 1257266"/>
              <a:gd name="connsiteX95" fmla="*/ 1354237 w 5227821"/>
              <a:gd name="connsiteY95" fmla="*/ 146851 h 1257266"/>
              <a:gd name="connsiteX96" fmla="*/ 1350478 w 5227821"/>
              <a:gd name="connsiteY96" fmla="*/ 139320 h 1257266"/>
              <a:gd name="connsiteX97" fmla="*/ 1327919 w 5227821"/>
              <a:gd name="connsiteY97" fmla="*/ 161912 h 1257266"/>
              <a:gd name="connsiteX98" fmla="*/ 1436952 w 5227821"/>
              <a:gd name="connsiteY98" fmla="*/ 173208 h 1257266"/>
              <a:gd name="connsiteX99" fmla="*/ 1459510 w 5227821"/>
              <a:gd name="connsiteY99" fmla="*/ 192035 h 1257266"/>
              <a:gd name="connsiteX100" fmla="*/ 1421913 w 5227821"/>
              <a:gd name="connsiteY100" fmla="*/ 207097 h 1257266"/>
              <a:gd name="connsiteX101" fmla="*/ 1451990 w 5227821"/>
              <a:gd name="connsiteY101" fmla="*/ 207097 h 1257266"/>
              <a:gd name="connsiteX102" fmla="*/ 1451990 w 5227821"/>
              <a:gd name="connsiteY102" fmla="*/ 210862 h 1257266"/>
              <a:gd name="connsiteX103" fmla="*/ 1512146 w 5227821"/>
              <a:gd name="connsiteY103" fmla="*/ 210862 h 1257266"/>
              <a:gd name="connsiteX104" fmla="*/ 1512146 w 5227821"/>
              <a:gd name="connsiteY104" fmla="*/ 214628 h 1257266"/>
              <a:gd name="connsiteX105" fmla="*/ 1534705 w 5227821"/>
              <a:gd name="connsiteY105" fmla="*/ 214628 h 1257266"/>
              <a:gd name="connsiteX106" fmla="*/ 1538464 w 5227821"/>
              <a:gd name="connsiteY106" fmla="*/ 210862 h 1257266"/>
              <a:gd name="connsiteX107" fmla="*/ 1538464 w 5227821"/>
              <a:gd name="connsiteY107" fmla="*/ 218393 h 1257266"/>
              <a:gd name="connsiteX108" fmla="*/ 1515906 w 5227821"/>
              <a:gd name="connsiteY108" fmla="*/ 225924 h 1257266"/>
              <a:gd name="connsiteX109" fmla="*/ 1549744 w 5227821"/>
              <a:gd name="connsiteY109" fmla="*/ 229689 h 1257266"/>
              <a:gd name="connsiteX110" fmla="*/ 1542224 w 5227821"/>
              <a:gd name="connsiteY110" fmla="*/ 237220 h 1257266"/>
              <a:gd name="connsiteX111" fmla="*/ 1722692 w 5227821"/>
              <a:gd name="connsiteY111" fmla="*/ 225924 h 1257266"/>
              <a:gd name="connsiteX112" fmla="*/ 1764049 w 5227821"/>
              <a:gd name="connsiteY112" fmla="*/ 218393 h 1257266"/>
              <a:gd name="connsiteX113" fmla="*/ 1801646 w 5227821"/>
              <a:gd name="connsiteY113" fmla="*/ 218393 h 1257266"/>
              <a:gd name="connsiteX114" fmla="*/ 1809166 w 5227821"/>
              <a:gd name="connsiteY114" fmla="*/ 214628 h 1257266"/>
              <a:gd name="connsiteX115" fmla="*/ 1940757 w 5227821"/>
              <a:gd name="connsiteY115" fmla="*/ 214628 h 1257266"/>
              <a:gd name="connsiteX116" fmla="*/ 2083627 w 5227821"/>
              <a:gd name="connsiteY116" fmla="*/ 203331 h 1257266"/>
              <a:gd name="connsiteX117" fmla="*/ 2124984 w 5227821"/>
              <a:gd name="connsiteY117" fmla="*/ 203331 h 1257266"/>
              <a:gd name="connsiteX118" fmla="*/ 2128744 w 5227821"/>
              <a:gd name="connsiteY118" fmla="*/ 199566 h 1257266"/>
              <a:gd name="connsiteX119" fmla="*/ 2117464 w 5227821"/>
              <a:gd name="connsiteY119" fmla="*/ 195801 h 1257266"/>
              <a:gd name="connsiteX120" fmla="*/ 2128744 w 5227821"/>
              <a:gd name="connsiteY120" fmla="*/ 192035 h 1257266"/>
              <a:gd name="connsiteX121" fmla="*/ 2121224 w 5227821"/>
              <a:gd name="connsiteY121" fmla="*/ 188270 h 1257266"/>
              <a:gd name="connsiteX122" fmla="*/ 2192659 w 5227821"/>
              <a:gd name="connsiteY122" fmla="*/ 184504 h 1257266"/>
              <a:gd name="connsiteX123" fmla="*/ 2196419 w 5227821"/>
              <a:gd name="connsiteY123" fmla="*/ 199566 h 1257266"/>
              <a:gd name="connsiteX124" fmla="*/ 2215218 w 5227821"/>
              <a:gd name="connsiteY124" fmla="*/ 195801 h 1257266"/>
              <a:gd name="connsiteX125" fmla="*/ 2203938 w 5227821"/>
              <a:gd name="connsiteY125" fmla="*/ 188270 h 1257266"/>
              <a:gd name="connsiteX126" fmla="*/ 2271614 w 5227821"/>
              <a:gd name="connsiteY126" fmla="*/ 188270 h 1257266"/>
              <a:gd name="connsiteX127" fmla="*/ 2395685 w 5227821"/>
              <a:gd name="connsiteY127" fmla="*/ 184504 h 1257266"/>
              <a:gd name="connsiteX128" fmla="*/ 2422003 w 5227821"/>
              <a:gd name="connsiteY128" fmla="*/ 169443 h 1257266"/>
              <a:gd name="connsiteX129" fmla="*/ 2564873 w 5227821"/>
              <a:gd name="connsiteY129" fmla="*/ 180739 h 1257266"/>
              <a:gd name="connsiteX130" fmla="*/ 2737821 w 5227821"/>
              <a:gd name="connsiteY130" fmla="*/ 176974 h 1257266"/>
              <a:gd name="connsiteX131" fmla="*/ 2737821 w 5227821"/>
              <a:gd name="connsiteY131" fmla="*/ 169443 h 1257266"/>
              <a:gd name="connsiteX132" fmla="*/ 2794217 w 5227821"/>
              <a:gd name="connsiteY132" fmla="*/ 176974 h 1257266"/>
              <a:gd name="connsiteX133" fmla="*/ 2805496 w 5227821"/>
              <a:gd name="connsiteY133" fmla="*/ 169443 h 1257266"/>
              <a:gd name="connsiteX134" fmla="*/ 3568723 w 5227821"/>
              <a:gd name="connsiteY134" fmla="*/ 165678 h 1257266"/>
              <a:gd name="connsiteX135" fmla="*/ 3673996 w 5227821"/>
              <a:gd name="connsiteY135" fmla="*/ 158147 h 1257266"/>
              <a:gd name="connsiteX136" fmla="*/ 3719113 w 5227821"/>
              <a:gd name="connsiteY136" fmla="*/ 161912 h 1257266"/>
              <a:gd name="connsiteX137" fmla="*/ 3880782 w 5227821"/>
              <a:gd name="connsiteY137" fmla="*/ 150616 h 1257266"/>
              <a:gd name="connsiteX138" fmla="*/ 3869503 w 5227821"/>
              <a:gd name="connsiteY138" fmla="*/ 161912 h 1257266"/>
              <a:gd name="connsiteX139" fmla="*/ 3922139 w 5227821"/>
              <a:gd name="connsiteY139" fmla="*/ 169443 h 1257266"/>
              <a:gd name="connsiteX140" fmla="*/ 4046210 w 5227821"/>
              <a:gd name="connsiteY140" fmla="*/ 165678 h 1257266"/>
              <a:gd name="connsiteX141" fmla="*/ 4083807 w 5227821"/>
              <a:gd name="connsiteY141" fmla="*/ 165678 h 1257266"/>
              <a:gd name="connsiteX142" fmla="*/ 4083807 w 5227821"/>
              <a:gd name="connsiteY142" fmla="*/ 169443 h 1257266"/>
              <a:gd name="connsiteX143" fmla="*/ 4181561 w 5227821"/>
              <a:gd name="connsiteY143" fmla="*/ 173208 h 1257266"/>
              <a:gd name="connsiteX144" fmla="*/ 4264275 w 5227821"/>
              <a:gd name="connsiteY144" fmla="*/ 173208 h 1257266"/>
              <a:gd name="connsiteX145" fmla="*/ 4316911 w 5227821"/>
              <a:gd name="connsiteY145" fmla="*/ 184504 h 1257266"/>
              <a:gd name="connsiteX146" fmla="*/ 4440983 w 5227821"/>
              <a:gd name="connsiteY146" fmla="*/ 184504 h 1257266"/>
              <a:gd name="connsiteX147" fmla="*/ 4433463 w 5227821"/>
              <a:gd name="connsiteY147" fmla="*/ 192035 h 1257266"/>
              <a:gd name="connsiteX148" fmla="*/ 4512418 w 5227821"/>
              <a:gd name="connsiteY148" fmla="*/ 199566 h 1257266"/>
              <a:gd name="connsiteX149" fmla="*/ 4550015 w 5227821"/>
              <a:gd name="connsiteY149" fmla="*/ 203331 h 1257266"/>
              <a:gd name="connsiteX150" fmla="*/ 4557535 w 5227821"/>
              <a:gd name="connsiteY150" fmla="*/ 199566 h 1257266"/>
              <a:gd name="connsiteX151" fmla="*/ 4568814 w 5227821"/>
              <a:gd name="connsiteY151" fmla="*/ 207097 h 1257266"/>
              <a:gd name="connsiteX152" fmla="*/ 4644009 w 5227821"/>
              <a:gd name="connsiteY152" fmla="*/ 233455 h 1257266"/>
              <a:gd name="connsiteX153" fmla="*/ 4775599 w 5227821"/>
              <a:gd name="connsiteY153" fmla="*/ 237220 h 1257266"/>
              <a:gd name="connsiteX154" fmla="*/ 4828236 w 5227821"/>
              <a:gd name="connsiteY154" fmla="*/ 199566 h 1257266"/>
              <a:gd name="connsiteX155" fmla="*/ 4783119 w 5227821"/>
              <a:gd name="connsiteY155" fmla="*/ 188270 h 1257266"/>
              <a:gd name="connsiteX156" fmla="*/ 4828236 w 5227821"/>
              <a:gd name="connsiteY156" fmla="*/ 195801 h 1257266"/>
              <a:gd name="connsiteX157" fmla="*/ 4850795 w 5227821"/>
              <a:gd name="connsiteY157" fmla="*/ 180739 h 1257266"/>
              <a:gd name="connsiteX158" fmla="*/ 4794399 w 5227821"/>
              <a:gd name="connsiteY158" fmla="*/ 150616 h 1257266"/>
              <a:gd name="connsiteX159" fmla="*/ 4813197 w 5227821"/>
              <a:gd name="connsiteY159" fmla="*/ 143085 h 1257266"/>
              <a:gd name="connsiteX160" fmla="*/ 4738002 w 5227821"/>
              <a:gd name="connsiteY160" fmla="*/ 135554 h 1257266"/>
              <a:gd name="connsiteX161" fmla="*/ 4677847 w 5227821"/>
              <a:gd name="connsiteY161" fmla="*/ 139320 h 1257266"/>
              <a:gd name="connsiteX162" fmla="*/ 4644009 w 5227821"/>
              <a:gd name="connsiteY162" fmla="*/ 116727 h 1257266"/>
              <a:gd name="connsiteX163" fmla="*/ 4516177 w 5227821"/>
              <a:gd name="connsiteY163" fmla="*/ 109197 h 1257266"/>
              <a:gd name="connsiteX164" fmla="*/ 4444743 w 5227821"/>
              <a:gd name="connsiteY164" fmla="*/ 90370 h 1257266"/>
              <a:gd name="connsiteX165" fmla="*/ 4380827 w 5227821"/>
              <a:gd name="connsiteY165" fmla="*/ 82839 h 1257266"/>
              <a:gd name="connsiteX166" fmla="*/ 4365788 w 5227821"/>
              <a:gd name="connsiteY166" fmla="*/ 90370 h 1257266"/>
              <a:gd name="connsiteX167" fmla="*/ 4354509 w 5227821"/>
              <a:gd name="connsiteY167" fmla="*/ 86604 h 1257266"/>
              <a:gd name="connsiteX168" fmla="*/ 4331951 w 5227821"/>
              <a:gd name="connsiteY168" fmla="*/ 82839 h 1257266"/>
              <a:gd name="connsiteX169" fmla="*/ 4335710 w 5227821"/>
              <a:gd name="connsiteY169" fmla="*/ 67777 h 1257266"/>
              <a:gd name="connsiteX170" fmla="*/ 4474821 w 5227821"/>
              <a:gd name="connsiteY170" fmla="*/ 79073 h 1257266"/>
              <a:gd name="connsiteX171" fmla="*/ 4561295 w 5227821"/>
              <a:gd name="connsiteY171" fmla="*/ 90370 h 1257266"/>
              <a:gd name="connsiteX172" fmla="*/ 4681606 w 5227821"/>
              <a:gd name="connsiteY172" fmla="*/ 94135 h 1257266"/>
              <a:gd name="connsiteX173" fmla="*/ 4685366 w 5227821"/>
              <a:gd name="connsiteY173" fmla="*/ 97900 h 1257266"/>
              <a:gd name="connsiteX174" fmla="*/ 4801918 w 5227821"/>
              <a:gd name="connsiteY174" fmla="*/ 109197 h 1257266"/>
              <a:gd name="connsiteX175" fmla="*/ 4809437 w 5227821"/>
              <a:gd name="connsiteY175" fmla="*/ 112962 h 1257266"/>
              <a:gd name="connsiteX176" fmla="*/ 4824476 w 5227821"/>
              <a:gd name="connsiteY176" fmla="*/ 105431 h 1257266"/>
              <a:gd name="connsiteX177" fmla="*/ 4828236 w 5227821"/>
              <a:gd name="connsiteY177" fmla="*/ 109197 h 1257266"/>
              <a:gd name="connsiteX178" fmla="*/ 4805677 w 5227821"/>
              <a:gd name="connsiteY178" fmla="*/ 124258 h 1257266"/>
              <a:gd name="connsiteX179" fmla="*/ 4903431 w 5227821"/>
              <a:gd name="connsiteY179" fmla="*/ 124258 h 1257266"/>
              <a:gd name="connsiteX180" fmla="*/ 4925989 w 5227821"/>
              <a:gd name="connsiteY180" fmla="*/ 143085 h 1257266"/>
              <a:gd name="connsiteX181" fmla="*/ 4941028 w 5227821"/>
              <a:gd name="connsiteY181" fmla="*/ 143085 h 1257266"/>
              <a:gd name="connsiteX182" fmla="*/ 4922229 w 5227821"/>
              <a:gd name="connsiteY182" fmla="*/ 109197 h 1257266"/>
              <a:gd name="connsiteX183" fmla="*/ 4956067 w 5227821"/>
              <a:gd name="connsiteY183" fmla="*/ 97900 h 1257266"/>
              <a:gd name="connsiteX184" fmla="*/ 4959827 w 5227821"/>
              <a:gd name="connsiteY184" fmla="*/ 94135 h 1257266"/>
              <a:gd name="connsiteX185" fmla="*/ 4922229 w 5227821"/>
              <a:gd name="connsiteY185" fmla="*/ 97900 h 1257266"/>
              <a:gd name="connsiteX186" fmla="*/ 4903431 w 5227821"/>
              <a:gd name="connsiteY186" fmla="*/ 86604 h 1257266"/>
              <a:gd name="connsiteX187" fmla="*/ 4933509 w 5227821"/>
              <a:gd name="connsiteY187" fmla="*/ 75308 h 1257266"/>
              <a:gd name="connsiteX188" fmla="*/ 4929749 w 5227821"/>
              <a:gd name="connsiteY188" fmla="*/ 71543 h 1257266"/>
              <a:gd name="connsiteX189" fmla="*/ 5068859 w 5227821"/>
              <a:gd name="connsiteY189" fmla="*/ 79073 h 1257266"/>
              <a:gd name="connsiteX190" fmla="*/ 5061339 w 5227821"/>
              <a:gd name="connsiteY190" fmla="*/ 75308 h 1257266"/>
              <a:gd name="connsiteX191" fmla="*/ 5132775 w 5227821"/>
              <a:gd name="connsiteY191" fmla="*/ 75308 h 1257266"/>
              <a:gd name="connsiteX192" fmla="*/ 5136535 w 5227821"/>
              <a:gd name="connsiteY192" fmla="*/ 71543 h 1257266"/>
              <a:gd name="connsiteX193" fmla="*/ 5087658 w 5227821"/>
              <a:gd name="connsiteY193" fmla="*/ 71543 h 1257266"/>
              <a:gd name="connsiteX194" fmla="*/ 5189171 w 5227821"/>
              <a:gd name="connsiteY194" fmla="*/ 52716 h 1257266"/>
              <a:gd name="connsiteX195" fmla="*/ 5095177 w 5227821"/>
              <a:gd name="connsiteY195" fmla="*/ 101666 h 1257266"/>
              <a:gd name="connsiteX196" fmla="*/ 5065099 w 5227821"/>
              <a:gd name="connsiteY196" fmla="*/ 131789 h 1257266"/>
              <a:gd name="connsiteX197" fmla="*/ 4971106 w 5227821"/>
              <a:gd name="connsiteY197" fmla="*/ 161912 h 1257266"/>
              <a:gd name="connsiteX198" fmla="*/ 5035021 w 5227821"/>
              <a:gd name="connsiteY198" fmla="*/ 165678 h 1257266"/>
              <a:gd name="connsiteX199" fmla="*/ 5023743 w 5227821"/>
              <a:gd name="connsiteY199" fmla="*/ 184504 h 1257266"/>
              <a:gd name="connsiteX200" fmla="*/ 4869593 w 5227821"/>
              <a:gd name="connsiteY200" fmla="*/ 263578 h 1257266"/>
              <a:gd name="connsiteX201" fmla="*/ 4884632 w 5227821"/>
              <a:gd name="connsiteY201" fmla="*/ 267343 h 1257266"/>
              <a:gd name="connsiteX202" fmla="*/ 4798158 w 5227821"/>
              <a:gd name="connsiteY202" fmla="*/ 312528 h 1257266"/>
              <a:gd name="connsiteX203" fmla="*/ 4809437 w 5227821"/>
              <a:gd name="connsiteY203" fmla="*/ 316293 h 1257266"/>
              <a:gd name="connsiteX204" fmla="*/ 4783119 w 5227821"/>
              <a:gd name="connsiteY204" fmla="*/ 327589 h 1257266"/>
              <a:gd name="connsiteX205" fmla="*/ 4783119 w 5227821"/>
              <a:gd name="connsiteY205" fmla="*/ 304997 h 1257266"/>
              <a:gd name="connsiteX206" fmla="*/ 4760561 w 5227821"/>
              <a:gd name="connsiteY206" fmla="*/ 335120 h 1257266"/>
              <a:gd name="connsiteX207" fmla="*/ 4801918 w 5227821"/>
              <a:gd name="connsiteY207" fmla="*/ 342651 h 1257266"/>
              <a:gd name="connsiteX208" fmla="*/ 4801918 w 5227821"/>
              <a:gd name="connsiteY208" fmla="*/ 350182 h 1257266"/>
              <a:gd name="connsiteX209" fmla="*/ 4820717 w 5227821"/>
              <a:gd name="connsiteY209" fmla="*/ 346416 h 1257266"/>
              <a:gd name="connsiteX210" fmla="*/ 4816957 w 5227821"/>
              <a:gd name="connsiteY210" fmla="*/ 342651 h 1257266"/>
              <a:gd name="connsiteX211" fmla="*/ 4850795 w 5227821"/>
              <a:gd name="connsiteY211" fmla="*/ 342651 h 1257266"/>
              <a:gd name="connsiteX212" fmla="*/ 4850795 w 5227821"/>
              <a:gd name="connsiteY212" fmla="*/ 331355 h 1257266"/>
              <a:gd name="connsiteX213" fmla="*/ 4910950 w 5227821"/>
              <a:gd name="connsiteY213" fmla="*/ 323824 h 1257266"/>
              <a:gd name="connsiteX214" fmla="*/ 4918469 w 5227821"/>
              <a:gd name="connsiteY214" fmla="*/ 293701 h 1257266"/>
              <a:gd name="connsiteX215" fmla="*/ 4937269 w 5227821"/>
              <a:gd name="connsiteY215" fmla="*/ 278639 h 1257266"/>
              <a:gd name="connsiteX216" fmla="*/ 4941028 w 5227821"/>
              <a:gd name="connsiteY216" fmla="*/ 278639 h 1257266"/>
              <a:gd name="connsiteX217" fmla="*/ 4997424 w 5227821"/>
              <a:gd name="connsiteY217" fmla="*/ 256047 h 1257266"/>
              <a:gd name="connsiteX218" fmla="*/ 5042541 w 5227821"/>
              <a:gd name="connsiteY218" fmla="*/ 263578 h 1257266"/>
              <a:gd name="connsiteX219" fmla="*/ 5027502 w 5227821"/>
              <a:gd name="connsiteY219" fmla="*/ 278639 h 1257266"/>
              <a:gd name="connsiteX220" fmla="*/ 5061339 w 5227821"/>
              <a:gd name="connsiteY220" fmla="*/ 278639 h 1257266"/>
              <a:gd name="connsiteX221" fmla="*/ 5019983 w 5227821"/>
              <a:gd name="connsiteY221" fmla="*/ 323824 h 1257266"/>
              <a:gd name="connsiteX222" fmla="*/ 5012463 w 5227821"/>
              <a:gd name="connsiteY222" fmla="*/ 342651 h 1257266"/>
              <a:gd name="connsiteX223" fmla="*/ 5001184 w 5227821"/>
              <a:gd name="connsiteY223" fmla="*/ 335120 h 1257266"/>
              <a:gd name="connsiteX224" fmla="*/ 5001184 w 5227821"/>
              <a:gd name="connsiteY224" fmla="*/ 327589 h 1257266"/>
              <a:gd name="connsiteX225" fmla="*/ 4986145 w 5227821"/>
              <a:gd name="connsiteY225" fmla="*/ 335120 h 1257266"/>
              <a:gd name="connsiteX226" fmla="*/ 4978625 w 5227821"/>
              <a:gd name="connsiteY226" fmla="*/ 335120 h 1257266"/>
              <a:gd name="connsiteX227" fmla="*/ 4993665 w 5227821"/>
              <a:gd name="connsiteY227" fmla="*/ 301232 h 1257266"/>
              <a:gd name="connsiteX228" fmla="*/ 5008703 w 5227821"/>
              <a:gd name="connsiteY228" fmla="*/ 297466 h 1257266"/>
              <a:gd name="connsiteX229" fmla="*/ 5012463 w 5227821"/>
              <a:gd name="connsiteY229" fmla="*/ 286170 h 1257266"/>
              <a:gd name="connsiteX230" fmla="*/ 5027502 w 5227821"/>
              <a:gd name="connsiteY230" fmla="*/ 282405 h 1257266"/>
              <a:gd name="connsiteX231" fmla="*/ 4982385 w 5227821"/>
              <a:gd name="connsiteY231" fmla="*/ 286170 h 1257266"/>
              <a:gd name="connsiteX232" fmla="*/ 4888392 w 5227821"/>
              <a:gd name="connsiteY232" fmla="*/ 353947 h 1257266"/>
              <a:gd name="connsiteX233" fmla="*/ 4884632 w 5227821"/>
              <a:gd name="connsiteY233" fmla="*/ 365243 h 1257266"/>
              <a:gd name="connsiteX234" fmla="*/ 4869593 w 5227821"/>
              <a:gd name="connsiteY234" fmla="*/ 369009 h 1257266"/>
              <a:gd name="connsiteX235" fmla="*/ 4880873 w 5227821"/>
              <a:gd name="connsiteY235" fmla="*/ 380305 h 1257266"/>
              <a:gd name="connsiteX236" fmla="*/ 4865833 w 5227821"/>
              <a:gd name="connsiteY236" fmla="*/ 387836 h 1257266"/>
              <a:gd name="connsiteX237" fmla="*/ 4903431 w 5227821"/>
              <a:gd name="connsiteY237" fmla="*/ 391601 h 1257266"/>
              <a:gd name="connsiteX238" fmla="*/ 4929749 w 5227821"/>
              <a:gd name="connsiteY238" fmla="*/ 384070 h 1257266"/>
              <a:gd name="connsiteX239" fmla="*/ 4918469 w 5227821"/>
              <a:gd name="connsiteY239" fmla="*/ 395366 h 1257266"/>
              <a:gd name="connsiteX240" fmla="*/ 4925989 w 5227821"/>
              <a:gd name="connsiteY240" fmla="*/ 399132 h 1257266"/>
              <a:gd name="connsiteX241" fmla="*/ 4971106 w 5227821"/>
              <a:gd name="connsiteY241" fmla="*/ 380305 h 1257266"/>
              <a:gd name="connsiteX242" fmla="*/ 4967347 w 5227821"/>
              <a:gd name="connsiteY242" fmla="*/ 429255 h 1257266"/>
              <a:gd name="connsiteX243" fmla="*/ 5001184 w 5227821"/>
              <a:gd name="connsiteY243" fmla="*/ 391601 h 1257266"/>
              <a:gd name="connsiteX244" fmla="*/ 5012463 w 5227821"/>
              <a:gd name="connsiteY244" fmla="*/ 391601 h 1257266"/>
              <a:gd name="connsiteX245" fmla="*/ 4974865 w 5227821"/>
              <a:gd name="connsiteY245" fmla="*/ 466909 h 1257266"/>
              <a:gd name="connsiteX246" fmla="*/ 4971106 w 5227821"/>
              <a:gd name="connsiteY246" fmla="*/ 466909 h 1257266"/>
              <a:gd name="connsiteX247" fmla="*/ 4963587 w 5227821"/>
              <a:gd name="connsiteY247" fmla="*/ 470674 h 1257266"/>
              <a:gd name="connsiteX248" fmla="*/ 4952307 w 5227821"/>
              <a:gd name="connsiteY248" fmla="*/ 470674 h 1257266"/>
              <a:gd name="connsiteX249" fmla="*/ 4929749 w 5227821"/>
              <a:gd name="connsiteY249" fmla="*/ 474440 h 1257266"/>
              <a:gd name="connsiteX250" fmla="*/ 4952307 w 5227821"/>
              <a:gd name="connsiteY250" fmla="*/ 470674 h 1257266"/>
              <a:gd name="connsiteX251" fmla="*/ 4963587 w 5227821"/>
              <a:gd name="connsiteY251" fmla="*/ 470674 h 1257266"/>
              <a:gd name="connsiteX252" fmla="*/ 4967347 w 5227821"/>
              <a:gd name="connsiteY252" fmla="*/ 470674 h 1257266"/>
              <a:gd name="connsiteX253" fmla="*/ 4944788 w 5227821"/>
              <a:gd name="connsiteY253" fmla="*/ 481970 h 1257266"/>
              <a:gd name="connsiteX254" fmla="*/ 4959827 w 5227821"/>
              <a:gd name="connsiteY254" fmla="*/ 485736 h 1257266"/>
              <a:gd name="connsiteX255" fmla="*/ 4974865 w 5227821"/>
              <a:gd name="connsiteY255" fmla="*/ 474440 h 1257266"/>
              <a:gd name="connsiteX256" fmla="*/ 4978625 w 5227821"/>
              <a:gd name="connsiteY256" fmla="*/ 478205 h 1257266"/>
              <a:gd name="connsiteX257" fmla="*/ 4993665 w 5227821"/>
              <a:gd name="connsiteY257" fmla="*/ 455613 h 1257266"/>
              <a:gd name="connsiteX258" fmla="*/ 5004943 w 5227821"/>
              <a:gd name="connsiteY258" fmla="*/ 455613 h 1257266"/>
              <a:gd name="connsiteX259" fmla="*/ 5019983 w 5227821"/>
              <a:gd name="connsiteY259" fmla="*/ 497032 h 1257266"/>
              <a:gd name="connsiteX260" fmla="*/ 5046301 w 5227821"/>
              <a:gd name="connsiteY260" fmla="*/ 466909 h 1257266"/>
              <a:gd name="connsiteX261" fmla="*/ 5042541 w 5227821"/>
              <a:gd name="connsiteY261" fmla="*/ 451847 h 1257266"/>
              <a:gd name="connsiteX262" fmla="*/ 5065099 w 5227821"/>
              <a:gd name="connsiteY262" fmla="*/ 448082 h 1257266"/>
              <a:gd name="connsiteX263" fmla="*/ 5065099 w 5227821"/>
              <a:gd name="connsiteY263" fmla="*/ 474440 h 1257266"/>
              <a:gd name="connsiteX264" fmla="*/ 5080139 w 5227821"/>
              <a:gd name="connsiteY264" fmla="*/ 470674 h 1257266"/>
              <a:gd name="connsiteX265" fmla="*/ 5095177 w 5227821"/>
              <a:gd name="connsiteY265" fmla="*/ 497032 h 1257266"/>
              <a:gd name="connsiteX266" fmla="*/ 5072619 w 5227821"/>
              <a:gd name="connsiteY266" fmla="*/ 500797 h 1257266"/>
              <a:gd name="connsiteX267" fmla="*/ 5053821 w 5227821"/>
              <a:gd name="connsiteY267" fmla="*/ 493267 h 1257266"/>
              <a:gd name="connsiteX268" fmla="*/ 5019983 w 5227821"/>
              <a:gd name="connsiteY268" fmla="*/ 504563 h 1257266"/>
              <a:gd name="connsiteX269" fmla="*/ 5038781 w 5227821"/>
              <a:gd name="connsiteY269" fmla="*/ 504563 h 1257266"/>
              <a:gd name="connsiteX270" fmla="*/ 5035021 w 5227821"/>
              <a:gd name="connsiteY270" fmla="*/ 508328 h 1257266"/>
              <a:gd name="connsiteX271" fmla="*/ 5102697 w 5227821"/>
              <a:gd name="connsiteY271" fmla="*/ 508328 h 1257266"/>
              <a:gd name="connsiteX272" fmla="*/ 5110217 w 5227821"/>
              <a:gd name="connsiteY272" fmla="*/ 512094 h 1257266"/>
              <a:gd name="connsiteX273" fmla="*/ 5113976 w 5227821"/>
              <a:gd name="connsiteY273" fmla="*/ 508328 h 1257266"/>
              <a:gd name="connsiteX274" fmla="*/ 5125255 w 5227821"/>
              <a:gd name="connsiteY274" fmla="*/ 504563 h 1257266"/>
              <a:gd name="connsiteX275" fmla="*/ 5113976 w 5227821"/>
              <a:gd name="connsiteY275" fmla="*/ 504563 h 1257266"/>
              <a:gd name="connsiteX276" fmla="*/ 5117736 w 5227821"/>
              <a:gd name="connsiteY276" fmla="*/ 485736 h 1257266"/>
              <a:gd name="connsiteX277" fmla="*/ 5113976 w 5227821"/>
              <a:gd name="connsiteY277" fmla="*/ 444317 h 1257266"/>
              <a:gd name="connsiteX278" fmla="*/ 5159093 w 5227821"/>
              <a:gd name="connsiteY278" fmla="*/ 489501 h 1257266"/>
              <a:gd name="connsiteX279" fmla="*/ 5162853 w 5227821"/>
              <a:gd name="connsiteY279" fmla="*/ 485736 h 1257266"/>
              <a:gd name="connsiteX280" fmla="*/ 5170372 w 5227821"/>
              <a:gd name="connsiteY280" fmla="*/ 489501 h 1257266"/>
              <a:gd name="connsiteX281" fmla="*/ 5170372 w 5227821"/>
              <a:gd name="connsiteY281" fmla="*/ 519624 h 1257266"/>
              <a:gd name="connsiteX282" fmla="*/ 5162853 w 5227821"/>
              <a:gd name="connsiteY282" fmla="*/ 508328 h 1257266"/>
              <a:gd name="connsiteX283" fmla="*/ 5144054 w 5227821"/>
              <a:gd name="connsiteY283" fmla="*/ 549748 h 1257266"/>
              <a:gd name="connsiteX284" fmla="*/ 5110217 w 5227821"/>
              <a:gd name="connsiteY284" fmla="*/ 564809 h 1257266"/>
              <a:gd name="connsiteX285" fmla="*/ 5129015 w 5227821"/>
              <a:gd name="connsiteY285" fmla="*/ 606228 h 1257266"/>
              <a:gd name="connsiteX286" fmla="*/ 5159093 w 5227821"/>
              <a:gd name="connsiteY286" fmla="*/ 591167 h 1257266"/>
              <a:gd name="connsiteX287" fmla="*/ 5129015 w 5227821"/>
              <a:gd name="connsiteY287" fmla="*/ 617524 h 1257266"/>
              <a:gd name="connsiteX288" fmla="*/ 5136535 w 5227821"/>
              <a:gd name="connsiteY288" fmla="*/ 681536 h 1257266"/>
              <a:gd name="connsiteX289" fmla="*/ 5159093 w 5227821"/>
              <a:gd name="connsiteY289" fmla="*/ 692832 h 1257266"/>
              <a:gd name="connsiteX290" fmla="*/ 5207969 w 5227821"/>
              <a:gd name="connsiteY290" fmla="*/ 670240 h 1257266"/>
              <a:gd name="connsiteX291" fmla="*/ 5215489 w 5227821"/>
              <a:gd name="connsiteY291" fmla="*/ 674005 h 1257266"/>
              <a:gd name="connsiteX292" fmla="*/ 5223009 w 5227821"/>
              <a:gd name="connsiteY292" fmla="*/ 670240 h 1257266"/>
              <a:gd name="connsiteX293" fmla="*/ 5226769 w 5227821"/>
              <a:gd name="connsiteY293" fmla="*/ 704128 h 1257266"/>
              <a:gd name="connsiteX294" fmla="*/ 5129015 w 5227821"/>
              <a:gd name="connsiteY294" fmla="*/ 745548 h 1257266"/>
              <a:gd name="connsiteX295" fmla="*/ 5113976 w 5227821"/>
              <a:gd name="connsiteY295" fmla="*/ 745548 h 1257266"/>
              <a:gd name="connsiteX296" fmla="*/ 5117736 w 5227821"/>
              <a:gd name="connsiteY296" fmla="*/ 741782 h 1257266"/>
              <a:gd name="connsiteX297" fmla="*/ 5095177 w 5227821"/>
              <a:gd name="connsiteY297" fmla="*/ 741782 h 1257266"/>
              <a:gd name="connsiteX298" fmla="*/ 5038781 w 5227821"/>
              <a:gd name="connsiteY298" fmla="*/ 749313 h 1257266"/>
              <a:gd name="connsiteX299" fmla="*/ 5117736 w 5227821"/>
              <a:gd name="connsiteY299" fmla="*/ 756844 h 1257266"/>
              <a:gd name="connsiteX300" fmla="*/ 5016223 w 5227821"/>
              <a:gd name="connsiteY300" fmla="*/ 775671 h 1257266"/>
              <a:gd name="connsiteX301" fmla="*/ 4933509 w 5227821"/>
              <a:gd name="connsiteY301" fmla="*/ 768140 h 1257266"/>
              <a:gd name="connsiteX302" fmla="*/ 4892151 w 5227821"/>
              <a:gd name="connsiteY302" fmla="*/ 790732 h 1257266"/>
              <a:gd name="connsiteX303" fmla="*/ 4888392 w 5227821"/>
              <a:gd name="connsiteY303" fmla="*/ 786967 h 1257266"/>
              <a:gd name="connsiteX304" fmla="*/ 4869593 w 5227821"/>
              <a:gd name="connsiteY304" fmla="*/ 809559 h 1257266"/>
              <a:gd name="connsiteX305" fmla="*/ 4873353 w 5227821"/>
              <a:gd name="connsiteY305" fmla="*/ 813325 h 1257266"/>
              <a:gd name="connsiteX306" fmla="*/ 4831995 w 5227821"/>
              <a:gd name="connsiteY306" fmla="*/ 805794 h 1257266"/>
              <a:gd name="connsiteX307" fmla="*/ 4771840 w 5227821"/>
              <a:gd name="connsiteY307" fmla="*/ 820856 h 1257266"/>
              <a:gd name="connsiteX308" fmla="*/ 4764275 w 5227821"/>
              <a:gd name="connsiteY308" fmla="*/ 817267 h 1257266"/>
              <a:gd name="connsiteX309" fmla="*/ 4765000 w 5227821"/>
              <a:gd name="connsiteY309" fmla="*/ 823531 h 1257266"/>
              <a:gd name="connsiteX310" fmla="*/ 4797427 w 5227821"/>
              <a:gd name="connsiteY310" fmla="*/ 839063 h 1257266"/>
              <a:gd name="connsiteX311" fmla="*/ 4801187 w 5227821"/>
              <a:gd name="connsiteY311" fmla="*/ 835298 h 1257266"/>
              <a:gd name="connsiteX312" fmla="*/ 4808706 w 5227821"/>
              <a:gd name="connsiteY312" fmla="*/ 839063 h 1257266"/>
              <a:gd name="connsiteX313" fmla="*/ 4808706 w 5227821"/>
              <a:gd name="connsiteY313" fmla="*/ 869186 h 1257266"/>
              <a:gd name="connsiteX314" fmla="*/ 4801187 w 5227821"/>
              <a:gd name="connsiteY314" fmla="*/ 857890 h 1257266"/>
              <a:gd name="connsiteX315" fmla="*/ 4782388 w 5227821"/>
              <a:gd name="connsiteY315" fmla="*/ 899309 h 1257266"/>
              <a:gd name="connsiteX316" fmla="*/ 4748551 w 5227821"/>
              <a:gd name="connsiteY316" fmla="*/ 914371 h 1257266"/>
              <a:gd name="connsiteX317" fmla="*/ 4767349 w 5227821"/>
              <a:gd name="connsiteY317" fmla="*/ 955790 h 1257266"/>
              <a:gd name="connsiteX318" fmla="*/ 4797427 w 5227821"/>
              <a:gd name="connsiteY318" fmla="*/ 940729 h 1257266"/>
              <a:gd name="connsiteX319" fmla="*/ 4767349 w 5227821"/>
              <a:gd name="connsiteY319" fmla="*/ 967086 h 1257266"/>
              <a:gd name="connsiteX320" fmla="*/ 4774869 w 5227821"/>
              <a:gd name="connsiteY320" fmla="*/ 1031098 h 1257266"/>
              <a:gd name="connsiteX321" fmla="*/ 4797427 w 5227821"/>
              <a:gd name="connsiteY321" fmla="*/ 1042394 h 1257266"/>
              <a:gd name="connsiteX322" fmla="*/ 4846303 w 5227821"/>
              <a:gd name="connsiteY322" fmla="*/ 1019802 h 1257266"/>
              <a:gd name="connsiteX323" fmla="*/ 4853823 w 5227821"/>
              <a:gd name="connsiteY323" fmla="*/ 1023567 h 1257266"/>
              <a:gd name="connsiteX324" fmla="*/ 4861343 w 5227821"/>
              <a:gd name="connsiteY324" fmla="*/ 1019802 h 1257266"/>
              <a:gd name="connsiteX325" fmla="*/ 4865103 w 5227821"/>
              <a:gd name="connsiteY325" fmla="*/ 1053690 h 1257266"/>
              <a:gd name="connsiteX326" fmla="*/ 4767349 w 5227821"/>
              <a:gd name="connsiteY326" fmla="*/ 1095110 h 1257266"/>
              <a:gd name="connsiteX327" fmla="*/ 4752310 w 5227821"/>
              <a:gd name="connsiteY327" fmla="*/ 1095110 h 1257266"/>
              <a:gd name="connsiteX328" fmla="*/ 4756070 w 5227821"/>
              <a:gd name="connsiteY328" fmla="*/ 1091344 h 1257266"/>
              <a:gd name="connsiteX329" fmla="*/ 4733511 w 5227821"/>
              <a:gd name="connsiteY329" fmla="*/ 1091344 h 1257266"/>
              <a:gd name="connsiteX330" fmla="*/ 4677115 w 5227821"/>
              <a:gd name="connsiteY330" fmla="*/ 1098875 h 1257266"/>
              <a:gd name="connsiteX331" fmla="*/ 4756070 w 5227821"/>
              <a:gd name="connsiteY331" fmla="*/ 1106406 h 1257266"/>
              <a:gd name="connsiteX332" fmla="*/ 4654557 w 5227821"/>
              <a:gd name="connsiteY332" fmla="*/ 1125233 h 1257266"/>
              <a:gd name="connsiteX333" fmla="*/ 4571843 w 5227821"/>
              <a:gd name="connsiteY333" fmla="*/ 1117702 h 1257266"/>
              <a:gd name="connsiteX334" fmla="*/ 4530485 w 5227821"/>
              <a:gd name="connsiteY334" fmla="*/ 1140294 h 1257266"/>
              <a:gd name="connsiteX335" fmla="*/ 4526726 w 5227821"/>
              <a:gd name="connsiteY335" fmla="*/ 1136529 h 1257266"/>
              <a:gd name="connsiteX336" fmla="*/ 4507927 w 5227821"/>
              <a:gd name="connsiteY336" fmla="*/ 1159121 h 1257266"/>
              <a:gd name="connsiteX337" fmla="*/ 4511687 w 5227821"/>
              <a:gd name="connsiteY337" fmla="*/ 1162887 h 1257266"/>
              <a:gd name="connsiteX338" fmla="*/ 4470329 w 5227821"/>
              <a:gd name="connsiteY338" fmla="*/ 1155356 h 1257266"/>
              <a:gd name="connsiteX339" fmla="*/ 4410174 w 5227821"/>
              <a:gd name="connsiteY339" fmla="*/ 1170418 h 1257266"/>
              <a:gd name="connsiteX340" fmla="*/ 4406414 w 5227821"/>
              <a:gd name="connsiteY340" fmla="*/ 1159121 h 1257266"/>
              <a:gd name="connsiteX341" fmla="*/ 4342499 w 5227821"/>
              <a:gd name="connsiteY341" fmla="*/ 1159121 h 1257266"/>
              <a:gd name="connsiteX342" fmla="*/ 4350018 w 5227821"/>
              <a:gd name="connsiteY342" fmla="*/ 1166652 h 1257266"/>
              <a:gd name="connsiteX343" fmla="*/ 4282343 w 5227821"/>
              <a:gd name="connsiteY343" fmla="*/ 1170418 h 1257266"/>
              <a:gd name="connsiteX344" fmla="*/ 4297381 w 5227821"/>
              <a:gd name="connsiteY344" fmla="*/ 1177948 h 1257266"/>
              <a:gd name="connsiteX345" fmla="*/ 4229707 w 5227821"/>
              <a:gd name="connsiteY345" fmla="*/ 1177948 h 1257266"/>
              <a:gd name="connsiteX346" fmla="*/ 4146992 w 5227821"/>
              <a:gd name="connsiteY346" fmla="*/ 1200541 h 1257266"/>
              <a:gd name="connsiteX347" fmla="*/ 4041719 w 5227821"/>
              <a:gd name="connsiteY347" fmla="*/ 1215602 h 1257266"/>
              <a:gd name="connsiteX348" fmla="*/ 3665745 w 5227821"/>
              <a:gd name="connsiteY348" fmla="*/ 1249491 h 1257266"/>
              <a:gd name="connsiteX349" fmla="*/ 3673265 w 5227821"/>
              <a:gd name="connsiteY349" fmla="*/ 1245725 h 1257266"/>
              <a:gd name="connsiteX350" fmla="*/ 3349927 w 5227821"/>
              <a:gd name="connsiteY350" fmla="*/ 1257022 h 1257266"/>
              <a:gd name="connsiteX351" fmla="*/ 3500317 w 5227821"/>
              <a:gd name="connsiteY351" fmla="*/ 1234429 h 1257266"/>
              <a:gd name="connsiteX352" fmla="*/ 3244655 w 5227821"/>
              <a:gd name="connsiteY352" fmla="*/ 1241960 h 1257266"/>
              <a:gd name="connsiteX353" fmla="*/ 3316090 w 5227821"/>
              <a:gd name="connsiteY353" fmla="*/ 1226898 h 1257266"/>
              <a:gd name="connsiteX354" fmla="*/ 3327369 w 5227821"/>
              <a:gd name="connsiteY354" fmla="*/ 1234429 h 1257266"/>
              <a:gd name="connsiteX355" fmla="*/ 3410083 w 5227821"/>
              <a:gd name="connsiteY355" fmla="*/ 1215602 h 1257266"/>
              <a:gd name="connsiteX356" fmla="*/ 3410083 w 5227821"/>
              <a:gd name="connsiteY356" fmla="*/ 1208071 h 1257266"/>
              <a:gd name="connsiteX357" fmla="*/ 3996603 w 5227821"/>
              <a:gd name="connsiteY357" fmla="*/ 1147825 h 1257266"/>
              <a:gd name="connsiteX358" fmla="*/ 4056759 w 5227821"/>
              <a:gd name="connsiteY358" fmla="*/ 1136529 h 1257266"/>
              <a:gd name="connsiteX359" fmla="*/ 4037960 w 5227821"/>
              <a:gd name="connsiteY359" fmla="*/ 1132764 h 1257266"/>
              <a:gd name="connsiteX360" fmla="*/ 4064278 w 5227821"/>
              <a:gd name="connsiteY360" fmla="*/ 1132764 h 1257266"/>
              <a:gd name="connsiteX361" fmla="*/ 4068037 w 5227821"/>
              <a:gd name="connsiteY361" fmla="*/ 1132764 h 1257266"/>
              <a:gd name="connsiteX362" fmla="*/ 4105635 w 5227821"/>
              <a:gd name="connsiteY362" fmla="*/ 1121467 h 1257266"/>
              <a:gd name="connsiteX363" fmla="*/ 4064278 w 5227821"/>
              <a:gd name="connsiteY363" fmla="*/ 1121467 h 1257266"/>
              <a:gd name="connsiteX364" fmla="*/ 3985323 w 5227821"/>
              <a:gd name="connsiteY364" fmla="*/ 1121467 h 1257266"/>
              <a:gd name="connsiteX365" fmla="*/ 3631908 w 5227821"/>
              <a:gd name="connsiteY365" fmla="*/ 1132764 h 1257266"/>
              <a:gd name="connsiteX366" fmla="*/ 3470239 w 5227821"/>
              <a:gd name="connsiteY366" fmla="*/ 1140294 h 1257266"/>
              <a:gd name="connsiteX367" fmla="*/ 2981473 w 5227821"/>
              <a:gd name="connsiteY367" fmla="*/ 1170418 h 1257266"/>
              <a:gd name="connsiteX368" fmla="*/ 2789726 w 5227821"/>
              <a:gd name="connsiteY368" fmla="*/ 1166652 h 1257266"/>
              <a:gd name="connsiteX369" fmla="*/ 2519025 w 5227821"/>
              <a:gd name="connsiteY369" fmla="*/ 1159121 h 1257266"/>
              <a:gd name="connsiteX370" fmla="*/ 2511506 w 5227821"/>
              <a:gd name="connsiteY370" fmla="*/ 1162887 h 1257266"/>
              <a:gd name="connsiteX371" fmla="*/ 2488947 w 5227821"/>
              <a:gd name="connsiteY371" fmla="*/ 1166652 h 1257266"/>
              <a:gd name="connsiteX372" fmla="*/ 2368636 w 5227821"/>
              <a:gd name="connsiteY372" fmla="*/ 1177948 h 1257266"/>
              <a:gd name="connsiteX373" fmla="*/ 2225766 w 5227821"/>
              <a:gd name="connsiteY373" fmla="*/ 1196775 h 1257266"/>
              <a:gd name="connsiteX374" fmla="*/ 1466298 w 5227821"/>
              <a:gd name="connsiteY374" fmla="*/ 1189245 h 1257266"/>
              <a:gd name="connsiteX375" fmla="*/ 1259513 w 5227821"/>
              <a:gd name="connsiteY375" fmla="*/ 1177948 h 1257266"/>
              <a:gd name="connsiteX376" fmla="*/ 992571 w 5227821"/>
              <a:gd name="connsiteY376" fmla="*/ 1162887 h 1257266"/>
              <a:gd name="connsiteX377" fmla="*/ 891058 w 5227821"/>
              <a:gd name="connsiteY377" fmla="*/ 1155356 h 1257266"/>
              <a:gd name="connsiteX378" fmla="*/ 883995 w 5227821"/>
              <a:gd name="connsiteY378" fmla="*/ 1158893 h 1257266"/>
              <a:gd name="connsiteX379" fmla="*/ 876489 w 5227821"/>
              <a:gd name="connsiteY379" fmla="*/ 1158650 h 1257266"/>
              <a:gd name="connsiteX380" fmla="*/ 774506 w 5227821"/>
              <a:gd name="connsiteY380" fmla="*/ 1155356 h 1257266"/>
              <a:gd name="connsiteX381" fmla="*/ 710591 w 5227821"/>
              <a:gd name="connsiteY381" fmla="*/ 1166652 h 1257266"/>
              <a:gd name="connsiteX382" fmla="*/ 530123 w 5227821"/>
              <a:gd name="connsiteY382" fmla="*/ 1166652 h 1257266"/>
              <a:gd name="connsiteX383" fmla="*/ 511325 w 5227821"/>
              <a:gd name="connsiteY383" fmla="*/ 1170418 h 1257266"/>
              <a:gd name="connsiteX384" fmla="*/ 507565 w 5227821"/>
              <a:gd name="connsiteY384" fmla="*/ 1170418 h 1257266"/>
              <a:gd name="connsiteX385" fmla="*/ 488766 w 5227821"/>
              <a:gd name="connsiteY385" fmla="*/ 1174183 h 1257266"/>
              <a:gd name="connsiteX386" fmla="*/ 424851 w 5227821"/>
              <a:gd name="connsiteY386" fmla="*/ 1170418 h 1257266"/>
              <a:gd name="connsiteX387" fmla="*/ 421091 w 5227821"/>
              <a:gd name="connsiteY387" fmla="*/ 1162887 h 1257266"/>
              <a:gd name="connsiteX388" fmla="*/ 398533 w 5227821"/>
              <a:gd name="connsiteY388" fmla="*/ 1170418 h 1257266"/>
              <a:gd name="connsiteX389" fmla="*/ 357175 w 5227821"/>
              <a:gd name="connsiteY389" fmla="*/ 1159121 h 1257266"/>
              <a:gd name="connsiteX390" fmla="*/ 334617 w 5227821"/>
              <a:gd name="connsiteY390" fmla="*/ 1162887 h 1257266"/>
              <a:gd name="connsiteX391" fmla="*/ 338376 w 5227821"/>
              <a:gd name="connsiteY391" fmla="*/ 1155356 h 1257266"/>
              <a:gd name="connsiteX392" fmla="*/ 300779 w 5227821"/>
              <a:gd name="connsiteY392" fmla="*/ 1155356 h 1257266"/>
              <a:gd name="connsiteX393" fmla="*/ 233104 w 5227821"/>
              <a:gd name="connsiteY393" fmla="*/ 1140294 h 1257266"/>
              <a:gd name="connsiteX394" fmla="*/ 353415 w 5227821"/>
              <a:gd name="connsiteY394" fmla="*/ 1125233 h 1257266"/>
              <a:gd name="connsiteX395" fmla="*/ 315818 w 5227821"/>
              <a:gd name="connsiteY395" fmla="*/ 1125233 h 1257266"/>
              <a:gd name="connsiteX396" fmla="*/ 327097 w 5227821"/>
              <a:gd name="connsiteY396" fmla="*/ 1110171 h 1257266"/>
              <a:gd name="connsiteX397" fmla="*/ 274461 w 5227821"/>
              <a:gd name="connsiteY397" fmla="*/ 1102641 h 1257266"/>
              <a:gd name="connsiteX398" fmla="*/ 387253 w 5227821"/>
              <a:gd name="connsiteY398" fmla="*/ 1095110 h 1257266"/>
              <a:gd name="connsiteX399" fmla="*/ 334617 w 5227821"/>
              <a:gd name="connsiteY399" fmla="*/ 1095110 h 1257266"/>
              <a:gd name="connsiteX400" fmla="*/ 312058 w 5227821"/>
              <a:gd name="connsiteY400" fmla="*/ 1083814 h 1257266"/>
              <a:gd name="connsiteX401" fmla="*/ 338376 w 5227821"/>
              <a:gd name="connsiteY401" fmla="*/ 1072517 h 1257266"/>
              <a:gd name="connsiteX402" fmla="*/ 372214 w 5227821"/>
              <a:gd name="connsiteY402" fmla="*/ 1046160 h 1257266"/>
              <a:gd name="connsiteX403" fmla="*/ 293259 w 5227821"/>
              <a:gd name="connsiteY403" fmla="*/ 1064987 h 1257266"/>
              <a:gd name="connsiteX404" fmla="*/ 281980 w 5227821"/>
              <a:gd name="connsiteY404" fmla="*/ 1034863 h 1257266"/>
              <a:gd name="connsiteX405" fmla="*/ 308298 w 5227821"/>
              <a:gd name="connsiteY405" fmla="*/ 985913 h 1257266"/>
              <a:gd name="connsiteX406" fmla="*/ 323337 w 5227821"/>
              <a:gd name="connsiteY406" fmla="*/ 978383 h 1257266"/>
              <a:gd name="connsiteX407" fmla="*/ 263181 w 5227821"/>
              <a:gd name="connsiteY407" fmla="*/ 970852 h 1257266"/>
              <a:gd name="connsiteX408" fmla="*/ 300779 w 5227821"/>
              <a:gd name="connsiteY408" fmla="*/ 918136 h 1257266"/>
              <a:gd name="connsiteX409" fmla="*/ 330857 w 5227821"/>
              <a:gd name="connsiteY409" fmla="*/ 914371 h 1257266"/>
              <a:gd name="connsiteX410" fmla="*/ 67675 w 5227821"/>
              <a:gd name="connsiteY410" fmla="*/ 831532 h 1257266"/>
              <a:gd name="connsiteX411" fmla="*/ 11279 w 5227821"/>
              <a:gd name="connsiteY411" fmla="*/ 824001 h 1257266"/>
              <a:gd name="connsiteX412" fmla="*/ 0 w 5227821"/>
              <a:gd name="connsiteY412" fmla="*/ 820236 h 1257266"/>
              <a:gd name="connsiteX413" fmla="*/ 30078 w 5227821"/>
              <a:gd name="connsiteY413" fmla="*/ 820236 h 1257266"/>
              <a:gd name="connsiteX414" fmla="*/ 33837 w 5227821"/>
              <a:gd name="connsiteY414" fmla="*/ 824001 h 1257266"/>
              <a:gd name="connsiteX415" fmla="*/ 45117 w 5227821"/>
              <a:gd name="connsiteY415" fmla="*/ 820236 h 1257266"/>
              <a:gd name="connsiteX416" fmla="*/ 45117 w 5227821"/>
              <a:gd name="connsiteY416" fmla="*/ 812705 h 1257266"/>
              <a:gd name="connsiteX417" fmla="*/ 236863 w 5227821"/>
              <a:gd name="connsiteY417" fmla="*/ 865421 h 1257266"/>
              <a:gd name="connsiteX418" fmla="*/ 240623 w 5227821"/>
              <a:gd name="connsiteY418" fmla="*/ 861655 h 1257266"/>
              <a:gd name="connsiteX419" fmla="*/ 259422 w 5227821"/>
              <a:gd name="connsiteY419" fmla="*/ 869186 h 1257266"/>
              <a:gd name="connsiteX420" fmla="*/ 270701 w 5227821"/>
              <a:gd name="connsiteY420" fmla="*/ 861655 h 1257266"/>
              <a:gd name="connsiteX421" fmla="*/ 274461 w 5227821"/>
              <a:gd name="connsiteY421" fmla="*/ 865421 h 1257266"/>
              <a:gd name="connsiteX422" fmla="*/ 278220 w 5227821"/>
              <a:gd name="connsiteY422" fmla="*/ 861655 h 1257266"/>
              <a:gd name="connsiteX423" fmla="*/ 233104 w 5227821"/>
              <a:gd name="connsiteY423" fmla="*/ 857890 h 1257266"/>
              <a:gd name="connsiteX424" fmla="*/ 278220 w 5227821"/>
              <a:gd name="connsiteY424" fmla="*/ 842828 h 1257266"/>
              <a:gd name="connsiteX425" fmla="*/ 293259 w 5227821"/>
              <a:gd name="connsiteY425" fmla="*/ 842828 h 1257266"/>
              <a:gd name="connsiteX426" fmla="*/ 278220 w 5227821"/>
              <a:gd name="connsiteY426" fmla="*/ 854125 h 1257266"/>
              <a:gd name="connsiteX427" fmla="*/ 312058 w 5227821"/>
              <a:gd name="connsiteY427" fmla="*/ 857890 h 1257266"/>
              <a:gd name="connsiteX428" fmla="*/ 312058 w 5227821"/>
              <a:gd name="connsiteY428" fmla="*/ 842828 h 1257266"/>
              <a:gd name="connsiteX429" fmla="*/ 308298 w 5227821"/>
              <a:gd name="connsiteY429" fmla="*/ 839063 h 1257266"/>
              <a:gd name="connsiteX430" fmla="*/ 304539 w 5227821"/>
              <a:gd name="connsiteY430" fmla="*/ 839063 h 1257266"/>
              <a:gd name="connsiteX431" fmla="*/ 308298 w 5227821"/>
              <a:gd name="connsiteY431" fmla="*/ 835298 h 1257266"/>
              <a:gd name="connsiteX432" fmla="*/ 297019 w 5227821"/>
              <a:gd name="connsiteY432" fmla="*/ 831532 h 1257266"/>
              <a:gd name="connsiteX433" fmla="*/ 270701 w 5227821"/>
              <a:gd name="connsiteY433" fmla="*/ 835298 h 1257266"/>
              <a:gd name="connsiteX434" fmla="*/ 312058 w 5227821"/>
              <a:gd name="connsiteY434" fmla="*/ 820236 h 1257266"/>
              <a:gd name="connsiteX435" fmla="*/ 308298 w 5227821"/>
              <a:gd name="connsiteY435" fmla="*/ 816471 h 1257266"/>
              <a:gd name="connsiteX436" fmla="*/ 353415 w 5227821"/>
              <a:gd name="connsiteY436" fmla="*/ 793878 h 1257266"/>
              <a:gd name="connsiteX437" fmla="*/ 334617 w 5227821"/>
              <a:gd name="connsiteY437" fmla="*/ 790113 h 1257266"/>
              <a:gd name="connsiteX438" fmla="*/ 233104 w 5227821"/>
              <a:gd name="connsiteY438" fmla="*/ 824001 h 1257266"/>
              <a:gd name="connsiteX439" fmla="*/ 161669 w 5227821"/>
              <a:gd name="connsiteY439" fmla="*/ 839063 h 1257266"/>
              <a:gd name="connsiteX440" fmla="*/ 184227 w 5227821"/>
              <a:gd name="connsiteY440" fmla="*/ 827767 h 1257266"/>
              <a:gd name="connsiteX441" fmla="*/ 176707 w 5227821"/>
              <a:gd name="connsiteY441" fmla="*/ 827767 h 1257266"/>
              <a:gd name="connsiteX442" fmla="*/ 251902 w 5227821"/>
              <a:gd name="connsiteY442" fmla="*/ 805175 h 1257266"/>
              <a:gd name="connsiteX443" fmla="*/ 274461 w 5227821"/>
              <a:gd name="connsiteY443" fmla="*/ 797644 h 1257266"/>
              <a:gd name="connsiteX444" fmla="*/ 281980 w 5227821"/>
              <a:gd name="connsiteY444" fmla="*/ 797644 h 1257266"/>
              <a:gd name="connsiteX445" fmla="*/ 297019 w 5227821"/>
              <a:gd name="connsiteY445" fmla="*/ 790113 h 1257266"/>
              <a:gd name="connsiteX446" fmla="*/ 293259 w 5227821"/>
              <a:gd name="connsiteY446" fmla="*/ 786348 h 1257266"/>
              <a:gd name="connsiteX447" fmla="*/ 327097 w 5227821"/>
              <a:gd name="connsiteY447" fmla="*/ 763755 h 1257266"/>
              <a:gd name="connsiteX448" fmla="*/ 236863 w 5227821"/>
              <a:gd name="connsiteY448" fmla="*/ 786348 h 1257266"/>
              <a:gd name="connsiteX449" fmla="*/ 199266 w 5227821"/>
              <a:gd name="connsiteY449" fmla="*/ 790113 h 1257266"/>
              <a:gd name="connsiteX450" fmla="*/ 330857 w 5227821"/>
              <a:gd name="connsiteY450" fmla="*/ 726101 h 1257266"/>
              <a:gd name="connsiteX451" fmla="*/ 357175 w 5227821"/>
              <a:gd name="connsiteY451" fmla="*/ 699743 h 1257266"/>
              <a:gd name="connsiteX452" fmla="*/ 364695 w 5227821"/>
              <a:gd name="connsiteY452" fmla="*/ 699743 h 1257266"/>
              <a:gd name="connsiteX453" fmla="*/ 364695 w 5227821"/>
              <a:gd name="connsiteY453" fmla="*/ 688447 h 1257266"/>
              <a:gd name="connsiteX454" fmla="*/ 402292 w 5227821"/>
              <a:gd name="connsiteY454" fmla="*/ 650793 h 1257266"/>
              <a:gd name="connsiteX455" fmla="*/ 511325 w 5227821"/>
              <a:gd name="connsiteY455" fmla="*/ 579251 h 1257266"/>
              <a:gd name="connsiteX456" fmla="*/ 551742 w 5227821"/>
              <a:gd name="connsiteY456" fmla="*/ 534537 h 1257266"/>
              <a:gd name="connsiteX457" fmla="*/ 561872 w 5227821"/>
              <a:gd name="connsiteY457" fmla="*/ 527136 h 1257266"/>
              <a:gd name="connsiteX458" fmla="*/ 558113 w 5227821"/>
              <a:gd name="connsiteY458" fmla="*/ 526214 h 1257266"/>
              <a:gd name="connsiteX459" fmla="*/ 429342 w 5227821"/>
              <a:gd name="connsiteY459" fmla="*/ 481970 h 1257266"/>
              <a:gd name="connsiteX460" fmla="*/ 372945 w 5227821"/>
              <a:gd name="connsiteY460" fmla="*/ 474440 h 1257266"/>
              <a:gd name="connsiteX461" fmla="*/ 361666 w 5227821"/>
              <a:gd name="connsiteY461" fmla="*/ 470674 h 1257266"/>
              <a:gd name="connsiteX462" fmla="*/ 391744 w 5227821"/>
              <a:gd name="connsiteY462" fmla="*/ 470674 h 1257266"/>
              <a:gd name="connsiteX463" fmla="*/ 395504 w 5227821"/>
              <a:gd name="connsiteY463" fmla="*/ 474440 h 1257266"/>
              <a:gd name="connsiteX464" fmla="*/ 406783 w 5227821"/>
              <a:gd name="connsiteY464" fmla="*/ 470674 h 1257266"/>
              <a:gd name="connsiteX465" fmla="*/ 406783 w 5227821"/>
              <a:gd name="connsiteY465" fmla="*/ 463144 h 1257266"/>
              <a:gd name="connsiteX466" fmla="*/ 495607 w 5227821"/>
              <a:gd name="connsiteY466" fmla="*/ 493737 h 1257266"/>
              <a:gd name="connsiteX467" fmla="*/ 582131 w 5227821"/>
              <a:gd name="connsiteY467" fmla="*/ 512335 h 1257266"/>
              <a:gd name="connsiteX468" fmla="*/ 609078 w 5227821"/>
              <a:gd name="connsiteY468" fmla="*/ 492647 h 1257266"/>
              <a:gd name="connsiteX469" fmla="*/ 618947 w 5227821"/>
              <a:gd name="connsiteY469" fmla="*/ 494530 h 1257266"/>
              <a:gd name="connsiteX470" fmla="*/ 624178 w 5227821"/>
              <a:gd name="connsiteY470" fmla="*/ 495306 h 1257266"/>
              <a:gd name="connsiteX471" fmla="*/ 639060 w 5227821"/>
              <a:gd name="connsiteY471" fmla="*/ 493374 h 1257266"/>
              <a:gd name="connsiteX472" fmla="*/ 653196 w 5227821"/>
              <a:gd name="connsiteY472" fmla="*/ 487588 h 1257266"/>
              <a:gd name="connsiteX473" fmla="*/ 661962 w 5227821"/>
              <a:gd name="connsiteY473" fmla="*/ 483064 h 1257266"/>
              <a:gd name="connsiteX474" fmla="*/ 658686 w 5227821"/>
              <a:gd name="connsiteY474" fmla="*/ 481970 h 1257266"/>
              <a:gd name="connsiteX475" fmla="*/ 632367 w 5227821"/>
              <a:gd name="connsiteY475" fmla="*/ 485736 h 1257266"/>
              <a:gd name="connsiteX476" fmla="*/ 673725 w 5227821"/>
              <a:gd name="connsiteY476" fmla="*/ 470674 h 1257266"/>
              <a:gd name="connsiteX477" fmla="*/ 669965 w 5227821"/>
              <a:gd name="connsiteY477" fmla="*/ 466909 h 1257266"/>
              <a:gd name="connsiteX478" fmla="*/ 715082 w 5227821"/>
              <a:gd name="connsiteY478" fmla="*/ 444317 h 1257266"/>
              <a:gd name="connsiteX479" fmla="*/ 696283 w 5227821"/>
              <a:gd name="connsiteY479" fmla="*/ 440551 h 1257266"/>
              <a:gd name="connsiteX480" fmla="*/ 594770 w 5227821"/>
              <a:gd name="connsiteY480" fmla="*/ 474440 h 1257266"/>
              <a:gd name="connsiteX481" fmla="*/ 523335 w 5227821"/>
              <a:gd name="connsiteY481" fmla="*/ 489501 h 1257266"/>
              <a:gd name="connsiteX482" fmla="*/ 545893 w 5227821"/>
              <a:gd name="connsiteY482" fmla="*/ 478205 h 1257266"/>
              <a:gd name="connsiteX483" fmla="*/ 538374 w 5227821"/>
              <a:gd name="connsiteY483" fmla="*/ 478205 h 1257266"/>
              <a:gd name="connsiteX484" fmla="*/ 613569 w 5227821"/>
              <a:gd name="connsiteY484" fmla="*/ 455613 h 1257266"/>
              <a:gd name="connsiteX485" fmla="*/ 636127 w 5227821"/>
              <a:gd name="connsiteY485" fmla="*/ 448082 h 1257266"/>
              <a:gd name="connsiteX486" fmla="*/ 643647 w 5227821"/>
              <a:gd name="connsiteY486" fmla="*/ 448082 h 1257266"/>
              <a:gd name="connsiteX487" fmla="*/ 658686 w 5227821"/>
              <a:gd name="connsiteY487" fmla="*/ 440551 h 1257266"/>
              <a:gd name="connsiteX488" fmla="*/ 654926 w 5227821"/>
              <a:gd name="connsiteY488" fmla="*/ 436786 h 1257266"/>
              <a:gd name="connsiteX489" fmla="*/ 688764 w 5227821"/>
              <a:gd name="connsiteY489" fmla="*/ 414193 h 1257266"/>
              <a:gd name="connsiteX490" fmla="*/ 598530 w 5227821"/>
              <a:gd name="connsiteY490" fmla="*/ 436786 h 1257266"/>
              <a:gd name="connsiteX491" fmla="*/ 560932 w 5227821"/>
              <a:gd name="connsiteY491" fmla="*/ 440551 h 1257266"/>
              <a:gd name="connsiteX492" fmla="*/ 692523 w 5227821"/>
              <a:gd name="connsiteY492" fmla="*/ 376539 h 1257266"/>
              <a:gd name="connsiteX493" fmla="*/ 718841 w 5227821"/>
              <a:gd name="connsiteY493" fmla="*/ 350182 h 1257266"/>
              <a:gd name="connsiteX494" fmla="*/ 726361 w 5227821"/>
              <a:gd name="connsiteY494" fmla="*/ 350182 h 1257266"/>
              <a:gd name="connsiteX495" fmla="*/ 726361 w 5227821"/>
              <a:gd name="connsiteY495" fmla="*/ 338886 h 1257266"/>
              <a:gd name="connsiteX496" fmla="*/ 763958 w 5227821"/>
              <a:gd name="connsiteY496" fmla="*/ 301232 h 1257266"/>
              <a:gd name="connsiteX497" fmla="*/ 872991 w 5227821"/>
              <a:gd name="connsiteY497" fmla="*/ 229689 h 1257266"/>
              <a:gd name="connsiteX498" fmla="*/ 970744 w 5227821"/>
              <a:gd name="connsiteY498" fmla="*/ 143085 h 1257266"/>
              <a:gd name="connsiteX499" fmla="*/ 993302 w 5227821"/>
              <a:gd name="connsiteY499" fmla="*/ 146851 h 1257266"/>
              <a:gd name="connsiteX500" fmla="*/ 1087296 w 5227821"/>
              <a:gd name="connsiteY500" fmla="*/ 124258 h 1257266"/>
              <a:gd name="connsiteX501" fmla="*/ 1109854 w 5227821"/>
              <a:gd name="connsiteY501" fmla="*/ 120493 h 1257266"/>
              <a:gd name="connsiteX502" fmla="*/ 1109854 w 5227821"/>
              <a:gd name="connsiteY502" fmla="*/ 112962 h 1257266"/>
              <a:gd name="connsiteX503" fmla="*/ 1173770 w 5227821"/>
              <a:gd name="connsiteY503" fmla="*/ 120493 h 1257266"/>
              <a:gd name="connsiteX504" fmla="*/ 1166250 w 5227821"/>
              <a:gd name="connsiteY504" fmla="*/ 131789 h 1257266"/>
              <a:gd name="connsiteX505" fmla="*/ 1290322 w 5227821"/>
              <a:gd name="connsiteY505" fmla="*/ 154381 h 1257266"/>
              <a:gd name="connsiteX506" fmla="*/ 1286562 w 5227821"/>
              <a:gd name="connsiteY506" fmla="*/ 158147 h 1257266"/>
              <a:gd name="connsiteX507" fmla="*/ 1316640 w 5227821"/>
              <a:gd name="connsiteY507" fmla="*/ 161912 h 1257266"/>
              <a:gd name="connsiteX508" fmla="*/ 1399354 w 5227821"/>
              <a:gd name="connsiteY508" fmla="*/ 101666 h 1257266"/>
              <a:gd name="connsiteX509" fmla="*/ 1380555 w 5227821"/>
              <a:gd name="connsiteY509" fmla="*/ 82839 h 1257266"/>
              <a:gd name="connsiteX510" fmla="*/ 1369276 w 5227821"/>
              <a:gd name="connsiteY510" fmla="*/ 90370 h 1257266"/>
              <a:gd name="connsiteX511" fmla="*/ 1369276 w 5227821"/>
              <a:gd name="connsiteY511" fmla="*/ 86604 h 1257266"/>
              <a:gd name="connsiteX512" fmla="*/ 1275283 w 5227821"/>
              <a:gd name="connsiteY512" fmla="*/ 86604 h 1257266"/>
              <a:gd name="connsiteX513" fmla="*/ 1252724 w 5227821"/>
              <a:gd name="connsiteY513" fmla="*/ 97900 h 1257266"/>
              <a:gd name="connsiteX514" fmla="*/ 1282802 w 5227821"/>
              <a:gd name="connsiteY514" fmla="*/ 71543 h 1257266"/>
              <a:gd name="connsiteX515" fmla="*/ 1309120 w 5227821"/>
              <a:gd name="connsiteY515" fmla="*/ 67777 h 1257266"/>
              <a:gd name="connsiteX516" fmla="*/ 1399354 w 5227821"/>
              <a:gd name="connsiteY516" fmla="*/ 82839 h 1257266"/>
              <a:gd name="connsiteX517" fmla="*/ 1455750 w 5227821"/>
              <a:gd name="connsiteY517" fmla="*/ 56481 h 1257266"/>
              <a:gd name="connsiteX518" fmla="*/ 1440711 w 5227821"/>
              <a:gd name="connsiteY518" fmla="*/ 52716 h 1257266"/>
              <a:gd name="connsiteX519" fmla="*/ 1508387 w 5227821"/>
              <a:gd name="connsiteY519" fmla="*/ 22593 h 1257266"/>
              <a:gd name="connsiteX520" fmla="*/ 1474549 w 5227821"/>
              <a:gd name="connsiteY520" fmla="*/ 18827 h 1257266"/>
              <a:gd name="connsiteX521" fmla="*/ 1594861 w 5227821"/>
              <a:gd name="connsiteY521" fmla="*/ 0 h 1257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</a:cxnLst>
            <a:rect l="l" t="t" r="r" b="b"/>
            <a:pathLst>
              <a:path w="5227821" h="1257266">
                <a:moveTo>
                  <a:pt x="883995" y="1158893"/>
                </a:moveTo>
                <a:lnTo>
                  <a:pt x="891058" y="1159121"/>
                </a:lnTo>
                <a:cubicBezTo>
                  <a:pt x="883539" y="1159121"/>
                  <a:pt x="883539" y="1159121"/>
                  <a:pt x="883539" y="1159121"/>
                </a:cubicBezTo>
                <a:close/>
                <a:moveTo>
                  <a:pt x="4615788" y="826594"/>
                </a:moveTo>
                <a:lnTo>
                  <a:pt x="4616959" y="827767"/>
                </a:lnTo>
                <a:lnTo>
                  <a:pt x="4617450" y="827029"/>
                </a:lnTo>
                <a:close/>
                <a:moveTo>
                  <a:pt x="4610559" y="825984"/>
                </a:moveTo>
                <a:lnTo>
                  <a:pt x="4591373" y="828386"/>
                </a:lnTo>
                <a:lnTo>
                  <a:pt x="4584680" y="830752"/>
                </a:lnTo>
                <a:lnTo>
                  <a:pt x="4583122" y="831532"/>
                </a:lnTo>
                <a:cubicBezTo>
                  <a:pt x="4583122" y="835298"/>
                  <a:pt x="4590641" y="835298"/>
                  <a:pt x="4598161" y="835298"/>
                </a:cubicBezTo>
                <a:cubicBezTo>
                  <a:pt x="4598161" y="835298"/>
                  <a:pt x="4598161" y="835298"/>
                  <a:pt x="4600041" y="833886"/>
                </a:cubicBezTo>
                <a:close/>
                <a:moveTo>
                  <a:pt x="4763331" y="809097"/>
                </a:moveTo>
                <a:lnTo>
                  <a:pt x="4764025" y="815097"/>
                </a:lnTo>
                <a:lnTo>
                  <a:pt x="4768080" y="809559"/>
                </a:lnTo>
                <a:close/>
                <a:moveTo>
                  <a:pt x="4653526" y="808089"/>
                </a:moveTo>
                <a:cubicBezTo>
                  <a:pt x="4649178" y="809559"/>
                  <a:pt x="4645889" y="813325"/>
                  <a:pt x="4644009" y="820856"/>
                </a:cubicBezTo>
                <a:cubicBezTo>
                  <a:pt x="4647769" y="824621"/>
                  <a:pt x="4655288" y="824621"/>
                  <a:pt x="4659047" y="828386"/>
                </a:cubicBezTo>
                <a:lnTo>
                  <a:pt x="4642634" y="833009"/>
                </a:lnTo>
                <a:lnTo>
                  <a:pt x="4658317" y="846594"/>
                </a:lnTo>
                <a:cubicBezTo>
                  <a:pt x="4680875" y="839063"/>
                  <a:pt x="4677115" y="827767"/>
                  <a:pt x="4684635" y="816471"/>
                </a:cubicBezTo>
                <a:lnTo>
                  <a:pt x="4683861" y="813370"/>
                </a:lnTo>
                <a:lnTo>
                  <a:pt x="4669387" y="809089"/>
                </a:lnTo>
                <a:cubicBezTo>
                  <a:pt x="4663277" y="807441"/>
                  <a:pt x="4657873" y="806618"/>
                  <a:pt x="4653526" y="808089"/>
                </a:cubicBezTo>
                <a:close/>
                <a:moveTo>
                  <a:pt x="4720496" y="800558"/>
                </a:moveTo>
                <a:cubicBezTo>
                  <a:pt x="4715209" y="801322"/>
                  <a:pt x="4709804" y="803911"/>
                  <a:pt x="4704165" y="809559"/>
                </a:cubicBezTo>
                <a:cubicBezTo>
                  <a:pt x="4704165" y="809559"/>
                  <a:pt x="4704165" y="809559"/>
                  <a:pt x="4711684" y="817090"/>
                </a:cubicBezTo>
                <a:lnTo>
                  <a:pt x="4703433" y="816325"/>
                </a:lnTo>
                <a:lnTo>
                  <a:pt x="4703433" y="824001"/>
                </a:lnTo>
                <a:cubicBezTo>
                  <a:pt x="4703433" y="824001"/>
                  <a:pt x="4703433" y="824001"/>
                  <a:pt x="4718473" y="820236"/>
                </a:cubicBezTo>
                <a:cubicBezTo>
                  <a:pt x="4725992" y="827767"/>
                  <a:pt x="4729751" y="839063"/>
                  <a:pt x="4733511" y="846594"/>
                </a:cubicBezTo>
                <a:cubicBezTo>
                  <a:pt x="4725992" y="842828"/>
                  <a:pt x="4718473" y="842828"/>
                  <a:pt x="4710953" y="850359"/>
                </a:cubicBezTo>
                <a:cubicBezTo>
                  <a:pt x="4710953" y="850359"/>
                  <a:pt x="4710953" y="850359"/>
                  <a:pt x="4692155" y="842828"/>
                </a:cubicBezTo>
                <a:cubicBezTo>
                  <a:pt x="4680875" y="846594"/>
                  <a:pt x="4665836" y="846594"/>
                  <a:pt x="4658317" y="854125"/>
                </a:cubicBezTo>
                <a:cubicBezTo>
                  <a:pt x="4658317" y="854125"/>
                  <a:pt x="4658317" y="854125"/>
                  <a:pt x="4677115" y="854125"/>
                </a:cubicBezTo>
                <a:cubicBezTo>
                  <a:pt x="4677115" y="854125"/>
                  <a:pt x="4677115" y="854125"/>
                  <a:pt x="4673355" y="857890"/>
                </a:cubicBezTo>
                <a:cubicBezTo>
                  <a:pt x="4707193" y="854125"/>
                  <a:pt x="4722232" y="861655"/>
                  <a:pt x="4741031" y="857890"/>
                </a:cubicBezTo>
                <a:cubicBezTo>
                  <a:pt x="4744791" y="861655"/>
                  <a:pt x="4744791" y="861655"/>
                  <a:pt x="4748551" y="861655"/>
                </a:cubicBezTo>
                <a:cubicBezTo>
                  <a:pt x="4752310" y="861655"/>
                  <a:pt x="4752310" y="857890"/>
                  <a:pt x="4752310" y="857890"/>
                </a:cubicBezTo>
                <a:cubicBezTo>
                  <a:pt x="4756070" y="854125"/>
                  <a:pt x="4759829" y="854125"/>
                  <a:pt x="4763589" y="854125"/>
                </a:cubicBezTo>
                <a:cubicBezTo>
                  <a:pt x="4763589" y="850359"/>
                  <a:pt x="4759829" y="854125"/>
                  <a:pt x="4752310" y="854125"/>
                </a:cubicBezTo>
                <a:cubicBezTo>
                  <a:pt x="4752310" y="846594"/>
                  <a:pt x="4748551" y="842828"/>
                  <a:pt x="4756070" y="835298"/>
                </a:cubicBezTo>
                <a:cubicBezTo>
                  <a:pt x="4750430" y="829650"/>
                  <a:pt x="4745731" y="824001"/>
                  <a:pt x="4744321" y="817412"/>
                </a:cubicBezTo>
                <a:lnTo>
                  <a:pt x="4747974" y="806649"/>
                </a:lnTo>
                <a:lnTo>
                  <a:pt x="4736122" y="802499"/>
                </a:lnTo>
                <a:cubicBezTo>
                  <a:pt x="4730953" y="800852"/>
                  <a:pt x="4725783" y="799793"/>
                  <a:pt x="4720496" y="800558"/>
                </a:cubicBezTo>
                <a:close/>
                <a:moveTo>
                  <a:pt x="1676438" y="90716"/>
                </a:moveTo>
                <a:lnTo>
                  <a:pt x="1850993" y="94135"/>
                </a:lnTo>
                <a:cubicBezTo>
                  <a:pt x="1918198" y="94135"/>
                  <a:pt x="1985874" y="94135"/>
                  <a:pt x="2046029" y="97900"/>
                </a:cubicBezTo>
                <a:cubicBezTo>
                  <a:pt x="2046029" y="97900"/>
                  <a:pt x="2046029" y="97900"/>
                  <a:pt x="2057308" y="101666"/>
                </a:cubicBezTo>
                <a:cubicBezTo>
                  <a:pt x="1997153" y="97900"/>
                  <a:pt x="1910679" y="112962"/>
                  <a:pt x="1850523" y="97900"/>
                </a:cubicBezTo>
                <a:cubicBezTo>
                  <a:pt x="1797886" y="101666"/>
                  <a:pt x="1737731" y="94135"/>
                  <a:pt x="1692614" y="94135"/>
                </a:cubicBezTo>
                <a:close/>
                <a:moveTo>
                  <a:pt x="1675636" y="90546"/>
                </a:moveTo>
                <a:lnTo>
                  <a:pt x="1676438" y="90716"/>
                </a:lnTo>
                <a:lnTo>
                  <a:pt x="1674865" y="90685"/>
                </a:lnTo>
                <a:close/>
                <a:moveTo>
                  <a:pt x="2005634" y="36919"/>
                </a:moveTo>
                <a:lnTo>
                  <a:pt x="2008432" y="37654"/>
                </a:lnTo>
                <a:cubicBezTo>
                  <a:pt x="2000912" y="37654"/>
                  <a:pt x="2000912" y="37654"/>
                  <a:pt x="2000912" y="37654"/>
                </a:cubicBezTo>
                <a:close/>
                <a:moveTo>
                  <a:pt x="1594861" y="0"/>
                </a:moveTo>
                <a:cubicBezTo>
                  <a:pt x="1621179" y="0"/>
                  <a:pt x="1651257" y="0"/>
                  <a:pt x="1655016" y="11296"/>
                </a:cubicBezTo>
                <a:cubicBezTo>
                  <a:pt x="1658776" y="15062"/>
                  <a:pt x="1655016" y="15062"/>
                  <a:pt x="1651257" y="18827"/>
                </a:cubicBezTo>
                <a:cubicBezTo>
                  <a:pt x="1685094" y="22593"/>
                  <a:pt x="1730211" y="22593"/>
                  <a:pt x="1767809" y="22593"/>
                </a:cubicBezTo>
                <a:cubicBezTo>
                  <a:pt x="1925718" y="26358"/>
                  <a:pt x="2079867" y="30123"/>
                  <a:pt x="2230256" y="26358"/>
                </a:cubicBezTo>
                <a:cubicBezTo>
                  <a:pt x="2241536" y="30123"/>
                  <a:pt x="2256575" y="33889"/>
                  <a:pt x="2275373" y="30123"/>
                </a:cubicBezTo>
                <a:cubicBezTo>
                  <a:pt x="2218977" y="41420"/>
                  <a:pt x="2117464" y="33889"/>
                  <a:pt x="2046029" y="33889"/>
                </a:cubicBezTo>
                <a:cubicBezTo>
                  <a:pt x="2036630" y="32006"/>
                  <a:pt x="2029111" y="32947"/>
                  <a:pt x="2022061" y="34359"/>
                </a:cubicBezTo>
                <a:lnTo>
                  <a:pt x="2005634" y="36919"/>
                </a:lnTo>
                <a:lnTo>
                  <a:pt x="1983817" y="31183"/>
                </a:lnTo>
                <a:cubicBezTo>
                  <a:pt x="1955091" y="28711"/>
                  <a:pt x="1916318" y="35772"/>
                  <a:pt x="1888120" y="30123"/>
                </a:cubicBezTo>
                <a:cubicBezTo>
                  <a:pt x="1805406" y="30123"/>
                  <a:pt x="1749010" y="22593"/>
                  <a:pt x="1662536" y="26358"/>
                </a:cubicBezTo>
                <a:cubicBezTo>
                  <a:pt x="1655016" y="30123"/>
                  <a:pt x="1655016" y="33889"/>
                  <a:pt x="1655016" y="37654"/>
                </a:cubicBezTo>
                <a:cubicBezTo>
                  <a:pt x="1636218" y="37654"/>
                  <a:pt x="1617419" y="37654"/>
                  <a:pt x="1609900" y="30123"/>
                </a:cubicBezTo>
                <a:cubicBezTo>
                  <a:pt x="1591101" y="41420"/>
                  <a:pt x="1572302" y="41420"/>
                  <a:pt x="1553503" y="52716"/>
                </a:cubicBezTo>
                <a:cubicBezTo>
                  <a:pt x="1553503" y="52716"/>
                  <a:pt x="1553503" y="52716"/>
                  <a:pt x="1587341" y="56481"/>
                </a:cubicBezTo>
                <a:cubicBezTo>
                  <a:pt x="1579822" y="64012"/>
                  <a:pt x="1557263" y="64012"/>
                  <a:pt x="1542224" y="56481"/>
                </a:cubicBezTo>
                <a:cubicBezTo>
                  <a:pt x="1515906" y="56481"/>
                  <a:pt x="1549744" y="67777"/>
                  <a:pt x="1527185" y="71543"/>
                </a:cubicBezTo>
                <a:cubicBezTo>
                  <a:pt x="1527185" y="71543"/>
                  <a:pt x="1527185" y="71543"/>
                  <a:pt x="1478309" y="79073"/>
                </a:cubicBezTo>
                <a:cubicBezTo>
                  <a:pt x="1527185" y="90370"/>
                  <a:pt x="1609900" y="82839"/>
                  <a:pt x="1658776" y="90370"/>
                </a:cubicBezTo>
                <a:lnTo>
                  <a:pt x="1674865" y="90685"/>
                </a:lnTo>
                <a:lnTo>
                  <a:pt x="1658306" y="93664"/>
                </a:lnTo>
                <a:cubicBezTo>
                  <a:pt x="1646557" y="96959"/>
                  <a:pt x="1634338" y="101666"/>
                  <a:pt x="1621179" y="101666"/>
                </a:cubicBezTo>
                <a:cubicBezTo>
                  <a:pt x="1613659" y="109197"/>
                  <a:pt x="1598620" y="116727"/>
                  <a:pt x="1579822" y="128024"/>
                </a:cubicBezTo>
                <a:cubicBezTo>
                  <a:pt x="1579822" y="128024"/>
                  <a:pt x="1579822" y="128024"/>
                  <a:pt x="1576062" y="120493"/>
                </a:cubicBezTo>
                <a:cubicBezTo>
                  <a:pt x="1579822" y="112962"/>
                  <a:pt x="1598620" y="124258"/>
                  <a:pt x="1598620" y="112962"/>
                </a:cubicBezTo>
                <a:cubicBezTo>
                  <a:pt x="1598620" y="112962"/>
                  <a:pt x="1598620" y="112962"/>
                  <a:pt x="1587341" y="109197"/>
                </a:cubicBezTo>
                <a:cubicBezTo>
                  <a:pt x="1583581" y="112962"/>
                  <a:pt x="1572302" y="109197"/>
                  <a:pt x="1564783" y="109197"/>
                </a:cubicBezTo>
                <a:cubicBezTo>
                  <a:pt x="1564783" y="109197"/>
                  <a:pt x="1564783" y="109197"/>
                  <a:pt x="1553503" y="105431"/>
                </a:cubicBezTo>
                <a:cubicBezTo>
                  <a:pt x="1583581" y="101666"/>
                  <a:pt x="1609900" y="109197"/>
                  <a:pt x="1621179" y="94135"/>
                </a:cubicBezTo>
                <a:cubicBezTo>
                  <a:pt x="1564783" y="82839"/>
                  <a:pt x="1508387" y="94135"/>
                  <a:pt x="1448231" y="86604"/>
                </a:cubicBezTo>
                <a:cubicBezTo>
                  <a:pt x="1433192" y="82839"/>
                  <a:pt x="1425672" y="94135"/>
                  <a:pt x="1410633" y="97900"/>
                </a:cubicBezTo>
                <a:cubicBezTo>
                  <a:pt x="1410633" y="97900"/>
                  <a:pt x="1410633" y="97900"/>
                  <a:pt x="1444471" y="101666"/>
                </a:cubicBezTo>
                <a:cubicBezTo>
                  <a:pt x="1440711" y="109197"/>
                  <a:pt x="1384315" y="116727"/>
                  <a:pt x="1380555" y="131789"/>
                </a:cubicBezTo>
                <a:cubicBezTo>
                  <a:pt x="1373036" y="124258"/>
                  <a:pt x="1399354" y="120493"/>
                  <a:pt x="1380555" y="112962"/>
                </a:cubicBezTo>
                <a:cubicBezTo>
                  <a:pt x="1380555" y="120493"/>
                  <a:pt x="1350478" y="124258"/>
                  <a:pt x="1369276" y="131789"/>
                </a:cubicBezTo>
                <a:cubicBezTo>
                  <a:pt x="1365517" y="128024"/>
                  <a:pt x="1361757" y="131789"/>
                  <a:pt x="1357997" y="131789"/>
                </a:cubicBezTo>
                <a:cubicBezTo>
                  <a:pt x="1365517" y="146851"/>
                  <a:pt x="1361757" y="143085"/>
                  <a:pt x="1354237" y="146851"/>
                </a:cubicBezTo>
                <a:cubicBezTo>
                  <a:pt x="1357997" y="143085"/>
                  <a:pt x="1357997" y="143085"/>
                  <a:pt x="1350478" y="139320"/>
                </a:cubicBezTo>
                <a:cubicBezTo>
                  <a:pt x="1350478" y="139320"/>
                  <a:pt x="1350478" y="139320"/>
                  <a:pt x="1327919" y="161912"/>
                </a:cubicBezTo>
                <a:cubicBezTo>
                  <a:pt x="1365517" y="161912"/>
                  <a:pt x="1391835" y="184504"/>
                  <a:pt x="1436952" y="173208"/>
                </a:cubicBezTo>
                <a:cubicBezTo>
                  <a:pt x="1455750" y="173208"/>
                  <a:pt x="1451990" y="184504"/>
                  <a:pt x="1459510" y="192035"/>
                </a:cubicBezTo>
                <a:cubicBezTo>
                  <a:pt x="1440711" y="192035"/>
                  <a:pt x="1436952" y="199566"/>
                  <a:pt x="1421913" y="207097"/>
                </a:cubicBezTo>
                <a:cubicBezTo>
                  <a:pt x="1429432" y="210862"/>
                  <a:pt x="1440711" y="207097"/>
                  <a:pt x="1451990" y="207097"/>
                </a:cubicBezTo>
                <a:cubicBezTo>
                  <a:pt x="1451990" y="207097"/>
                  <a:pt x="1451990" y="207097"/>
                  <a:pt x="1451990" y="210862"/>
                </a:cubicBezTo>
                <a:cubicBezTo>
                  <a:pt x="1474549" y="214628"/>
                  <a:pt x="1485828" y="210862"/>
                  <a:pt x="1512146" y="210862"/>
                </a:cubicBezTo>
                <a:cubicBezTo>
                  <a:pt x="1512146" y="210862"/>
                  <a:pt x="1512146" y="210862"/>
                  <a:pt x="1512146" y="214628"/>
                </a:cubicBezTo>
                <a:cubicBezTo>
                  <a:pt x="1512146" y="214628"/>
                  <a:pt x="1512146" y="214628"/>
                  <a:pt x="1534705" y="214628"/>
                </a:cubicBezTo>
                <a:cubicBezTo>
                  <a:pt x="1534705" y="210862"/>
                  <a:pt x="1538464" y="210862"/>
                  <a:pt x="1538464" y="210862"/>
                </a:cubicBezTo>
                <a:cubicBezTo>
                  <a:pt x="1534705" y="214628"/>
                  <a:pt x="1530945" y="218393"/>
                  <a:pt x="1538464" y="218393"/>
                </a:cubicBezTo>
                <a:cubicBezTo>
                  <a:pt x="1530945" y="222158"/>
                  <a:pt x="1523426" y="222158"/>
                  <a:pt x="1515906" y="225924"/>
                </a:cubicBezTo>
                <a:cubicBezTo>
                  <a:pt x="1523426" y="229689"/>
                  <a:pt x="1538464" y="225924"/>
                  <a:pt x="1549744" y="229689"/>
                </a:cubicBezTo>
                <a:cubicBezTo>
                  <a:pt x="1549744" y="229689"/>
                  <a:pt x="1549744" y="233455"/>
                  <a:pt x="1542224" y="237220"/>
                </a:cubicBezTo>
                <a:cubicBezTo>
                  <a:pt x="1609900" y="252282"/>
                  <a:pt x="1651257" y="222158"/>
                  <a:pt x="1722692" y="225924"/>
                </a:cubicBezTo>
                <a:cubicBezTo>
                  <a:pt x="1730211" y="222158"/>
                  <a:pt x="1745250" y="214628"/>
                  <a:pt x="1764049" y="218393"/>
                </a:cubicBezTo>
                <a:cubicBezTo>
                  <a:pt x="1767809" y="225924"/>
                  <a:pt x="1790367" y="218393"/>
                  <a:pt x="1801646" y="218393"/>
                </a:cubicBezTo>
                <a:cubicBezTo>
                  <a:pt x="1801646" y="218393"/>
                  <a:pt x="1801646" y="218393"/>
                  <a:pt x="1809166" y="214628"/>
                </a:cubicBezTo>
                <a:cubicBezTo>
                  <a:pt x="1846763" y="225924"/>
                  <a:pt x="1899399" y="214628"/>
                  <a:pt x="1940757" y="214628"/>
                </a:cubicBezTo>
                <a:cubicBezTo>
                  <a:pt x="1985873" y="188270"/>
                  <a:pt x="2030990" y="225924"/>
                  <a:pt x="2083627" y="203331"/>
                </a:cubicBezTo>
                <a:cubicBezTo>
                  <a:pt x="2091146" y="207097"/>
                  <a:pt x="2109945" y="203331"/>
                  <a:pt x="2124984" y="203331"/>
                </a:cubicBezTo>
                <a:cubicBezTo>
                  <a:pt x="2124984" y="203331"/>
                  <a:pt x="2124984" y="203331"/>
                  <a:pt x="2128744" y="199566"/>
                </a:cubicBezTo>
                <a:cubicBezTo>
                  <a:pt x="2128744" y="199566"/>
                  <a:pt x="2128744" y="199566"/>
                  <a:pt x="2117464" y="195801"/>
                </a:cubicBezTo>
                <a:cubicBezTo>
                  <a:pt x="2124984" y="195801"/>
                  <a:pt x="2128744" y="195801"/>
                  <a:pt x="2128744" y="192035"/>
                </a:cubicBezTo>
                <a:cubicBezTo>
                  <a:pt x="2128744" y="192035"/>
                  <a:pt x="2128744" y="192035"/>
                  <a:pt x="2121224" y="188270"/>
                </a:cubicBezTo>
                <a:cubicBezTo>
                  <a:pt x="2143782" y="195801"/>
                  <a:pt x="2170101" y="176974"/>
                  <a:pt x="2192659" y="184504"/>
                </a:cubicBezTo>
                <a:cubicBezTo>
                  <a:pt x="2196419" y="188270"/>
                  <a:pt x="2185140" y="195801"/>
                  <a:pt x="2196419" y="199566"/>
                </a:cubicBezTo>
                <a:cubicBezTo>
                  <a:pt x="2203938" y="199566"/>
                  <a:pt x="2207698" y="199566"/>
                  <a:pt x="2215218" y="195801"/>
                </a:cubicBezTo>
                <a:cubicBezTo>
                  <a:pt x="2215218" y="195801"/>
                  <a:pt x="2215218" y="195801"/>
                  <a:pt x="2203938" y="188270"/>
                </a:cubicBezTo>
                <a:cubicBezTo>
                  <a:pt x="2218977" y="184504"/>
                  <a:pt x="2245295" y="192035"/>
                  <a:pt x="2271614" y="188270"/>
                </a:cubicBezTo>
                <a:cubicBezTo>
                  <a:pt x="2309211" y="188270"/>
                  <a:pt x="2354328" y="176974"/>
                  <a:pt x="2395685" y="184504"/>
                </a:cubicBezTo>
                <a:cubicBezTo>
                  <a:pt x="2391925" y="180739"/>
                  <a:pt x="2406964" y="169443"/>
                  <a:pt x="2422003" y="169443"/>
                </a:cubicBezTo>
                <a:cubicBezTo>
                  <a:pt x="2478399" y="176974"/>
                  <a:pt x="2534795" y="150616"/>
                  <a:pt x="2564873" y="180739"/>
                </a:cubicBezTo>
                <a:cubicBezTo>
                  <a:pt x="2628789" y="180739"/>
                  <a:pt x="2673906" y="184504"/>
                  <a:pt x="2737821" y="176974"/>
                </a:cubicBezTo>
                <a:cubicBezTo>
                  <a:pt x="2737821" y="176974"/>
                  <a:pt x="2737821" y="176974"/>
                  <a:pt x="2737821" y="169443"/>
                </a:cubicBezTo>
                <a:cubicBezTo>
                  <a:pt x="2756620" y="173208"/>
                  <a:pt x="2775419" y="173208"/>
                  <a:pt x="2794217" y="176974"/>
                </a:cubicBezTo>
                <a:cubicBezTo>
                  <a:pt x="2794217" y="176974"/>
                  <a:pt x="2794217" y="176974"/>
                  <a:pt x="2805496" y="169443"/>
                </a:cubicBezTo>
                <a:cubicBezTo>
                  <a:pt x="3076198" y="161912"/>
                  <a:pt x="3290503" y="158147"/>
                  <a:pt x="3568723" y="165678"/>
                </a:cubicBezTo>
                <a:cubicBezTo>
                  <a:pt x="3568723" y="165678"/>
                  <a:pt x="3568723" y="165678"/>
                  <a:pt x="3673996" y="158147"/>
                </a:cubicBezTo>
                <a:cubicBezTo>
                  <a:pt x="3673996" y="169443"/>
                  <a:pt x="3707834" y="158147"/>
                  <a:pt x="3719113" y="161912"/>
                </a:cubicBezTo>
                <a:cubicBezTo>
                  <a:pt x="3786788" y="154381"/>
                  <a:pt x="3828145" y="176974"/>
                  <a:pt x="3880782" y="150616"/>
                </a:cubicBezTo>
                <a:cubicBezTo>
                  <a:pt x="3880782" y="150616"/>
                  <a:pt x="3880782" y="150616"/>
                  <a:pt x="3869503" y="161912"/>
                </a:cubicBezTo>
                <a:cubicBezTo>
                  <a:pt x="3884541" y="169443"/>
                  <a:pt x="3914619" y="158147"/>
                  <a:pt x="3922139" y="169443"/>
                </a:cubicBezTo>
                <a:cubicBezTo>
                  <a:pt x="3959736" y="154381"/>
                  <a:pt x="4001093" y="169443"/>
                  <a:pt x="4046210" y="165678"/>
                </a:cubicBezTo>
                <a:cubicBezTo>
                  <a:pt x="4046210" y="165678"/>
                  <a:pt x="4046210" y="165678"/>
                  <a:pt x="4083807" y="165678"/>
                </a:cubicBezTo>
                <a:cubicBezTo>
                  <a:pt x="4083807" y="165678"/>
                  <a:pt x="4083807" y="165678"/>
                  <a:pt x="4083807" y="169443"/>
                </a:cubicBezTo>
                <a:cubicBezTo>
                  <a:pt x="4102606" y="176974"/>
                  <a:pt x="4162762" y="165678"/>
                  <a:pt x="4181561" y="173208"/>
                </a:cubicBezTo>
                <a:cubicBezTo>
                  <a:pt x="4211639" y="161912"/>
                  <a:pt x="4234197" y="184504"/>
                  <a:pt x="4264275" y="173208"/>
                </a:cubicBezTo>
                <a:cubicBezTo>
                  <a:pt x="4275554" y="184504"/>
                  <a:pt x="4298113" y="176974"/>
                  <a:pt x="4316911" y="184504"/>
                </a:cubicBezTo>
                <a:cubicBezTo>
                  <a:pt x="4350749" y="184504"/>
                  <a:pt x="4399626" y="195801"/>
                  <a:pt x="4440983" y="184504"/>
                </a:cubicBezTo>
                <a:cubicBezTo>
                  <a:pt x="4433463" y="184504"/>
                  <a:pt x="4433463" y="188270"/>
                  <a:pt x="4433463" y="192035"/>
                </a:cubicBezTo>
                <a:cubicBezTo>
                  <a:pt x="4467301" y="195801"/>
                  <a:pt x="4493619" y="192035"/>
                  <a:pt x="4512418" y="199566"/>
                </a:cubicBezTo>
                <a:cubicBezTo>
                  <a:pt x="4508658" y="214628"/>
                  <a:pt x="4534976" y="203331"/>
                  <a:pt x="4550015" y="203331"/>
                </a:cubicBezTo>
                <a:cubicBezTo>
                  <a:pt x="4550015" y="203331"/>
                  <a:pt x="4550015" y="203331"/>
                  <a:pt x="4557535" y="199566"/>
                </a:cubicBezTo>
                <a:cubicBezTo>
                  <a:pt x="4550015" y="210862"/>
                  <a:pt x="4595132" y="199566"/>
                  <a:pt x="4568814" y="207097"/>
                </a:cubicBezTo>
                <a:cubicBezTo>
                  <a:pt x="4583853" y="225924"/>
                  <a:pt x="4640249" y="210862"/>
                  <a:pt x="4644009" y="233455"/>
                </a:cubicBezTo>
                <a:cubicBezTo>
                  <a:pt x="4700405" y="218393"/>
                  <a:pt x="4722963" y="248516"/>
                  <a:pt x="4775599" y="237220"/>
                </a:cubicBezTo>
                <a:cubicBezTo>
                  <a:pt x="4794399" y="214628"/>
                  <a:pt x="4790639" y="214628"/>
                  <a:pt x="4828236" y="199566"/>
                </a:cubicBezTo>
                <a:cubicBezTo>
                  <a:pt x="4816957" y="192035"/>
                  <a:pt x="4771840" y="207097"/>
                  <a:pt x="4783119" y="188270"/>
                </a:cubicBezTo>
                <a:cubicBezTo>
                  <a:pt x="4801918" y="192035"/>
                  <a:pt x="4835755" y="173208"/>
                  <a:pt x="4828236" y="195801"/>
                </a:cubicBezTo>
                <a:cubicBezTo>
                  <a:pt x="4835755" y="188270"/>
                  <a:pt x="4854554" y="188270"/>
                  <a:pt x="4850795" y="180739"/>
                </a:cubicBezTo>
                <a:cubicBezTo>
                  <a:pt x="4824476" y="173208"/>
                  <a:pt x="4847035" y="143085"/>
                  <a:pt x="4794399" y="150616"/>
                </a:cubicBezTo>
                <a:cubicBezTo>
                  <a:pt x="4794399" y="150616"/>
                  <a:pt x="4794399" y="150616"/>
                  <a:pt x="4813197" y="143085"/>
                </a:cubicBezTo>
                <a:cubicBezTo>
                  <a:pt x="4805677" y="128024"/>
                  <a:pt x="4764321" y="139320"/>
                  <a:pt x="4738002" y="135554"/>
                </a:cubicBezTo>
                <a:cubicBezTo>
                  <a:pt x="4722963" y="146851"/>
                  <a:pt x="4696645" y="131789"/>
                  <a:pt x="4677847" y="139320"/>
                </a:cubicBezTo>
                <a:cubicBezTo>
                  <a:pt x="4689125" y="128024"/>
                  <a:pt x="4659047" y="124258"/>
                  <a:pt x="4644009" y="116727"/>
                </a:cubicBezTo>
                <a:cubicBezTo>
                  <a:pt x="4591373" y="128024"/>
                  <a:pt x="4565054" y="105431"/>
                  <a:pt x="4516177" y="109197"/>
                </a:cubicBezTo>
                <a:cubicBezTo>
                  <a:pt x="4508658" y="101666"/>
                  <a:pt x="4452262" y="112962"/>
                  <a:pt x="4444743" y="90370"/>
                </a:cubicBezTo>
                <a:cubicBezTo>
                  <a:pt x="4418425" y="90370"/>
                  <a:pt x="4403385" y="90370"/>
                  <a:pt x="4380827" y="82839"/>
                </a:cubicBezTo>
                <a:cubicBezTo>
                  <a:pt x="4380827" y="82839"/>
                  <a:pt x="4380827" y="82839"/>
                  <a:pt x="4365788" y="90370"/>
                </a:cubicBezTo>
                <a:cubicBezTo>
                  <a:pt x="4365788" y="90370"/>
                  <a:pt x="4362028" y="86604"/>
                  <a:pt x="4354509" y="86604"/>
                </a:cubicBezTo>
                <a:cubicBezTo>
                  <a:pt x="4346989" y="86604"/>
                  <a:pt x="4343229" y="79073"/>
                  <a:pt x="4331951" y="82839"/>
                </a:cubicBezTo>
                <a:cubicBezTo>
                  <a:pt x="4331951" y="82839"/>
                  <a:pt x="4331951" y="82839"/>
                  <a:pt x="4335710" y="67777"/>
                </a:cubicBezTo>
                <a:cubicBezTo>
                  <a:pt x="4380827" y="71543"/>
                  <a:pt x="4429703" y="75308"/>
                  <a:pt x="4474821" y="79073"/>
                </a:cubicBezTo>
                <a:cubicBezTo>
                  <a:pt x="4474821" y="101666"/>
                  <a:pt x="4531217" y="86604"/>
                  <a:pt x="4561295" y="90370"/>
                </a:cubicBezTo>
                <a:cubicBezTo>
                  <a:pt x="4602651" y="97900"/>
                  <a:pt x="4655288" y="82839"/>
                  <a:pt x="4681606" y="94135"/>
                </a:cubicBezTo>
                <a:cubicBezTo>
                  <a:pt x="4681606" y="94135"/>
                  <a:pt x="4681606" y="94135"/>
                  <a:pt x="4685366" y="97900"/>
                </a:cubicBezTo>
                <a:cubicBezTo>
                  <a:pt x="4719203" y="101666"/>
                  <a:pt x="4749281" y="120493"/>
                  <a:pt x="4801918" y="109197"/>
                </a:cubicBezTo>
                <a:cubicBezTo>
                  <a:pt x="4801918" y="109197"/>
                  <a:pt x="4801918" y="109197"/>
                  <a:pt x="4809437" y="112962"/>
                </a:cubicBezTo>
                <a:cubicBezTo>
                  <a:pt x="4809437" y="112962"/>
                  <a:pt x="4809437" y="112962"/>
                  <a:pt x="4824476" y="105431"/>
                </a:cubicBezTo>
                <a:cubicBezTo>
                  <a:pt x="4824476" y="105431"/>
                  <a:pt x="4824476" y="105431"/>
                  <a:pt x="4828236" y="109197"/>
                </a:cubicBezTo>
                <a:cubicBezTo>
                  <a:pt x="4824476" y="112962"/>
                  <a:pt x="4801918" y="116727"/>
                  <a:pt x="4805677" y="124258"/>
                </a:cubicBezTo>
                <a:cubicBezTo>
                  <a:pt x="4839515" y="128024"/>
                  <a:pt x="4865833" y="128024"/>
                  <a:pt x="4903431" y="124258"/>
                </a:cubicBezTo>
                <a:cubicBezTo>
                  <a:pt x="4888392" y="131789"/>
                  <a:pt x="4899671" y="150616"/>
                  <a:pt x="4925989" y="143085"/>
                </a:cubicBezTo>
                <a:cubicBezTo>
                  <a:pt x="4925989" y="143085"/>
                  <a:pt x="4925989" y="143085"/>
                  <a:pt x="4941028" y="143085"/>
                </a:cubicBezTo>
                <a:cubicBezTo>
                  <a:pt x="4971106" y="120493"/>
                  <a:pt x="4914710" y="128024"/>
                  <a:pt x="4922229" y="109197"/>
                </a:cubicBezTo>
                <a:cubicBezTo>
                  <a:pt x="4933509" y="105431"/>
                  <a:pt x="4948547" y="105431"/>
                  <a:pt x="4956067" y="97900"/>
                </a:cubicBezTo>
                <a:cubicBezTo>
                  <a:pt x="4956067" y="97900"/>
                  <a:pt x="4956067" y="97900"/>
                  <a:pt x="4959827" y="94135"/>
                </a:cubicBezTo>
                <a:cubicBezTo>
                  <a:pt x="4952307" y="86604"/>
                  <a:pt x="4937269" y="97900"/>
                  <a:pt x="4922229" y="97900"/>
                </a:cubicBezTo>
                <a:cubicBezTo>
                  <a:pt x="4922229" y="90370"/>
                  <a:pt x="4914710" y="86604"/>
                  <a:pt x="4903431" y="86604"/>
                </a:cubicBezTo>
                <a:cubicBezTo>
                  <a:pt x="4910950" y="82839"/>
                  <a:pt x="4922229" y="79073"/>
                  <a:pt x="4933509" y="75308"/>
                </a:cubicBezTo>
                <a:cubicBezTo>
                  <a:pt x="4937269" y="75308"/>
                  <a:pt x="4933509" y="71543"/>
                  <a:pt x="4929749" y="71543"/>
                </a:cubicBezTo>
                <a:cubicBezTo>
                  <a:pt x="4989905" y="67777"/>
                  <a:pt x="5004943" y="97900"/>
                  <a:pt x="5068859" y="79073"/>
                </a:cubicBezTo>
                <a:cubicBezTo>
                  <a:pt x="5068859" y="79073"/>
                  <a:pt x="5068859" y="79073"/>
                  <a:pt x="5061339" y="75308"/>
                </a:cubicBezTo>
                <a:cubicBezTo>
                  <a:pt x="5068859" y="75308"/>
                  <a:pt x="5117736" y="79073"/>
                  <a:pt x="5132775" y="75308"/>
                </a:cubicBezTo>
                <a:cubicBezTo>
                  <a:pt x="5132775" y="75308"/>
                  <a:pt x="5132775" y="75308"/>
                  <a:pt x="5136535" y="71543"/>
                </a:cubicBezTo>
                <a:cubicBezTo>
                  <a:pt x="5125255" y="67777"/>
                  <a:pt x="5102697" y="71543"/>
                  <a:pt x="5087658" y="71543"/>
                </a:cubicBezTo>
                <a:cubicBezTo>
                  <a:pt x="5125255" y="60247"/>
                  <a:pt x="5147813" y="60247"/>
                  <a:pt x="5189171" y="52716"/>
                </a:cubicBezTo>
                <a:cubicBezTo>
                  <a:pt x="5189171" y="52716"/>
                  <a:pt x="5189171" y="52716"/>
                  <a:pt x="5095177" y="101666"/>
                </a:cubicBezTo>
                <a:cubicBezTo>
                  <a:pt x="5129015" y="112962"/>
                  <a:pt x="5083898" y="120493"/>
                  <a:pt x="5065099" y="131789"/>
                </a:cubicBezTo>
                <a:cubicBezTo>
                  <a:pt x="5042541" y="150616"/>
                  <a:pt x="4997424" y="135554"/>
                  <a:pt x="4971106" y="161912"/>
                </a:cubicBezTo>
                <a:cubicBezTo>
                  <a:pt x="5001184" y="158147"/>
                  <a:pt x="5004943" y="158147"/>
                  <a:pt x="5035021" y="165678"/>
                </a:cubicBezTo>
                <a:cubicBezTo>
                  <a:pt x="5035021" y="165678"/>
                  <a:pt x="5035021" y="165678"/>
                  <a:pt x="5023743" y="184504"/>
                </a:cubicBezTo>
                <a:cubicBezTo>
                  <a:pt x="4971106" y="207097"/>
                  <a:pt x="4910950" y="237220"/>
                  <a:pt x="4869593" y="263578"/>
                </a:cubicBezTo>
                <a:cubicBezTo>
                  <a:pt x="4873353" y="267343"/>
                  <a:pt x="4880873" y="267343"/>
                  <a:pt x="4884632" y="267343"/>
                </a:cubicBezTo>
                <a:cubicBezTo>
                  <a:pt x="4843275" y="278639"/>
                  <a:pt x="4839515" y="304997"/>
                  <a:pt x="4798158" y="312528"/>
                </a:cubicBezTo>
                <a:cubicBezTo>
                  <a:pt x="4801918" y="316293"/>
                  <a:pt x="4801918" y="320059"/>
                  <a:pt x="4809437" y="316293"/>
                </a:cubicBezTo>
                <a:cubicBezTo>
                  <a:pt x="4813197" y="327589"/>
                  <a:pt x="4790639" y="320059"/>
                  <a:pt x="4783119" y="327589"/>
                </a:cubicBezTo>
                <a:cubicBezTo>
                  <a:pt x="4783119" y="320059"/>
                  <a:pt x="4798158" y="308762"/>
                  <a:pt x="4783119" y="304997"/>
                </a:cubicBezTo>
                <a:cubicBezTo>
                  <a:pt x="4760561" y="312528"/>
                  <a:pt x="4756801" y="327589"/>
                  <a:pt x="4760561" y="335120"/>
                </a:cubicBezTo>
                <a:cubicBezTo>
                  <a:pt x="4768080" y="346416"/>
                  <a:pt x="4783119" y="346416"/>
                  <a:pt x="4801918" y="342651"/>
                </a:cubicBezTo>
                <a:cubicBezTo>
                  <a:pt x="4798158" y="346416"/>
                  <a:pt x="4801918" y="346416"/>
                  <a:pt x="4801918" y="350182"/>
                </a:cubicBezTo>
                <a:cubicBezTo>
                  <a:pt x="4809437" y="350182"/>
                  <a:pt x="4816957" y="350182"/>
                  <a:pt x="4820717" y="346416"/>
                </a:cubicBezTo>
                <a:cubicBezTo>
                  <a:pt x="4820717" y="346416"/>
                  <a:pt x="4820717" y="346416"/>
                  <a:pt x="4816957" y="342651"/>
                </a:cubicBezTo>
                <a:cubicBezTo>
                  <a:pt x="4816957" y="342651"/>
                  <a:pt x="4816957" y="342651"/>
                  <a:pt x="4850795" y="342651"/>
                </a:cubicBezTo>
                <a:cubicBezTo>
                  <a:pt x="4862073" y="338886"/>
                  <a:pt x="4854554" y="335120"/>
                  <a:pt x="4850795" y="331355"/>
                </a:cubicBezTo>
                <a:cubicBezTo>
                  <a:pt x="4862073" y="327589"/>
                  <a:pt x="4892151" y="335120"/>
                  <a:pt x="4910950" y="323824"/>
                </a:cubicBezTo>
                <a:cubicBezTo>
                  <a:pt x="4877113" y="312528"/>
                  <a:pt x="4937269" y="304997"/>
                  <a:pt x="4918469" y="293701"/>
                </a:cubicBezTo>
                <a:cubicBezTo>
                  <a:pt x="4910950" y="293701"/>
                  <a:pt x="4937269" y="289935"/>
                  <a:pt x="4937269" y="278639"/>
                </a:cubicBezTo>
                <a:cubicBezTo>
                  <a:pt x="4937269" y="278639"/>
                  <a:pt x="4937269" y="278639"/>
                  <a:pt x="4941028" y="278639"/>
                </a:cubicBezTo>
                <a:cubicBezTo>
                  <a:pt x="4959827" y="263578"/>
                  <a:pt x="4989905" y="274874"/>
                  <a:pt x="4997424" y="256047"/>
                </a:cubicBezTo>
                <a:cubicBezTo>
                  <a:pt x="5050061" y="244751"/>
                  <a:pt x="4993665" y="271108"/>
                  <a:pt x="5042541" y="263578"/>
                </a:cubicBezTo>
                <a:cubicBezTo>
                  <a:pt x="5038781" y="271108"/>
                  <a:pt x="5027502" y="271108"/>
                  <a:pt x="5027502" y="278639"/>
                </a:cubicBezTo>
                <a:cubicBezTo>
                  <a:pt x="5027502" y="278639"/>
                  <a:pt x="5027502" y="278639"/>
                  <a:pt x="5061339" y="278639"/>
                </a:cubicBezTo>
                <a:cubicBezTo>
                  <a:pt x="5068859" y="301232"/>
                  <a:pt x="4986145" y="308762"/>
                  <a:pt x="5019983" y="323824"/>
                </a:cubicBezTo>
                <a:cubicBezTo>
                  <a:pt x="5019983" y="323824"/>
                  <a:pt x="5019983" y="323824"/>
                  <a:pt x="5012463" y="342651"/>
                </a:cubicBezTo>
                <a:cubicBezTo>
                  <a:pt x="4997424" y="346416"/>
                  <a:pt x="5004943" y="338886"/>
                  <a:pt x="5001184" y="335120"/>
                </a:cubicBezTo>
                <a:cubicBezTo>
                  <a:pt x="5001184" y="331355"/>
                  <a:pt x="5004943" y="327589"/>
                  <a:pt x="5001184" y="327589"/>
                </a:cubicBezTo>
                <a:cubicBezTo>
                  <a:pt x="4993665" y="327589"/>
                  <a:pt x="4982385" y="331355"/>
                  <a:pt x="4986145" y="335120"/>
                </a:cubicBezTo>
                <a:cubicBezTo>
                  <a:pt x="4986145" y="335120"/>
                  <a:pt x="4986145" y="335120"/>
                  <a:pt x="4978625" y="335120"/>
                </a:cubicBezTo>
                <a:cubicBezTo>
                  <a:pt x="4978625" y="335120"/>
                  <a:pt x="4978625" y="335120"/>
                  <a:pt x="4993665" y="301232"/>
                </a:cubicBezTo>
                <a:cubicBezTo>
                  <a:pt x="5001184" y="304997"/>
                  <a:pt x="5008703" y="301232"/>
                  <a:pt x="5008703" y="297466"/>
                </a:cubicBezTo>
                <a:cubicBezTo>
                  <a:pt x="5008703" y="297466"/>
                  <a:pt x="5008703" y="297466"/>
                  <a:pt x="5012463" y="286170"/>
                </a:cubicBezTo>
                <a:cubicBezTo>
                  <a:pt x="5019983" y="286170"/>
                  <a:pt x="5019983" y="286170"/>
                  <a:pt x="5027502" y="282405"/>
                </a:cubicBezTo>
                <a:cubicBezTo>
                  <a:pt x="5023743" y="271108"/>
                  <a:pt x="4989905" y="274874"/>
                  <a:pt x="4982385" y="286170"/>
                </a:cubicBezTo>
                <a:cubicBezTo>
                  <a:pt x="4963587" y="308762"/>
                  <a:pt x="4925989" y="335120"/>
                  <a:pt x="4888392" y="353947"/>
                </a:cubicBezTo>
                <a:cubicBezTo>
                  <a:pt x="4888392" y="353947"/>
                  <a:pt x="4888392" y="353947"/>
                  <a:pt x="4884632" y="365243"/>
                </a:cubicBezTo>
                <a:cubicBezTo>
                  <a:pt x="4877113" y="365243"/>
                  <a:pt x="4873353" y="365243"/>
                  <a:pt x="4869593" y="369009"/>
                </a:cubicBezTo>
                <a:cubicBezTo>
                  <a:pt x="4865833" y="376539"/>
                  <a:pt x="4880873" y="372774"/>
                  <a:pt x="4880873" y="380305"/>
                </a:cubicBezTo>
                <a:cubicBezTo>
                  <a:pt x="4877113" y="384070"/>
                  <a:pt x="4865833" y="384070"/>
                  <a:pt x="4865833" y="387836"/>
                </a:cubicBezTo>
                <a:cubicBezTo>
                  <a:pt x="4880873" y="395366"/>
                  <a:pt x="4888392" y="380305"/>
                  <a:pt x="4903431" y="391601"/>
                </a:cubicBezTo>
                <a:cubicBezTo>
                  <a:pt x="4910950" y="391601"/>
                  <a:pt x="4918469" y="387836"/>
                  <a:pt x="4929749" y="384070"/>
                </a:cubicBezTo>
                <a:cubicBezTo>
                  <a:pt x="4925989" y="387836"/>
                  <a:pt x="4925989" y="391601"/>
                  <a:pt x="4918469" y="395366"/>
                </a:cubicBezTo>
                <a:cubicBezTo>
                  <a:pt x="4918469" y="395366"/>
                  <a:pt x="4918469" y="395366"/>
                  <a:pt x="4925989" y="399132"/>
                </a:cubicBezTo>
                <a:cubicBezTo>
                  <a:pt x="4925989" y="399132"/>
                  <a:pt x="4925989" y="399132"/>
                  <a:pt x="4971106" y="380305"/>
                </a:cubicBezTo>
                <a:cubicBezTo>
                  <a:pt x="4982385" y="395366"/>
                  <a:pt x="4941028" y="421724"/>
                  <a:pt x="4967347" y="429255"/>
                </a:cubicBezTo>
                <a:cubicBezTo>
                  <a:pt x="4989905" y="414193"/>
                  <a:pt x="4982385" y="406663"/>
                  <a:pt x="5001184" y="391601"/>
                </a:cubicBezTo>
                <a:cubicBezTo>
                  <a:pt x="5001184" y="391601"/>
                  <a:pt x="5001184" y="391601"/>
                  <a:pt x="5012463" y="391601"/>
                </a:cubicBezTo>
                <a:cubicBezTo>
                  <a:pt x="4989905" y="414193"/>
                  <a:pt x="4974865" y="448082"/>
                  <a:pt x="4974865" y="466909"/>
                </a:cubicBezTo>
                <a:cubicBezTo>
                  <a:pt x="4974865" y="466909"/>
                  <a:pt x="4974865" y="466909"/>
                  <a:pt x="4971106" y="466909"/>
                </a:cubicBezTo>
                <a:cubicBezTo>
                  <a:pt x="4971106" y="466909"/>
                  <a:pt x="4971106" y="466909"/>
                  <a:pt x="4963587" y="470674"/>
                </a:cubicBezTo>
                <a:cubicBezTo>
                  <a:pt x="4959827" y="466909"/>
                  <a:pt x="4956067" y="470674"/>
                  <a:pt x="4952307" y="470674"/>
                </a:cubicBezTo>
                <a:cubicBezTo>
                  <a:pt x="4944788" y="470674"/>
                  <a:pt x="4937269" y="474440"/>
                  <a:pt x="4929749" y="474440"/>
                </a:cubicBezTo>
                <a:cubicBezTo>
                  <a:pt x="4952307" y="470674"/>
                  <a:pt x="4952307" y="470674"/>
                  <a:pt x="4952307" y="470674"/>
                </a:cubicBezTo>
                <a:cubicBezTo>
                  <a:pt x="4952307" y="470674"/>
                  <a:pt x="4952307" y="470674"/>
                  <a:pt x="4963587" y="470674"/>
                </a:cubicBezTo>
                <a:cubicBezTo>
                  <a:pt x="4963587" y="470674"/>
                  <a:pt x="4963587" y="470674"/>
                  <a:pt x="4967347" y="470674"/>
                </a:cubicBezTo>
                <a:cubicBezTo>
                  <a:pt x="4967347" y="470674"/>
                  <a:pt x="4967347" y="470674"/>
                  <a:pt x="4944788" y="481970"/>
                </a:cubicBezTo>
                <a:cubicBezTo>
                  <a:pt x="4944788" y="485736"/>
                  <a:pt x="4952307" y="485736"/>
                  <a:pt x="4959827" y="485736"/>
                </a:cubicBezTo>
                <a:cubicBezTo>
                  <a:pt x="4959827" y="485736"/>
                  <a:pt x="4959827" y="485736"/>
                  <a:pt x="4974865" y="474440"/>
                </a:cubicBezTo>
                <a:cubicBezTo>
                  <a:pt x="4974865" y="474440"/>
                  <a:pt x="4974865" y="474440"/>
                  <a:pt x="4978625" y="478205"/>
                </a:cubicBezTo>
                <a:cubicBezTo>
                  <a:pt x="4997424" y="470674"/>
                  <a:pt x="4974865" y="463144"/>
                  <a:pt x="4993665" y="455613"/>
                </a:cubicBezTo>
                <a:cubicBezTo>
                  <a:pt x="4993665" y="455613"/>
                  <a:pt x="4993665" y="455613"/>
                  <a:pt x="5004943" y="455613"/>
                </a:cubicBezTo>
                <a:cubicBezTo>
                  <a:pt x="5001184" y="474440"/>
                  <a:pt x="4997424" y="493267"/>
                  <a:pt x="5019983" y="497032"/>
                </a:cubicBezTo>
                <a:cubicBezTo>
                  <a:pt x="5042541" y="489501"/>
                  <a:pt x="5038781" y="478205"/>
                  <a:pt x="5046301" y="466909"/>
                </a:cubicBezTo>
                <a:cubicBezTo>
                  <a:pt x="5038781" y="463144"/>
                  <a:pt x="5038781" y="459378"/>
                  <a:pt x="5042541" y="451847"/>
                </a:cubicBezTo>
                <a:cubicBezTo>
                  <a:pt x="5053821" y="451847"/>
                  <a:pt x="5061339" y="455613"/>
                  <a:pt x="5065099" y="448082"/>
                </a:cubicBezTo>
                <a:cubicBezTo>
                  <a:pt x="5065099" y="448082"/>
                  <a:pt x="5065099" y="448082"/>
                  <a:pt x="5065099" y="474440"/>
                </a:cubicBezTo>
                <a:cubicBezTo>
                  <a:pt x="5065099" y="474440"/>
                  <a:pt x="5065099" y="474440"/>
                  <a:pt x="5080139" y="470674"/>
                </a:cubicBezTo>
                <a:cubicBezTo>
                  <a:pt x="5087658" y="478205"/>
                  <a:pt x="5091417" y="489501"/>
                  <a:pt x="5095177" y="497032"/>
                </a:cubicBezTo>
                <a:cubicBezTo>
                  <a:pt x="5087658" y="493267"/>
                  <a:pt x="5080139" y="493267"/>
                  <a:pt x="5072619" y="500797"/>
                </a:cubicBezTo>
                <a:cubicBezTo>
                  <a:pt x="5072619" y="500797"/>
                  <a:pt x="5072619" y="500797"/>
                  <a:pt x="5053821" y="493267"/>
                </a:cubicBezTo>
                <a:cubicBezTo>
                  <a:pt x="5042541" y="497032"/>
                  <a:pt x="5027502" y="497032"/>
                  <a:pt x="5019983" y="504563"/>
                </a:cubicBezTo>
                <a:cubicBezTo>
                  <a:pt x="5019983" y="504563"/>
                  <a:pt x="5019983" y="504563"/>
                  <a:pt x="5038781" y="504563"/>
                </a:cubicBezTo>
                <a:cubicBezTo>
                  <a:pt x="5038781" y="504563"/>
                  <a:pt x="5038781" y="504563"/>
                  <a:pt x="5035021" y="508328"/>
                </a:cubicBezTo>
                <a:cubicBezTo>
                  <a:pt x="5068859" y="504563"/>
                  <a:pt x="5083898" y="512094"/>
                  <a:pt x="5102697" y="508328"/>
                </a:cubicBezTo>
                <a:cubicBezTo>
                  <a:pt x="5106457" y="512094"/>
                  <a:pt x="5106457" y="512094"/>
                  <a:pt x="5110217" y="512094"/>
                </a:cubicBezTo>
                <a:cubicBezTo>
                  <a:pt x="5113976" y="512094"/>
                  <a:pt x="5113976" y="508328"/>
                  <a:pt x="5113976" y="508328"/>
                </a:cubicBezTo>
                <a:cubicBezTo>
                  <a:pt x="5117736" y="504563"/>
                  <a:pt x="5121495" y="504563"/>
                  <a:pt x="5125255" y="504563"/>
                </a:cubicBezTo>
                <a:cubicBezTo>
                  <a:pt x="5125255" y="500797"/>
                  <a:pt x="5121495" y="504563"/>
                  <a:pt x="5113976" y="504563"/>
                </a:cubicBezTo>
                <a:cubicBezTo>
                  <a:pt x="5113976" y="497032"/>
                  <a:pt x="5110217" y="493267"/>
                  <a:pt x="5117736" y="485736"/>
                </a:cubicBezTo>
                <a:cubicBezTo>
                  <a:pt x="5106457" y="474440"/>
                  <a:pt x="5098937" y="463144"/>
                  <a:pt x="5113976" y="444317"/>
                </a:cubicBezTo>
                <a:cubicBezTo>
                  <a:pt x="5140295" y="455613"/>
                  <a:pt x="5106457" y="497032"/>
                  <a:pt x="5159093" y="489501"/>
                </a:cubicBezTo>
                <a:cubicBezTo>
                  <a:pt x="5159093" y="489501"/>
                  <a:pt x="5159093" y="489501"/>
                  <a:pt x="5162853" y="485736"/>
                </a:cubicBezTo>
                <a:cubicBezTo>
                  <a:pt x="5162853" y="485736"/>
                  <a:pt x="5166613" y="489501"/>
                  <a:pt x="5170372" y="489501"/>
                </a:cubicBezTo>
                <a:cubicBezTo>
                  <a:pt x="5177891" y="497032"/>
                  <a:pt x="5181651" y="508328"/>
                  <a:pt x="5170372" y="519624"/>
                </a:cubicBezTo>
                <a:cubicBezTo>
                  <a:pt x="5170372" y="519624"/>
                  <a:pt x="5170372" y="519624"/>
                  <a:pt x="5162853" y="508328"/>
                </a:cubicBezTo>
                <a:cubicBezTo>
                  <a:pt x="5155333" y="519624"/>
                  <a:pt x="5132775" y="534686"/>
                  <a:pt x="5144054" y="549748"/>
                </a:cubicBezTo>
                <a:cubicBezTo>
                  <a:pt x="5136535" y="545982"/>
                  <a:pt x="5121495" y="557278"/>
                  <a:pt x="5110217" y="564809"/>
                </a:cubicBezTo>
                <a:cubicBezTo>
                  <a:pt x="5113976" y="579870"/>
                  <a:pt x="5113976" y="594932"/>
                  <a:pt x="5129015" y="606228"/>
                </a:cubicBezTo>
                <a:cubicBezTo>
                  <a:pt x="5129015" y="606228"/>
                  <a:pt x="5129015" y="606228"/>
                  <a:pt x="5159093" y="591167"/>
                </a:cubicBezTo>
                <a:cubicBezTo>
                  <a:pt x="5174132" y="602463"/>
                  <a:pt x="5129015" y="606228"/>
                  <a:pt x="5129015" y="617524"/>
                </a:cubicBezTo>
                <a:cubicBezTo>
                  <a:pt x="5129015" y="640117"/>
                  <a:pt x="5147813" y="662709"/>
                  <a:pt x="5136535" y="681536"/>
                </a:cubicBezTo>
                <a:cubicBezTo>
                  <a:pt x="5151573" y="685301"/>
                  <a:pt x="5147813" y="689067"/>
                  <a:pt x="5159093" y="692832"/>
                </a:cubicBezTo>
                <a:cubicBezTo>
                  <a:pt x="5159093" y="692832"/>
                  <a:pt x="5159093" y="692832"/>
                  <a:pt x="5207969" y="670240"/>
                </a:cubicBezTo>
                <a:cubicBezTo>
                  <a:pt x="5207969" y="670240"/>
                  <a:pt x="5207969" y="670240"/>
                  <a:pt x="5215489" y="674005"/>
                </a:cubicBezTo>
                <a:cubicBezTo>
                  <a:pt x="5215489" y="674005"/>
                  <a:pt x="5215489" y="674005"/>
                  <a:pt x="5223009" y="670240"/>
                </a:cubicBezTo>
                <a:cubicBezTo>
                  <a:pt x="5223009" y="681536"/>
                  <a:pt x="5230528" y="692832"/>
                  <a:pt x="5226769" y="704128"/>
                </a:cubicBezTo>
                <a:cubicBezTo>
                  <a:pt x="5200450" y="722955"/>
                  <a:pt x="5162853" y="730486"/>
                  <a:pt x="5129015" y="745548"/>
                </a:cubicBezTo>
                <a:cubicBezTo>
                  <a:pt x="5129015" y="745548"/>
                  <a:pt x="5129015" y="745548"/>
                  <a:pt x="5113976" y="745548"/>
                </a:cubicBezTo>
                <a:cubicBezTo>
                  <a:pt x="5113976" y="745548"/>
                  <a:pt x="5113976" y="745548"/>
                  <a:pt x="5117736" y="741782"/>
                </a:cubicBezTo>
                <a:cubicBezTo>
                  <a:pt x="5117736" y="734252"/>
                  <a:pt x="5102697" y="741782"/>
                  <a:pt x="5095177" y="741782"/>
                </a:cubicBezTo>
                <a:cubicBezTo>
                  <a:pt x="5095177" y="741782"/>
                  <a:pt x="5095177" y="741782"/>
                  <a:pt x="5038781" y="749313"/>
                </a:cubicBezTo>
                <a:cubicBezTo>
                  <a:pt x="5061339" y="756844"/>
                  <a:pt x="5102697" y="753079"/>
                  <a:pt x="5117736" y="756844"/>
                </a:cubicBezTo>
                <a:cubicBezTo>
                  <a:pt x="5087658" y="771905"/>
                  <a:pt x="5046301" y="756844"/>
                  <a:pt x="5016223" y="775671"/>
                </a:cubicBezTo>
                <a:cubicBezTo>
                  <a:pt x="5008703" y="760609"/>
                  <a:pt x="4959827" y="771905"/>
                  <a:pt x="4933509" y="768140"/>
                </a:cubicBezTo>
                <a:cubicBezTo>
                  <a:pt x="4918469" y="775671"/>
                  <a:pt x="4910950" y="786967"/>
                  <a:pt x="4892151" y="790732"/>
                </a:cubicBezTo>
                <a:cubicBezTo>
                  <a:pt x="4892151" y="790732"/>
                  <a:pt x="4892151" y="790732"/>
                  <a:pt x="4888392" y="786967"/>
                </a:cubicBezTo>
                <a:cubicBezTo>
                  <a:pt x="4873353" y="790732"/>
                  <a:pt x="4862073" y="805794"/>
                  <a:pt x="4869593" y="809559"/>
                </a:cubicBezTo>
                <a:cubicBezTo>
                  <a:pt x="4869593" y="809559"/>
                  <a:pt x="4869593" y="809559"/>
                  <a:pt x="4873353" y="813325"/>
                </a:cubicBezTo>
                <a:cubicBezTo>
                  <a:pt x="4858314" y="813325"/>
                  <a:pt x="4839515" y="813325"/>
                  <a:pt x="4831995" y="805794"/>
                </a:cubicBezTo>
                <a:cubicBezTo>
                  <a:pt x="4809437" y="809559"/>
                  <a:pt x="4786879" y="813325"/>
                  <a:pt x="4771840" y="820856"/>
                </a:cubicBezTo>
                <a:lnTo>
                  <a:pt x="4764275" y="817267"/>
                </a:lnTo>
                <a:lnTo>
                  <a:pt x="4765000" y="823531"/>
                </a:lnTo>
                <a:cubicBezTo>
                  <a:pt x="4766410" y="834357"/>
                  <a:pt x="4771109" y="842828"/>
                  <a:pt x="4797427" y="839063"/>
                </a:cubicBezTo>
                <a:cubicBezTo>
                  <a:pt x="4797427" y="839063"/>
                  <a:pt x="4797427" y="839063"/>
                  <a:pt x="4801187" y="835298"/>
                </a:cubicBezTo>
                <a:cubicBezTo>
                  <a:pt x="4801187" y="835298"/>
                  <a:pt x="4804947" y="839063"/>
                  <a:pt x="4808706" y="839063"/>
                </a:cubicBezTo>
                <a:cubicBezTo>
                  <a:pt x="4816225" y="846594"/>
                  <a:pt x="4819985" y="857890"/>
                  <a:pt x="4808706" y="869186"/>
                </a:cubicBezTo>
                <a:cubicBezTo>
                  <a:pt x="4808706" y="869186"/>
                  <a:pt x="4808706" y="869186"/>
                  <a:pt x="4801187" y="857890"/>
                </a:cubicBezTo>
                <a:cubicBezTo>
                  <a:pt x="4793667" y="869186"/>
                  <a:pt x="4771109" y="884248"/>
                  <a:pt x="4782388" y="899309"/>
                </a:cubicBezTo>
                <a:cubicBezTo>
                  <a:pt x="4774869" y="895544"/>
                  <a:pt x="4759829" y="906840"/>
                  <a:pt x="4748551" y="914371"/>
                </a:cubicBezTo>
                <a:cubicBezTo>
                  <a:pt x="4752310" y="929432"/>
                  <a:pt x="4752310" y="944494"/>
                  <a:pt x="4767349" y="955790"/>
                </a:cubicBezTo>
                <a:cubicBezTo>
                  <a:pt x="4767349" y="955790"/>
                  <a:pt x="4767349" y="955790"/>
                  <a:pt x="4797427" y="940729"/>
                </a:cubicBezTo>
                <a:cubicBezTo>
                  <a:pt x="4812466" y="952025"/>
                  <a:pt x="4767349" y="955790"/>
                  <a:pt x="4767349" y="967086"/>
                </a:cubicBezTo>
                <a:cubicBezTo>
                  <a:pt x="4767349" y="989679"/>
                  <a:pt x="4786147" y="1012271"/>
                  <a:pt x="4774869" y="1031098"/>
                </a:cubicBezTo>
                <a:cubicBezTo>
                  <a:pt x="4789907" y="1034863"/>
                  <a:pt x="4786147" y="1038629"/>
                  <a:pt x="4797427" y="1042394"/>
                </a:cubicBezTo>
                <a:cubicBezTo>
                  <a:pt x="4797427" y="1042394"/>
                  <a:pt x="4797427" y="1042394"/>
                  <a:pt x="4846303" y="1019802"/>
                </a:cubicBezTo>
                <a:cubicBezTo>
                  <a:pt x="4846303" y="1019802"/>
                  <a:pt x="4846303" y="1019802"/>
                  <a:pt x="4853823" y="1023567"/>
                </a:cubicBezTo>
                <a:cubicBezTo>
                  <a:pt x="4853823" y="1023567"/>
                  <a:pt x="4853823" y="1023567"/>
                  <a:pt x="4861343" y="1019802"/>
                </a:cubicBezTo>
                <a:cubicBezTo>
                  <a:pt x="4861343" y="1031098"/>
                  <a:pt x="4868862" y="1042394"/>
                  <a:pt x="4865103" y="1053690"/>
                </a:cubicBezTo>
                <a:cubicBezTo>
                  <a:pt x="4838784" y="1072517"/>
                  <a:pt x="4801187" y="1080048"/>
                  <a:pt x="4767349" y="1095110"/>
                </a:cubicBezTo>
                <a:cubicBezTo>
                  <a:pt x="4767349" y="1095110"/>
                  <a:pt x="4767349" y="1095110"/>
                  <a:pt x="4752310" y="1095110"/>
                </a:cubicBezTo>
                <a:cubicBezTo>
                  <a:pt x="4752310" y="1095110"/>
                  <a:pt x="4752310" y="1095110"/>
                  <a:pt x="4756070" y="1091344"/>
                </a:cubicBezTo>
                <a:cubicBezTo>
                  <a:pt x="4756070" y="1083814"/>
                  <a:pt x="4741031" y="1091344"/>
                  <a:pt x="4733511" y="1091344"/>
                </a:cubicBezTo>
                <a:cubicBezTo>
                  <a:pt x="4733511" y="1091344"/>
                  <a:pt x="4733511" y="1091344"/>
                  <a:pt x="4677115" y="1098875"/>
                </a:cubicBezTo>
                <a:cubicBezTo>
                  <a:pt x="4699673" y="1106406"/>
                  <a:pt x="4741031" y="1102641"/>
                  <a:pt x="4756070" y="1106406"/>
                </a:cubicBezTo>
                <a:cubicBezTo>
                  <a:pt x="4725992" y="1121467"/>
                  <a:pt x="4684635" y="1106406"/>
                  <a:pt x="4654557" y="1125233"/>
                </a:cubicBezTo>
                <a:cubicBezTo>
                  <a:pt x="4647037" y="1110171"/>
                  <a:pt x="4598161" y="1121467"/>
                  <a:pt x="4571843" y="1117702"/>
                </a:cubicBezTo>
                <a:cubicBezTo>
                  <a:pt x="4556803" y="1125233"/>
                  <a:pt x="4549284" y="1136529"/>
                  <a:pt x="4530485" y="1140294"/>
                </a:cubicBezTo>
                <a:cubicBezTo>
                  <a:pt x="4530485" y="1140294"/>
                  <a:pt x="4530485" y="1140294"/>
                  <a:pt x="4526726" y="1136529"/>
                </a:cubicBezTo>
                <a:cubicBezTo>
                  <a:pt x="4511687" y="1140294"/>
                  <a:pt x="4500407" y="1155356"/>
                  <a:pt x="4507927" y="1159121"/>
                </a:cubicBezTo>
                <a:cubicBezTo>
                  <a:pt x="4507927" y="1159121"/>
                  <a:pt x="4507927" y="1159121"/>
                  <a:pt x="4511687" y="1162887"/>
                </a:cubicBezTo>
                <a:cubicBezTo>
                  <a:pt x="4496648" y="1162887"/>
                  <a:pt x="4477849" y="1162887"/>
                  <a:pt x="4470329" y="1155356"/>
                </a:cubicBezTo>
                <a:cubicBezTo>
                  <a:pt x="4447771" y="1159121"/>
                  <a:pt x="4425213" y="1162887"/>
                  <a:pt x="4410174" y="1170418"/>
                </a:cubicBezTo>
                <a:cubicBezTo>
                  <a:pt x="4413933" y="1166652"/>
                  <a:pt x="4383855" y="1166652"/>
                  <a:pt x="4406414" y="1159121"/>
                </a:cubicBezTo>
                <a:cubicBezTo>
                  <a:pt x="4383855" y="1162887"/>
                  <a:pt x="4365057" y="1136529"/>
                  <a:pt x="4342499" y="1159121"/>
                </a:cubicBezTo>
                <a:cubicBezTo>
                  <a:pt x="4342499" y="1159121"/>
                  <a:pt x="4342499" y="1159121"/>
                  <a:pt x="4350018" y="1166652"/>
                </a:cubicBezTo>
                <a:cubicBezTo>
                  <a:pt x="4319940" y="1170418"/>
                  <a:pt x="4289862" y="1140294"/>
                  <a:pt x="4282343" y="1170418"/>
                </a:cubicBezTo>
                <a:cubicBezTo>
                  <a:pt x="4286103" y="1174183"/>
                  <a:pt x="4293622" y="1174183"/>
                  <a:pt x="4297381" y="1177948"/>
                </a:cubicBezTo>
                <a:cubicBezTo>
                  <a:pt x="4271063" y="1193010"/>
                  <a:pt x="4263544" y="1166652"/>
                  <a:pt x="4229707" y="1177948"/>
                </a:cubicBezTo>
                <a:cubicBezTo>
                  <a:pt x="4203388" y="1185479"/>
                  <a:pt x="4177070" y="1200541"/>
                  <a:pt x="4146992" y="1200541"/>
                </a:cubicBezTo>
                <a:cubicBezTo>
                  <a:pt x="4109395" y="1208071"/>
                  <a:pt x="4079317" y="1208071"/>
                  <a:pt x="4041719" y="1215602"/>
                </a:cubicBezTo>
                <a:cubicBezTo>
                  <a:pt x="3913888" y="1238195"/>
                  <a:pt x="3782297" y="1245725"/>
                  <a:pt x="3665745" y="1249491"/>
                </a:cubicBezTo>
                <a:cubicBezTo>
                  <a:pt x="3669505" y="1249491"/>
                  <a:pt x="3669505" y="1249491"/>
                  <a:pt x="3673265" y="1245725"/>
                </a:cubicBezTo>
                <a:cubicBezTo>
                  <a:pt x="3583031" y="1219368"/>
                  <a:pt x="3447681" y="1260787"/>
                  <a:pt x="3349927" y="1257022"/>
                </a:cubicBezTo>
                <a:cubicBezTo>
                  <a:pt x="3402564" y="1253256"/>
                  <a:pt x="3447681" y="1245725"/>
                  <a:pt x="3500317" y="1234429"/>
                </a:cubicBezTo>
                <a:cubicBezTo>
                  <a:pt x="3417603" y="1226898"/>
                  <a:pt x="3327369" y="1238195"/>
                  <a:pt x="3244655" y="1241960"/>
                </a:cubicBezTo>
                <a:cubicBezTo>
                  <a:pt x="3267213" y="1230664"/>
                  <a:pt x="3297291" y="1234429"/>
                  <a:pt x="3316090" y="1226898"/>
                </a:cubicBezTo>
                <a:cubicBezTo>
                  <a:pt x="3316090" y="1226898"/>
                  <a:pt x="3316090" y="1226898"/>
                  <a:pt x="3327369" y="1234429"/>
                </a:cubicBezTo>
                <a:cubicBezTo>
                  <a:pt x="3353687" y="1230664"/>
                  <a:pt x="3380005" y="1211837"/>
                  <a:pt x="3410083" y="1215602"/>
                </a:cubicBezTo>
                <a:cubicBezTo>
                  <a:pt x="3410083" y="1215602"/>
                  <a:pt x="3410083" y="1215602"/>
                  <a:pt x="3410083" y="1208071"/>
                </a:cubicBezTo>
                <a:cubicBezTo>
                  <a:pt x="3598070" y="1193010"/>
                  <a:pt x="3804856" y="1185479"/>
                  <a:pt x="3996603" y="1147825"/>
                </a:cubicBezTo>
                <a:cubicBezTo>
                  <a:pt x="4015401" y="1144060"/>
                  <a:pt x="4045479" y="1151591"/>
                  <a:pt x="4056759" y="1136529"/>
                </a:cubicBezTo>
                <a:cubicBezTo>
                  <a:pt x="4056759" y="1136529"/>
                  <a:pt x="4056759" y="1136529"/>
                  <a:pt x="4037960" y="1132764"/>
                </a:cubicBezTo>
                <a:cubicBezTo>
                  <a:pt x="4045479" y="1125233"/>
                  <a:pt x="4060518" y="1128998"/>
                  <a:pt x="4064278" y="1132764"/>
                </a:cubicBezTo>
                <a:cubicBezTo>
                  <a:pt x="4064278" y="1132764"/>
                  <a:pt x="4064278" y="1132764"/>
                  <a:pt x="4068037" y="1132764"/>
                </a:cubicBezTo>
                <a:cubicBezTo>
                  <a:pt x="4075557" y="1121467"/>
                  <a:pt x="4094356" y="1136529"/>
                  <a:pt x="4105635" y="1121467"/>
                </a:cubicBezTo>
                <a:cubicBezTo>
                  <a:pt x="4101875" y="1110171"/>
                  <a:pt x="4079317" y="1121467"/>
                  <a:pt x="4064278" y="1121467"/>
                </a:cubicBezTo>
                <a:cubicBezTo>
                  <a:pt x="4049239" y="1117702"/>
                  <a:pt x="4022921" y="1106406"/>
                  <a:pt x="3985323" y="1121467"/>
                </a:cubicBezTo>
                <a:cubicBezTo>
                  <a:pt x="3868771" y="1106406"/>
                  <a:pt x="3748460" y="1147825"/>
                  <a:pt x="3631908" y="1132764"/>
                </a:cubicBezTo>
                <a:cubicBezTo>
                  <a:pt x="3594311" y="1117702"/>
                  <a:pt x="3526635" y="1140294"/>
                  <a:pt x="3470239" y="1140294"/>
                </a:cubicBezTo>
                <a:cubicBezTo>
                  <a:pt x="3308570" y="1159121"/>
                  <a:pt x="3146901" y="1147825"/>
                  <a:pt x="2981473" y="1170418"/>
                </a:cubicBezTo>
                <a:cubicBezTo>
                  <a:pt x="2913798" y="1159121"/>
                  <a:pt x="2846123" y="1181714"/>
                  <a:pt x="2789726" y="1166652"/>
                </a:cubicBezTo>
                <a:cubicBezTo>
                  <a:pt x="2691973" y="1159121"/>
                  <a:pt x="2601740" y="1174183"/>
                  <a:pt x="2519025" y="1159121"/>
                </a:cubicBezTo>
                <a:cubicBezTo>
                  <a:pt x="2519025" y="1159121"/>
                  <a:pt x="2519025" y="1159121"/>
                  <a:pt x="2511506" y="1162887"/>
                </a:cubicBezTo>
                <a:cubicBezTo>
                  <a:pt x="2503986" y="1155356"/>
                  <a:pt x="2492707" y="1166652"/>
                  <a:pt x="2488947" y="1166652"/>
                </a:cubicBezTo>
                <a:cubicBezTo>
                  <a:pt x="2451350" y="1177948"/>
                  <a:pt x="2406233" y="1177948"/>
                  <a:pt x="2368636" y="1177948"/>
                </a:cubicBezTo>
                <a:cubicBezTo>
                  <a:pt x="2323519" y="1196775"/>
                  <a:pt x="2274642" y="1193010"/>
                  <a:pt x="2225766" y="1196775"/>
                </a:cubicBezTo>
                <a:cubicBezTo>
                  <a:pt x="2000181" y="1196775"/>
                  <a:pt x="1706922" y="1193010"/>
                  <a:pt x="1466298" y="1189245"/>
                </a:cubicBezTo>
                <a:cubicBezTo>
                  <a:pt x="1402383" y="1174183"/>
                  <a:pt x="1327188" y="1189245"/>
                  <a:pt x="1259513" y="1177948"/>
                </a:cubicBezTo>
                <a:cubicBezTo>
                  <a:pt x="1165519" y="1174183"/>
                  <a:pt x="1086565" y="1162887"/>
                  <a:pt x="992571" y="1162887"/>
                </a:cubicBezTo>
                <a:cubicBezTo>
                  <a:pt x="966253" y="1162887"/>
                  <a:pt x="917377" y="1162887"/>
                  <a:pt x="891058" y="1155356"/>
                </a:cubicBezTo>
                <a:lnTo>
                  <a:pt x="883995" y="1158893"/>
                </a:lnTo>
                <a:lnTo>
                  <a:pt x="876489" y="1158650"/>
                </a:lnTo>
                <a:cubicBezTo>
                  <a:pt x="861920" y="1158180"/>
                  <a:pt x="832782" y="1157239"/>
                  <a:pt x="774506" y="1155356"/>
                </a:cubicBezTo>
                <a:cubicBezTo>
                  <a:pt x="755708" y="1166652"/>
                  <a:pt x="733149" y="1155356"/>
                  <a:pt x="710591" y="1166652"/>
                </a:cubicBezTo>
                <a:cubicBezTo>
                  <a:pt x="661714" y="1162887"/>
                  <a:pt x="590279" y="1166652"/>
                  <a:pt x="530123" y="1166652"/>
                </a:cubicBezTo>
                <a:cubicBezTo>
                  <a:pt x="522604" y="1166652"/>
                  <a:pt x="522604" y="1174183"/>
                  <a:pt x="511325" y="1170418"/>
                </a:cubicBezTo>
                <a:cubicBezTo>
                  <a:pt x="511325" y="1170418"/>
                  <a:pt x="511325" y="1170418"/>
                  <a:pt x="507565" y="1170418"/>
                </a:cubicBezTo>
                <a:cubicBezTo>
                  <a:pt x="500046" y="1174183"/>
                  <a:pt x="496286" y="1177948"/>
                  <a:pt x="488766" y="1174183"/>
                </a:cubicBezTo>
                <a:cubicBezTo>
                  <a:pt x="469968" y="1170418"/>
                  <a:pt x="443649" y="1166652"/>
                  <a:pt x="424851" y="1170418"/>
                </a:cubicBezTo>
                <a:cubicBezTo>
                  <a:pt x="424851" y="1170418"/>
                  <a:pt x="424851" y="1170418"/>
                  <a:pt x="421091" y="1162887"/>
                </a:cubicBezTo>
                <a:cubicBezTo>
                  <a:pt x="413572" y="1166652"/>
                  <a:pt x="409812" y="1170418"/>
                  <a:pt x="398533" y="1170418"/>
                </a:cubicBezTo>
                <a:cubicBezTo>
                  <a:pt x="406052" y="1151591"/>
                  <a:pt x="368455" y="1166652"/>
                  <a:pt x="357175" y="1159121"/>
                </a:cubicBezTo>
                <a:cubicBezTo>
                  <a:pt x="349655" y="1162887"/>
                  <a:pt x="342136" y="1159121"/>
                  <a:pt x="334617" y="1162887"/>
                </a:cubicBezTo>
                <a:cubicBezTo>
                  <a:pt x="338376" y="1159121"/>
                  <a:pt x="334617" y="1159121"/>
                  <a:pt x="338376" y="1155356"/>
                </a:cubicBezTo>
                <a:cubicBezTo>
                  <a:pt x="323337" y="1155356"/>
                  <a:pt x="315818" y="1151591"/>
                  <a:pt x="300779" y="1155356"/>
                </a:cubicBezTo>
                <a:cubicBezTo>
                  <a:pt x="289500" y="1140294"/>
                  <a:pt x="263181" y="1140294"/>
                  <a:pt x="233104" y="1140294"/>
                </a:cubicBezTo>
                <a:cubicBezTo>
                  <a:pt x="266941" y="1136529"/>
                  <a:pt x="323337" y="1136529"/>
                  <a:pt x="353415" y="1125233"/>
                </a:cubicBezTo>
                <a:cubicBezTo>
                  <a:pt x="345896" y="1121467"/>
                  <a:pt x="330857" y="1125233"/>
                  <a:pt x="315818" y="1125233"/>
                </a:cubicBezTo>
                <a:cubicBezTo>
                  <a:pt x="312058" y="1117702"/>
                  <a:pt x="323337" y="1113937"/>
                  <a:pt x="327097" y="1110171"/>
                </a:cubicBezTo>
                <a:cubicBezTo>
                  <a:pt x="327097" y="1110171"/>
                  <a:pt x="327097" y="1110171"/>
                  <a:pt x="274461" y="1102641"/>
                </a:cubicBezTo>
                <a:cubicBezTo>
                  <a:pt x="297019" y="1102641"/>
                  <a:pt x="360935" y="1106406"/>
                  <a:pt x="387253" y="1095110"/>
                </a:cubicBezTo>
                <a:cubicBezTo>
                  <a:pt x="364695" y="1091344"/>
                  <a:pt x="349655" y="1095110"/>
                  <a:pt x="334617" y="1095110"/>
                </a:cubicBezTo>
                <a:cubicBezTo>
                  <a:pt x="338376" y="1087579"/>
                  <a:pt x="319578" y="1083814"/>
                  <a:pt x="312058" y="1083814"/>
                </a:cubicBezTo>
                <a:cubicBezTo>
                  <a:pt x="308298" y="1080048"/>
                  <a:pt x="353415" y="1083814"/>
                  <a:pt x="338376" y="1072517"/>
                </a:cubicBezTo>
                <a:cubicBezTo>
                  <a:pt x="360935" y="1068752"/>
                  <a:pt x="342136" y="1049925"/>
                  <a:pt x="372214" y="1046160"/>
                </a:cubicBezTo>
                <a:cubicBezTo>
                  <a:pt x="338376" y="1042394"/>
                  <a:pt x="323337" y="1080048"/>
                  <a:pt x="293259" y="1064987"/>
                </a:cubicBezTo>
                <a:cubicBezTo>
                  <a:pt x="281980" y="1057456"/>
                  <a:pt x="315818" y="1031098"/>
                  <a:pt x="281980" y="1034863"/>
                </a:cubicBezTo>
                <a:cubicBezTo>
                  <a:pt x="236863" y="1016037"/>
                  <a:pt x="334617" y="1012271"/>
                  <a:pt x="308298" y="985913"/>
                </a:cubicBezTo>
                <a:cubicBezTo>
                  <a:pt x="315818" y="982148"/>
                  <a:pt x="315818" y="978383"/>
                  <a:pt x="323337" y="978383"/>
                </a:cubicBezTo>
                <a:cubicBezTo>
                  <a:pt x="300779" y="978383"/>
                  <a:pt x="289500" y="963321"/>
                  <a:pt x="263181" y="970852"/>
                </a:cubicBezTo>
                <a:cubicBezTo>
                  <a:pt x="206785" y="948259"/>
                  <a:pt x="289500" y="940729"/>
                  <a:pt x="300779" y="918136"/>
                </a:cubicBezTo>
                <a:cubicBezTo>
                  <a:pt x="312058" y="918136"/>
                  <a:pt x="327097" y="918136"/>
                  <a:pt x="330857" y="914371"/>
                </a:cubicBezTo>
                <a:cubicBezTo>
                  <a:pt x="251902" y="880482"/>
                  <a:pt x="139110" y="872952"/>
                  <a:pt x="67675" y="831532"/>
                </a:cubicBezTo>
                <a:cubicBezTo>
                  <a:pt x="52636" y="827767"/>
                  <a:pt x="33837" y="824001"/>
                  <a:pt x="11279" y="824001"/>
                </a:cubicBezTo>
                <a:cubicBezTo>
                  <a:pt x="11279" y="824001"/>
                  <a:pt x="11279" y="824001"/>
                  <a:pt x="0" y="820236"/>
                </a:cubicBezTo>
                <a:cubicBezTo>
                  <a:pt x="0" y="820236"/>
                  <a:pt x="0" y="820236"/>
                  <a:pt x="30078" y="820236"/>
                </a:cubicBezTo>
                <a:cubicBezTo>
                  <a:pt x="26318" y="820236"/>
                  <a:pt x="33837" y="824001"/>
                  <a:pt x="33837" y="824001"/>
                </a:cubicBezTo>
                <a:cubicBezTo>
                  <a:pt x="41357" y="824001"/>
                  <a:pt x="41357" y="820236"/>
                  <a:pt x="45117" y="820236"/>
                </a:cubicBezTo>
                <a:cubicBezTo>
                  <a:pt x="45117" y="820236"/>
                  <a:pt x="45117" y="820236"/>
                  <a:pt x="45117" y="812705"/>
                </a:cubicBezTo>
                <a:cubicBezTo>
                  <a:pt x="101513" y="831532"/>
                  <a:pt x="161669" y="857890"/>
                  <a:pt x="236863" y="865421"/>
                </a:cubicBezTo>
                <a:cubicBezTo>
                  <a:pt x="236863" y="865421"/>
                  <a:pt x="236863" y="865421"/>
                  <a:pt x="240623" y="861655"/>
                </a:cubicBezTo>
                <a:cubicBezTo>
                  <a:pt x="236863" y="872952"/>
                  <a:pt x="251902" y="869186"/>
                  <a:pt x="259422" y="869186"/>
                </a:cubicBezTo>
                <a:cubicBezTo>
                  <a:pt x="259422" y="869186"/>
                  <a:pt x="259422" y="869186"/>
                  <a:pt x="270701" y="861655"/>
                </a:cubicBezTo>
                <a:cubicBezTo>
                  <a:pt x="270701" y="861655"/>
                  <a:pt x="270701" y="861655"/>
                  <a:pt x="274461" y="865421"/>
                </a:cubicBezTo>
                <a:cubicBezTo>
                  <a:pt x="274461" y="865421"/>
                  <a:pt x="274461" y="865421"/>
                  <a:pt x="278220" y="861655"/>
                </a:cubicBezTo>
                <a:cubicBezTo>
                  <a:pt x="274461" y="854125"/>
                  <a:pt x="251902" y="854125"/>
                  <a:pt x="233104" y="857890"/>
                </a:cubicBezTo>
                <a:cubicBezTo>
                  <a:pt x="233104" y="839063"/>
                  <a:pt x="270701" y="850359"/>
                  <a:pt x="278220" y="842828"/>
                </a:cubicBezTo>
                <a:cubicBezTo>
                  <a:pt x="278220" y="842828"/>
                  <a:pt x="278220" y="842828"/>
                  <a:pt x="293259" y="842828"/>
                </a:cubicBezTo>
                <a:cubicBezTo>
                  <a:pt x="297019" y="846594"/>
                  <a:pt x="281980" y="850359"/>
                  <a:pt x="278220" y="854125"/>
                </a:cubicBezTo>
                <a:cubicBezTo>
                  <a:pt x="289500" y="854125"/>
                  <a:pt x="300779" y="865421"/>
                  <a:pt x="312058" y="857890"/>
                </a:cubicBezTo>
                <a:cubicBezTo>
                  <a:pt x="297019" y="850359"/>
                  <a:pt x="315818" y="850359"/>
                  <a:pt x="312058" y="842828"/>
                </a:cubicBezTo>
                <a:cubicBezTo>
                  <a:pt x="312058" y="842828"/>
                  <a:pt x="312058" y="842828"/>
                  <a:pt x="308298" y="839063"/>
                </a:cubicBezTo>
                <a:cubicBezTo>
                  <a:pt x="308298" y="839063"/>
                  <a:pt x="308298" y="839063"/>
                  <a:pt x="304539" y="839063"/>
                </a:cubicBezTo>
                <a:cubicBezTo>
                  <a:pt x="308298" y="839063"/>
                  <a:pt x="308298" y="839063"/>
                  <a:pt x="308298" y="835298"/>
                </a:cubicBezTo>
                <a:cubicBezTo>
                  <a:pt x="308298" y="835298"/>
                  <a:pt x="308298" y="835298"/>
                  <a:pt x="297019" y="831532"/>
                </a:cubicBezTo>
                <a:cubicBezTo>
                  <a:pt x="289500" y="835298"/>
                  <a:pt x="278220" y="839063"/>
                  <a:pt x="270701" y="835298"/>
                </a:cubicBezTo>
                <a:cubicBezTo>
                  <a:pt x="274461" y="827767"/>
                  <a:pt x="300779" y="827767"/>
                  <a:pt x="312058" y="820236"/>
                </a:cubicBezTo>
                <a:cubicBezTo>
                  <a:pt x="312058" y="820236"/>
                  <a:pt x="312058" y="820236"/>
                  <a:pt x="308298" y="816471"/>
                </a:cubicBezTo>
                <a:cubicBezTo>
                  <a:pt x="319578" y="808940"/>
                  <a:pt x="383494" y="812705"/>
                  <a:pt x="353415" y="793878"/>
                </a:cubicBezTo>
                <a:cubicBezTo>
                  <a:pt x="349655" y="790113"/>
                  <a:pt x="342136" y="790113"/>
                  <a:pt x="334617" y="790113"/>
                </a:cubicBezTo>
                <a:cubicBezTo>
                  <a:pt x="304539" y="801409"/>
                  <a:pt x="270701" y="835298"/>
                  <a:pt x="233104" y="824001"/>
                </a:cubicBezTo>
                <a:cubicBezTo>
                  <a:pt x="210545" y="839063"/>
                  <a:pt x="191746" y="835298"/>
                  <a:pt x="161669" y="839063"/>
                </a:cubicBezTo>
                <a:cubicBezTo>
                  <a:pt x="161669" y="839063"/>
                  <a:pt x="161669" y="839063"/>
                  <a:pt x="184227" y="827767"/>
                </a:cubicBezTo>
                <a:cubicBezTo>
                  <a:pt x="184227" y="827767"/>
                  <a:pt x="184227" y="827767"/>
                  <a:pt x="176707" y="827767"/>
                </a:cubicBezTo>
                <a:cubicBezTo>
                  <a:pt x="199266" y="827767"/>
                  <a:pt x="214305" y="805175"/>
                  <a:pt x="251902" y="805175"/>
                </a:cubicBezTo>
                <a:cubicBezTo>
                  <a:pt x="259422" y="801409"/>
                  <a:pt x="259422" y="793878"/>
                  <a:pt x="274461" y="797644"/>
                </a:cubicBezTo>
                <a:cubicBezTo>
                  <a:pt x="274461" y="797644"/>
                  <a:pt x="274461" y="797644"/>
                  <a:pt x="281980" y="797644"/>
                </a:cubicBezTo>
                <a:cubicBezTo>
                  <a:pt x="281980" y="797644"/>
                  <a:pt x="281980" y="797644"/>
                  <a:pt x="297019" y="790113"/>
                </a:cubicBezTo>
                <a:cubicBezTo>
                  <a:pt x="297019" y="790113"/>
                  <a:pt x="297019" y="790113"/>
                  <a:pt x="293259" y="786348"/>
                </a:cubicBezTo>
                <a:cubicBezTo>
                  <a:pt x="281980" y="778817"/>
                  <a:pt x="372214" y="782582"/>
                  <a:pt x="327097" y="763755"/>
                </a:cubicBezTo>
                <a:cubicBezTo>
                  <a:pt x="300779" y="778817"/>
                  <a:pt x="255662" y="771286"/>
                  <a:pt x="236863" y="786348"/>
                </a:cubicBezTo>
                <a:cubicBezTo>
                  <a:pt x="236863" y="786348"/>
                  <a:pt x="236863" y="786348"/>
                  <a:pt x="199266" y="790113"/>
                </a:cubicBezTo>
                <a:cubicBezTo>
                  <a:pt x="244383" y="771286"/>
                  <a:pt x="330857" y="763755"/>
                  <a:pt x="330857" y="726101"/>
                </a:cubicBezTo>
                <a:cubicBezTo>
                  <a:pt x="345896" y="718570"/>
                  <a:pt x="353415" y="711040"/>
                  <a:pt x="357175" y="699743"/>
                </a:cubicBezTo>
                <a:cubicBezTo>
                  <a:pt x="360935" y="703509"/>
                  <a:pt x="360935" y="699743"/>
                  <a:pt x="364695" y="699743"/>
                </a:cubicBezTo>
                <a:cubicBezTo>
                  <a:pt x="364695" y="699743"/>
                  <a:pt x="364695" y="699743"/>
                  <a:pt x="364695" y="688447"/>
                </a:cubicBezTo>
                <a:cubicBezTo>
                  <a:pt x="387253" y="680917"/>
                  <a:pt x="398533" y="665855"/>
                  <a:pt x="402292" y="650793"/>
                </a:cubicBezTo>
                <a:cubicBezTo>
                  <a:pt x="439890" y="628201"/>
                  <a:pt x="417331" y="575486"/>
                  <a:pt x="511325" y="579251"/>
                </a:cubicBezTo>
                <a:cubicBezTo>
                  <a:pt x="526364" y="564190"/>
                  <a:pt x="537643" y="549128"/>
                  <a:pt x="551742" y="534537"/>
                </a:cubicBezTo>
                <a:lnTo>
                  <a:pt x="561872" y="527136"/>
                </a:lnTo>
                <a:lnTo>
                  <a:pt x="558113" y="526214"/>
                </a:lnTo>
                <a:cubicBezTo>
                  <a:pt x="511116" y="514918"/>
                  <a:pt x="465059" y="502680"/>
                  <a:pt x="429342" y="481970"/>
                </a:cubicBezTo>
                <a:cubicBezTo>
                  <a:pt x="414303" y="478205"/>
                  <a:pt x="395504" y="474440"/>
                  <a:pt x="372945" y="474440"/>
                </a:cubicBezTo>
                <a:cubicBezTo>
                  <a:pt x="372945" y="474440"/>
                  <a:pt x="372945" y="474440"/>
                  <a:pt x="361666" y="470674"/>
                </a:cubicBezTo>
                <a:cubicBezTo>
                  <a:pt x="361666" y="470674"/>
                  <a:pt x="361666" y="470674"/>
                  <a:pt x="391744" y="470674"/>
                </a:cubicBezTo>
                <a:cubicBezTo>
                  <a:pt x="387984" y="470674"/>
                  <a:pt x="395504" y="474440"/>
                  <a:pt x="395504" y="474440"/>
                </a:cubicBezTo>
                <a:cubicBezTo>
                  <a:pt x="403023" y="474440"/>
                  <a:pt x="403023" y="470674"/>
                  <a:pt x="406783" y="470674"/>
                </a:cubicBezTo>
                <a:cubicBezTo>
                  <a:pt x="406783" y="470674"/>
                  <a:pt x="406783" y="470674"/>
                  <a:pt x="406783" y="463144"/>
                </a:cubicBezTo>
                <a:cubicBezTo>
                  <a:pt x="434981" y="472557"/>
                  <a:pt x="464119" y="483853"/>
                  <a:pt x="495607" y="493737"/>
                </a:cubicBezTo>
                <a:lnTo>
                  <a:pt x="582131" y="512335"/>
                </a:lnTo>
                <a:lnTo>
                  <a:pt x="609078" y="492647"/>
                </a:lnTo>
                <a:cubicBezTo>
                  <a:pt x="610958" y="494530"/>
                  <a:pt x="614718" y="494530"/>
                  <a:pt x="618947" y="494530"/>
                </a:cubicBezTo>
                <a:lnTo>
                  <a:pt x="624178" y="495306"/>
                </a:lnTo>
                <a:lnTo>
                  <a:pt x="639060" y="493374"/>
                </a:lnTo>
                <a:lnTo>
                  <a:pt x="653196" y="487588"/>
                </a:lnTo>
                <a:lnTo>
                  <a:pt x="661962" y="483064"/>
                </a:lnTo>
                <a:lnTo>
                  <a:pt x="658686" y="481970"/>
                </a:lnTo>
                <a:cubicBezTo>
                  <a:pt x="651166" y="485736"/>
                  <a:pt x="639887" y="489501"/>
                  <a:pt x="632367" y="485736"/>
                </a:cubicBezTo>
                <a:cubicBezTo>
                  <a:pt x="636127" y="478205"/>
                  <a:pt x="662445" y="478205"/>
                  <a:pt x="673725" y="470674"/>
                </a:cubicBezTo>
                <a:cubicBezTo>
                  <a:pt x="673725" y="470674"/>
                  <a:pt x="673725" y="470674"/>
                  <a:pt x="669965" y="466909"/>
                </a:cubicBezTo>
                <a:cubicBezTo>
                  <a:pt x="681244" y="459378"/>
                  <a:pt x="745160" y="463144"/>
                  <a:pt x="715082" y="444317"/>
                </a:cubicBezTo>
                <a:cubicBezTo>
                  <a:pt x="711322" y="440551"/>
                  <a:pt x="703802" y="440551"/>
                  <a:pt x="696283" y="440551"/>
                </a:cubicBezTo>
                <a:cubicBezTo>
                  <a:pt x="666205" y="451847"/>
                  <a:pt x="632367" y="485736"/>
                  <a:pt x="594770" y="474440"/>
                </a:cubicBezTo>
                <a:cubicBezTo>
                  <a:pt x="572212" y="489501"/>
                  <a:pt x="553413" y="485736"/>
                  <a:pt x="523335" y="489501"/>
                </a:cubicBezTo>
                <a:cubicBezTo>
                  <a:pt x="523335" y="489501"/>
                  <a:pt x="523335" y="489501"/>
                  <a:pt x="545893" y="478205"/>
                </a:cubicBezTo>
                <a:cubicBezTo>
                  <a:pt x="545893" y="478205"/>
                  <a:pt x="545893" y="478205"/>
                  <a:pt x="538374" y="478205"/>
                </a:cubicBezTo>
                <a:cubicBezTo>
                  <a:pt x="560932" y="478205"/>
                  <a:pt x="575971" y="455613"/>
                  <a:pt x="613569" y="455613"/>
                </a:cubicBezTo>
                <a:cubicBezTo>
                  <a:pt x="621088" y="451847"/>
                  <a:pt x="621088" y="444317"/>
                  <a:pt x="636127" y="448082"/>
                </a:cubicBezTo>
                <a:cubicBezTo>
                  <a:pt x="636127" y="448082"/>
                  <a:pt x="636127" y="448082"/>
                  <a:pt x="643647" y="448082"/>
                </a:cubicBezTo>
                <a:cubicBezTo>
                  <a:pt x="643647" y="448082"/>
                  <a:pt x="643647" y="448082"/>
                  <a:pt x="658686" y="440551"/>
                </a:cubicBezTo>
                <a:cubicBezTo>
                  <a:pt x="658686" y="440551"/>
                  <a:pt x="658686" y="440551"/>
                  <a:pt x="654926" y="436786"/>
                </a:cubicBezTo>
                <a:cubicBezTo>
                  <a:pt x="643647" y="429255"/>
                  <a:pt x="733880" y="433020"/>
                  <a:pt x="688764" y="414193"/>
                </a:cubicBezTo>
                <a:cubicBezTo>
                  <a:pt x="662445" y="429255"/>
                  <a:pt x="617328" y="421724"/>
                  <a:pt x="598530" y="436786"/>
                </a:cubicBezTo>
                <a:cubicBezTo>
                  <a:pt x="598530" y="436786"/>
                  <a:pt x="598530" y="436786"/>
                  <a:pt x="560932" y="440551"/>
                </a:cubicBezTo>
                <a:cubicBezTo>
                  <a:pt x="606049" y="421724"/>
                  <a:pt x="692523" y="414193"/>
                  <a:pt x="692523" y="376539"/>
                </a:cubicBezTo>
                <a:cubicBezTo>
                  <a:pt x="707562" y="369009"/>
                  <a:pt x="715082" y="361478"/>
                  <a:pt x="718841" y="350182"/>
                </a:cubicBezTo>
                <a:cubicBezTo>
                  <a:pt x="722601" y="353947"/>
                  <a:pt x="722601" y="350182"/>
                  <a:pt x="726361" y="350182"/>
                </a:cubicBezTo>
                <a:cubicBezTo>
                  <a:pt x="726361" y="350182"/>
                  <a:pt x="726361" y="350182"/>
                  <a:pt x="726361" y="338886"/>
                </a:cubicBezTo>
                <a:cubicBezTo>
                  <a:pt x="748919" y="331355"/>
                  <a:pt x="760199" y="316293"/>
                  <a:pt x="763958" y="301232"/>
                </a:cubicBezTo>
                <a:cubicBezTo>
                  <a:pt x="801556" y="278639"/>
                  <a:pt x="778997" y="225924"/>
                  <a:pt x="872991" y="229689"/>
                </a:cubicBezTo>
                <a:cubicBezTo>
                  <a:pt x="903069" y="199566"/>
                  <a:pt x="918108" y="169443"/>
                  <a:pt x="970744" y="143085"/>
                </a:cubicBezTo>
                <a:cubicBezTo>
                  <a:pt x="974504" y="146851"/>
                  <a:pt x="985783" y="143085"/>
                  <a:pt x="993302" y="146851"/>
                </a:cubicBezTo>
                <a:cubicBezTo>
                  <a:pt x="1023380" y="139320"/>
                  <a:pt x="1045939" y="109197"/>
                  <a:pt x="1087296" y="124258"/>
                </a:cubicBezTo>
                <a:cubicBezTo>
                  <a:pt x="1098575" y="128024"/>
                  <a:pt x="1102335" y="124258"/>
                  <a:pt x="1109854" y="120493"/>
                </a:cubicBezTo>
                <a:cubicBezTo>
                  <a:pt x="1109854" y="120493"/>
                  <a:pt x="1109854" y="120493"/>
                  <a:pt x="1109854" y="112962"/>
                </a:cubicBezTo>
                <a:cubicBezTo>
                  <a:pt x="1113614" y="128024"/>
                  <a:pt x="1154971" y="124258"/>
                  <a:pt x="1173770" y="120493"/>
                </a:cubicBezTo>
                <a:cubicBezTo>
                  <a:pt x="1170010" y="124258"/>
                  <a:pt x="1177530" y="128024"/>
                  <a:pt x="1166250" y="131789"/>
                </a:cubicBezTo>
                <a:cubicBezTo>
                  <a:pt x="1211367" y="139320"/>
                  <a:pt x="1233926" y="161912"/>
                  <a:pt x="1290322" y="154381"/>
                </a:cubicBezTo>
                <a:cubicBezTo>
                  <a:pt x="1290322" y="154381"/>
                  <a:pt x="1290322" y="154381"/>
                  <a:pt x="1286562" y="158147"/>
                </a:cubicBezTo>
                <a:cubicBezTo>
                  <a:pt x="1297841" y="158147"/>
                  <a:pt x="1301601" y="165678"/>
                  <a:pt x="1316640" y="161912"/>
                </a:cubicBezTo>
                <a:cubicBezTo>
                  <a:pt x="1350478" y="143085"/>
                  <a:pt x="1339198" y="109197"/>
                  <a:pt x="1399354" y="101666"/>
                </a:cubicBezTo>
                <a:cubicBezTo>
                  <a:pt x="1399354" y="94135"/>
                  <a:pt x="1406874" y="79073"/>
                  <a:pt x="1380555" y="82839"/>
                </a:cubicBezTo>
                <a:cubicBezTo>
                  <a:pt x="1376796" y="82839"/>
                  <a:pt x="1369276" y="86604"/>
                  <a:pt x="1369276" y="90370"/>
                </a:cubicBezTo>
                <a:cubicBezTo>
                  <a:pt x="1369276" y="86604"/>
                  <a:pt x="1369276" y="86604"/>
                  <a:pt x="1369276" y="86604"/>
                </a:cubicBezTo>
                <a:cubicBezTo>
                  <a:pt x="1339198" y="79073"/>
                  <a:pt x="1309120" y="79073"/>
                  <a:pt x="1275283" y="86604"/>
                </a:cubicBezTo>
                <a:cubicBezTo>
                  <a:pt x="1275283" y="86604"/>
                  <a:pt x="1275283" y="86604"/>
                  <a:pt x="1252724" y="97900"/>
                </a:cubicBezTo>
                <a:cubicBezTo>
                  <a:pt x="1248965" y="86604"/>
                  <a:pt x="1301601" y="86604"/>
                  <a:pt x="1282802" y="71543"/>
                </a:cubicBezTo>
                <a:cubicBezTo>
                  <a:pt x="1282802" y="71543"/>
                  <a:pt x="1282802" y="71543"/>
                  <a:pt x="1309120" y="67777"/>
                </a:cubicBezTo>
                <a:cubicBezTo>
                  <a:pt x="1327919" y="79073"/>
                  <a:pt x="1373036" y="79073"/>
                  <a:pt x="1399354" y="82839"/>
                </a:cubicBezTo>
                <a:cubicBezTo>
                  <a:pt x="1425672" y="82839"/>
                  <a:pt x="1433192" y="60247"/>
                  <a:pt x="1455750" y="56481"/>
                </a:cubicBezTo>
                <a:cubicBezTo>
                  <a:pt x="1455750" y="52716"/>
                  <a:pt x="1448231" y="52716"/>
                  <a:pt x="1440711" y="52716"/>
                </a:cubicBezTo>
                <a:cubicBezTo>
                  <a:pt x="1444471" y="33889"/>
                  <a:pt x="1485828" y="33889"/>
                  <a:pt x="1508387" y="22593"/>
                </a:cubicBezTo>
                <a:cubicBezTo>
                  <a:pt x="1497107" y="18827"/>
                  <a:pt x="1485828" y="15062"/>
                  <a:pt x="1474549" y="18827"/>
                </a:cubicBezTo>
                <a:cubicBezTo>
                  <a:pt x="1512146" y="7531"/>
                  <a:pt x="1557263" y="18827"/>
                  <a:pt x="1594861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800" b="1" dirty="0">
                <a:solidFill>
                  <a:srgbClr val="C00000"/>
                </a:solidFill>
                <a:latin typeface="汉仪雁翎体简" panose="02010609000101010101" pitchFamily="49" charset="-122"/>
                <a:ea typeface="汉仪雁翎体简" panose="02010609000101010101" pitchFamily="49" charset="-122"/>
              </a:rPr>
              <a:t>   </a:t>
            </a:r>
            <a:endParaRPr lang="en-US" altLang="zh-CN" sz="1800" b="1" dirty="0">
              <a:solidFill>
                <a:srgbClr val="C00000"/>
              </a:solidFill>
              <a:latin typeface="汉仪雁翎体简" panose="02010609000101010101" pitchFamily="49" charset="-122"/>
              <a:ea typeface="汉仪雁翎体简" panose="02010609000101010101" pitchFamily="49" charset="-122"/>
            </a:endParaRPr>
          </a:p>
          <a:p>
            <a:r>
              <a:rPr lang="zh-CN" altLang="en-US" sz="2400" b="1" dirty="0">
                <a:solidFill>
                  <a:srgbClr val="C00000"/>
                </a:solidFill>
                <a:latin typeface="汉仪雁翎体简" panose="02010609000101010101" pitchFamily="49" charset="-122"/>
                <a:ea typeface="汉仪雁翎体简" panose="02010609000101010101" pitchFamily="49" charset="-122"/>
              </a:rPr>
              <a:t>     长春孤城</a:t>
            </a:r>
            <a:r>
              <a:rPr lang="en-US" altLang="zh-CN" sz="2400" b="1" dirty="0">
                <a:solidFill>
                  <a:srgbClr val="C00000"/>
                </a:solidFill>
                <a:latin typeface="汉仪雁翎体简" panose="02010609000101010101" pitchFamily="49" charset="-122"/>
                <a:ea typeface="汉仪雁翎体简" panose="02010609000101010101" pitchFamily="49" charset="-122"/>
              </a:rPr>
              <a:t>MVP</a:t>
            </a:r>
            <a:endParaRPr lang="zh-CN" altLang="en-US" sz="2400" dirty="0">
              <a:solidFill>
                <a:prstClr val="black"/>
              </a:solidFill>
            </a:endParaRPr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78B7D95C-AFC6-343E-67ED-B4815D432E11}"/>
              </a:ext>
            </a:extLst>
          </p:cNvPr>
          <p:cNvSpPr>
            <a:spLocks/>
          </p:cNvSpPr>
          <p:nvPr/>
        </p:nvSpPr>
        <p:spPr bwMode="auto">
          <a:xfrm rot="942454">
            <a:off x="543224" y="3245534"/>
            <a:ext cx="3387829" cy="1069960"/>
          </a:xfrm>
          <a:custGeom>
            <a:avLst/>
            <a:gdLst>
              <a:gd name="connsiteX0" fmla="*/ 883995 w 5227821"/>
              <a:gd name="connsiteY0" fmla="*/ 1158893 h 1257266"/>
              <a:gd name="connsiteX1" fmla="*/ 891058 w 5227821"/>
              <a:gd name="connsiteY1" fmla="*/ 1159121 h 1257266"/>
              <a:gd name="connsiteX2" fmla="*/ 883539 w 5227821"/>
              <a:gd name="connsiteY2" fmla="*/ 1159121 h 1257266"/>
              <a:gd name="connsiteX3" fmla="*/ 4615788 w 5227821"/>
              <a:gd name="connsiteY3" fmla="*/ 826594 h 1257266"/>
              <a:gd name="connsiteX4" fmla="*/ 4616959 w 5227821"/>
              <a:gd name="connsiteY4" fmla="*/ 827767 h 1257266"/>
              <a:gd name="connsiteX5" fmla="*/ 4617450 w 5227821"/>
              <a:gd name="connsiteY5" fmla="*/ 827029 h 1257266"/>
              <a:gd name="connsiteX6" fmla="*/ 4610559 w 5227821"/>
              <a:gd name="connsiteY6" fmla="*/ 825984 h 1257266"/>
              <a:gd name="connsiteX7" fmla="*/ 4591373 w 5227821"/>
              <a:gd name="connsiteY7" fmla="*/ 828386 h 1257266"/>
              <a:gd name="connsiteX8" fmla="*/ 4584680 w 5227821"/>
              <a:gd name="connsiteY8" fmla="*/ 830752 h 1257266"/>
              <a:gd name="connsiteX9" fmla="*/ 4583122 w 5227821"/>
              <a:gd name="connsiteY9" fmla="*/ 831532 h 1257266"/>
              <a:gd name="connsiteX10" fmla="*/ 4598161 w 5227821"/>
              <a:gd name="connsiteY10" fmla="*/ 835298 h 1257266"/>
              <a:gd name="connsiteX11" fmla="*/ 4600041 w 5227821"/>
              <a:gd name="connsiteY11" fmla="*/ 833886 h 1257266"/>
              <a:gd name="connsiteX12" fmla="*/ 4763331 w 5227821"/>
              <a:gd name="connsiteY12" fmla="*/ 809097 h 1257266"/>
              <a:gd name="connsiteX13" fmla="*/ 4764025 w 5227821"/>
              <a:gd name="connsiteY13" fmla="*/ 815097 h 1257266"/>
              <a:gd name="connsiteX14" fmla="*/ 4768080 w 5227821"/>
              <a:gd name="connsiteY14" fmla="*/ 809559 h 1257266"/>
              <a:gd name="connsiteX15" fmla="*/ 4653526 w 5227821"/>
              <a:gd name="connsiteY15" fmla="*/ 808089 h 1257266"/>
              <a:gd name="connsiteX16" fmla="*/ 4644009 w 5227821"/>
              <a:gd name="connsiteY16" fmla="*/ 820856 h 1257266"/>
              <a:gd name="connsiteX17" fmla="*/ 4659047 w 5227821"/>
              <a:gd name="connsiteY17" fmla="*/ 828386 h 1257266"/>
              <a:gd name="connsiteX18" fmla="*/ 4642634 w 5227821"/>
              <a:gd name="connsiteY18" fmla="*/ 833009 h 1257266"/>
              <a:gd name="connsiteX19" fmla="*/ 4658317 w 5227821"/>
              <a:gd name="connsiteY19" fmla="*/ 846594 h 1257266"/>
              <a:gd name="connsiteX20" fmla="*/ 4684635 w 5227821"/>
              <a:gd name="connsiteY20" fmla="*/ 816471 h 1257266"/>
              <a:gd name="connsiteX21" fmla="*/ 4683861 w 5227821"/>
              <a:gd name="connsiteY21" fmla="*/ 813370 h 1257266"/>
              <a:gd name="connsiteX22" fmla="*/ 4669387 w 5227821"/>
              <a:gd name="connsiteY22" fmla="*/ 809089 h 1257266"/>
              <a:gd name="connsiteX23" fmla="*/ 4653526 w 5227821"/>
              <a:gd name="connsiteY23" fmla="*/ 808089 h 1257266"/>
              <a:gd name="connsiteX24" fmla="*/ 4720496 w 5227821"/>
              <a:gd name="connsiteY24" fmla="*/ 800558 h 1257266"/>
              <a:gd name="connsiteX25" fmla="*/ 4704165 w 5227821"/>
              <a:gd name="connsiteY25" fmla="*/ 809559 h 1257266"/>
              <a:gd name="connsiteX26" fmla="*/ 4711684 w 5227821"/>
              <a:gd name="connsiteY26" fmla="*/ 817090 h 1257266"/>
              <a:gd name="connsiteX27" fmla="*/ 4703433 w 5227821"/>
              <a:gd name="connsiteY27" fmla="*/ 816325 h 1257266"/>
              <a:gd name="connsiteX28" fmla="*/ 4703433 w 5227821"/>
              <a:gd name="connsiteY28" fmla="*/ 824001 h 1257266"/>
              <a:gd name="connsiteX29" fmla="*/ 4718473 w 5227821"/>
              <a:gd name="connsiteY29" fmla="*/ 820236 h 1257266"/>
              <a:gd name="connsiteX30" fmla="*/ 4733511 w 5227821"/>
              <a:gd name="connsiteY30" fmla="*/ 846594 h 1257266"/>
              <a:gd name="connsiteX31" fmla="*/ 4710953 w 5227821"/>
              <a:gd name="connsiteY31" fmla="*/ 850359 h 1257266"/>
              <a:gd name="connsiteX32" fmla="*/ 4692155 w 5227821"/>
              <a:gd name="connsiteY32" fmla="*/ 842828 h 1257266"/>
              <a:gd name="connsiteX33" fmla="*/ 4658317 w 5227821"/>
              <a:gd name="connsiteY33" fmla="*/ 854125 h 1257266"/>
              <a:gd name="connsiteX34" fmla="*/ 4677115 w 5227821"/>
              <a:gd name="connsiteY34" fmla="*/ 854125 h 1257266"/>
              <a:gd name="connsiteX35" fmla="*/ 4673355 w 5227821"/>
              <a:gd name="connsiteY35" fmla="*/ 857890 h 1257266"/>
              <a:gd name="connsiteX36" fmla="*/ 4741031 w 5227821"/>
              <a:gd name="connsiteY36" fmla="*/ 857890 h 1257266"/>
              <a:gd name="connsiteX37" fmla="*/ 4748551 w 5227821"/>
              <a:gd name="connsiteY37" fmla="*/ 861655 h 1257266"/>
              <a:gd name="connsiteX38" fmla="*/ 4752310 w 5227821"/>
              <a:gd name="connsiteY38" fmla="*/ 857890 h 1257266"/>
              <a:gd name="connsiteX39" fmla="*/ 4763589 w 5227821"/>
              <a:gd name="connsiteY39" fmla="*/ 854125 h 1257266"/>
              <a:gd name="connsiteX40" fmla="*/ 4752310 w 5227821"/>
              <a:gd name="connsiteY40" fmla="*/ 854125 h 1257266"/>
              <a:gd name="connsiteX41" fmla="*/ 4756070 w 5227821"/>
              <a:gd name="connsiteY41" fmla="*/ 835298 h 1257266"/>
              <a:gd name="connsiteX42" fmla="*/ 4744321 w 5227821"/>
              <a:gd name="connsiteY42" fmla="*/ 817412 h 1257266"/>
              <a:gd name="connsiteX43" fmla="*/ 4747974 w 5227821"/>
              <a:gd name="connsiteY43" fmla="*/ 806649 h 1257266"/>
              <a:gd name="connsiteX44" fmla="*/ 4736122 w 5227821"/>
              <a:gd name="connsiteY44" fmla="*/ 802499 h 1257266"/>
              <a:gd name="connsiteX45" fmla="*/ 4720496 w 5227821"/>
              <a:gd name="connsiteY45" fmla="*/ 800558 h 1257266"/>
              <a:gd name="connsiteX46" fmla="*/ 1676438 w 5227821"/>
              <a:gd name="connsiteY46" fmla="*/ 90716 h 1257266"/>
              <a:gd name="connsiteX47" fmla="*/ 1850993 w 5227821"/>
              <a:gd name="connsiteY47" fmla="*/ 94135 h 1257266"/>
              <a:gd name="connsiteX48" fmla="*/ 2046029 w 5227821"/>
              <a:gd name="connsiteY48" fmla="*/ 97900 h 1257266"/>
              <a:gd name="connsiteX49" fmla="*/ 2057308 w 5227821"/>
              <a:gd name="connsiteY49" fmla="*/ 101666 h 1257266"/>
              <a:gd name="connsiteX50" fmla="*/ 1850523 w 5227821"/>
              <a:gd name="connsiteY50" fmla="*/ 97900 h 1257266"/>
              <a:gd name="connsiteX51" fmla="*/ 1692614 w 5227821"/>
              <a:gd name="connsiteY51" fmla="*/ 94135 h 1257266"/>
              <a:gd name="connsiteX52" fmla="*/ 1675636 w 5227821"/>
              <a:gd name="connsiteY52" fmla="*/ 90546 h 1257266"/>
              <a:gd name="connsiteX53" fmla="*/ 1676438 w 5227821"/>
              <a:gd name="connsiteY53" fmla="*/ 90716 h 1257266"/>
              <a:gd name="connsiteX54" fmla="*/ 1674865 w 5227821"/>
              <a:gd name="connsiteY54" fmla="*/ 90685 h 1257266"/>
              <a:gd name="connsiteX55" fmla="*/ 2005634 w 5227821"/>
              <a:gd name="connsiteY55" fmla="*/ 36919 h 1257266"/>
              <a:gd name="connsiteX56" fmla="*/ 2008432 w 5227821"/>
              <a:gd name="connsiteY56" fmla="*/ 37654 h 1257266"/>
              <a:gd name="connsiteX57" fmla="*/ 2000912 w 5227821"/>
              <a:gd name="connsiteY57" fmla="*/ 37654 h 1257266"/>
              <a:gd name="connsiteX58" fmla="*/ 1594861 w 5227821"/>
              <a:gd name="connsiteY58" fmla="*/ 0 h 1257266"/>
              <a:gd name="connsiteX59" fmla="*/ 1655016 w 5227821"/>
              <a:gd name="connsiteY59" fmla="*/ 11296 h 1257266"/>
              <a:gd name="connsiteX60" fmla="*/ 1651257 w 5227821"/>
              <a:gd name="connsiteY60" fmla="*/ 18827 h 1257266"/>
              <a:gd name="connsiteX61" fmla="*/ 1767809 w 5227821"/>
              <a:gd name="connsiteY61" fmla="*/ 22593 h 1257266"/>
              <a:gd name="connsiteX62" fmla="*/ 2230256 w 5227821"/>
              <a:gd name="connsiteY62" fmla="*/ 26358 h 1257266"/>
              <a:gd name="connsiteX63" fmla="*/ 2275373 w 5227821"/>
              <a:gd name="connsiteY63" fmla="*/ 30123 h 1257266"/>
              <a:gd name="connsiteX64" fmla="*/ 2046029 w 5227821"/>
              <a:gd name="connsiteY64" fmla="*/ 33889 h 1257266"/>
              <a:gd name="connsiteX65" fmla="*/ 2022061 w 5227821"/>
              <a:gd name="connsiteY65" fmla="*/ 34359 h 1257266"/>
              <a:gd name="connsiteX66" fmla="*/ 2005634 w 5227821"/>
              <a:gd name="connsiteY66" fmla="*/ 36919 h 1257266"/>
              <a:gd name="connsiteX67" fmla="*/ 1983817 w 5227821"/>
              <a:gd name="connsiteY67" fmla="*/ 31183 h 1257266"/>
              <a:gd name="connsiteX68" fmla="*/ 1888120 w 5227821"/>
              <a:gd name="connsiteY68" fmla="*/ 30123 h 1257266"/>
              <a:gd name="connsiteX69" fmla="*/ 1662536 w 5227821"/>
              <a:gd name="connsiteY69" fmla="*/ 26358 h 1257266"/>
              <a:gd name="connsiteX70" fmla="*/ 1655016 w 5227821"/>
              <a:gd name="connsiteY70" fmla="*/ 37654 h 1257266"/>
              <a:gd name="connsiteX71" fmla="*/ 1609900 w 5227821"/>
              <a:gd name="connsiteY71" fmla="*/ 30123 h 1257266"/>
              <a:gd name="connsiteX72" fmla="*/ 1553503 w 5227821"/>
              <a:gd name="connsiteY72" fmla="*/ 52716 h 1257266"/>
              <a:gd name="connsiteX73" fmla="*/ 1587341 w 5227821"/>
              <a:gd name="connsiteY73" fmla="*/ 56481 h 1257266"/>
              <a:gd name="connsiteX74" fmla="*/ 1542224 w 5227821"/>
              <a:gd name="connsiteY74" fmla="*/ 56481 h 1257266"/>
              <a:gd name="connsiteX75" fmla="*/ 1527185 w 5227821"/>
              <a:gd name="connsiteY75" fmla="*/ 71543 h 1257266"/>
              <a:gd name="connsiteX76" fmla="*/ 1478309 w 5227821"/>
              <a:gd name="connsiteY76" fmla="*/ 79073 h 1257266"/>
              <a:gd name="connsiteX77" fmla="*/ 1658776 w 5227821"/>
              <a:gd name="connsiteY77" fmla="*/ 90370 h 1257266"/>
              <a:gd name="connsiteX78" fmla="*/ 1674865 w 5227821"/>
              <a:gd name="connsiteY78" fmla="*/ 90685 h 1257266"/>
              <a:gd name="connsiteX79" fmla="*/ 1658306 w 5227821"/>
              <a:gd name="connsiteY79" fmla="*/ 93664 h 1257266"/>
              <a:gd name="connsiteX80" fmla="*/ 1621179 w 5227821"/>
              <a:gd name="connsiteY80" fmla="*/ 101666 h 1257266"/>
              <a:gd name="connsiteX81" fmla="*/ 1579822 w 5227821"/>
              <a:gd name="connsiteY81" fmla="*/ 128024 h 1257266"/>
              <a:gd name="connsiteX82" fmla="*/ 1576062 w 5227821"/>
              <a:gd name="connsiteY82" fmla="*/ 120493 h 1257266"/>
              <a:gd name="connsiteX83" fmla="*/ 1598620 w 5227821"/>
              <a:gd name="connsiteY83" fmla="*/ 112962 h 1257266"/>
              <a:gd name="connsiteX84" fmla="*/ 1587341 w 5227821"/>
              <a:gd name="connsiteY84" fmla="*/ 109197 h 1257266"/>
              <a:gd name="connsiteX85" fmla="*/ 1564783 w 5227821"/>
              <a:gd name="connsiteY85" fmla="*/ 109197 h 1257266"/>
              <a:gd name="connsiteX86" fmla="*/ 1553503 w 5227821"/>
              <a:gd name="connsiteY86" fmla="*/ 105431 h 1257266"/>
              <a:gd name="connsiteX87" fmla="*/ 1621179 w 5227821"/>
              <a:gd name="connsiteY87" fmla="*/ 94135 h 1257266"/>
              <a:gd name="connsiteX88" fmla="*/ 1448231 w 5227821"/>
              <a:gd name="connsiteY88" fmla="*/ 86604 h 1257266"/>
              <a:gd name="connsiteX89" fmla="*/ 1410633 w 5227821"/>
              <a:gd name="connsiteY89" fmla="*/ 97900 h 1257266"/>
              <a:gd name="connsiteX90" fmla="*/ 1444471 w 5227821"/>
              <a:gd name="connsiteY90" fmla="*/ 101666 h 1257266"/>
              <a:gd name="connsiteX91" fmla="*/ 1380555 w 5227821"/>
              <a:gd name="connsiteY91" fmla="*/ 131789 h 1257266"/>
              <a:gd name="connsiteX92" fmla="*/ 1380555 w 5227821"/>
              <a:gd name="connsiteY92" fmla="*/ 112962 h 1257266"/>
              <a:gd name="connsiteX93" fmla="*/ 1369276 w 5227821"/>
              <a:gd name="connsiteY93" fmla="*/ 131789 h 1257266"/>
              <a:gd name="connsiteX94" fmla="*/ 1357997 w 5227821"/>
              <a:gd name="connsiteY94" fmla="*/ 131789 h 1257266"/>
              <a:gd name="connsiteX95" fmla="*/ 1354237 w 5227821"/>
              <a:gd name="connsiteY95" fmla="*/ 146851 h 1257266"/>
              <a:gd name="connsiteX96" fmla="*/ 1350478 w 5227821"/>
              <a:gd name="connsiteY96" fmla="*/ 139320 h 1257266"/>
              <a:gd name="connsiteX97" fmla="*/ 1327919 w 5227821"/>
              <a:gd name="connsiteY97" fmla="*/ 161912 h 1257266"/>
              <a:gd name="connsiteX98" fmla="*/ 1436952 w 5227821"/>
              <a:gd name="connsiteY98" fmla="*/ 173208 h 1257266"/>
              <a:gd name="connsiteX99" fmla="*/ 1459510 w 5227821"/>
              <a:gd name="connsiteY99" fmla="*/ 192035 h 1257266"/>
              <a:gd name="connsiteX100" fmla="*/ 1421913 w 5227821"/>
              <a:gd name="connsiteY100" fmla="*/ 207097 h 1257266"/>
              <a:gd name="connsiteX101" fmla="*/ 1451990 w 5227821"/>
              <a:gd name="connsiteY101" fmla="*/ 207097 h 1257266"/>
              <a:gd name="connsiteX102" fmla="*/ 1451990 w 5227821"/>
              <a:gd name="connsiteY102" fmla="*/ 210862 h 1257266"/>
              <a:gd name="connsiteX103" fmla="*/ 1512146 w 5227821"/>
              <a:gd name="connsiteY103" fmla="*/ 210862 h 1257266"/>
              <a:gd name="connsiteX104" fmla="*/ 1512146 w 5227821"/>
              <a:gd name="connsiteY104" fmla="*/ 214628 h 1257266"/>
              <a:gd name="connsiteX105" fmla="*/ 1534705 w 5227821"/>
              <a:gd name="connsiteY105" fmla="*/ 214628 h 1257266"/>
              <a:gd name="connsiteX106" fmla="*/ 1538464 w 5227821"/>
              <a:gd name="connsiteY106" fmla="*/ 210862 h 1257266"/>
              <a:gd name="connsiteX107" fmla="*/ 1538464 w 5227821"/>
              <a:gd name="connsiteY107" fmla="*/ 218393 h 1257266"/>
              <a:gd name="connsiteX108" fmla="*/ 1515906 w 5227821"/>
              <a:gd name="connsiteY108" fmla="*/ 225924 h 1257266"/>
              <a:gd name="connsiteX109" fmla="*/ 1549744 w 5227821"/>
              <a:gd name="connsiteY109" fmla="*/ 229689 h 1257266"/>
              <a:gd name="connsiteX110" fmla="*/ 1542224 w 5227821"/>
              <a:gd name="connsiteY110" fmla="*/ 237220 h 1257266"/>
              <a:gd name="connsiteX111" fmla="*/ 1722692 w 5227821"/>
              <a:gd name="connsiteY111" fmla="*/ 225924 h 1257266"/>
              <a:gd name="connsiteX112" fmla="*/ 1764049 w 5227821"/>
              <a:gd name="connsiteY112" fmla="*/ 218393 h 1257266"/>
              <a:gd name="connsiteX113" fmla="*/ 1801646 w 5227821"/>
              <a:gd name="connsiteY113" fmla="*/ 218393 h 1257266"/>
              <a:gd name="connsiteX114" fmla="*/ 1809166 w 5227821"/>
              <a:gd name="connsiteY114" fmla="*/ 214628 h 1257266"/>
              <a:gd name="connsiteX115" fmla="*/ 1940757 w 5227821"/>
              <a:gd name="connsiteY115" fmla="*/ 214628 h 1257266"/>
              <a:gd name="connsiteX116" fmla="*/ 2083627 w 5227821"/>
              <a:gd name="connsiteY116" fmla="*/ 203331 h 1257266"/>
              <a:gd name="connsiteX117" fmla="*/ 2124984 w 5227821"/>
              <a:gd name="connsiteY117" fmla="*/ 203331 h 1257266"/>
              <a:gd name="connsiteX118" fmla="*/ 2128744 w 5227821"/>
              <a:gd name="connsiteY118" fmla="*/ 199566 h 1257266"/>
              <a:gd name="connsiteX119" fmla="*/ 2117464 w 5227821"/>
              <a:gd name="connsiteY119" fmla="*/ 195801 h 1257266"/>
              <a:gd name="connsiteX120" fmla="*/ 2128744 w 5227821"/>
              <a:gd name="connsiteY120" fmla="*/ 192035 h 1257266"/>
              <a:gd name="connsiteX121" fmla="*/ 2121224 w 5227821"/>
              <a:gd name="connsiteY121" fmla="*/ 188270 h 1257266"/>
              <a:gd name="connsiteX122" fmla="*/ 2192659 w 5227821"/>
              <a:gd name="connsiteY122" fmla="*/ 184504 h 1257266"/>
              <a:gd name="connsiteX123" fmla="*/ 2196419 w 5227821"/>
              <a:gd name="connsiteY123" fmla="*/ 199566 h 1257266"/>
              <a:gd name="connsiteX124" fmla="*/ 2215218 w 5227821"/>
              <a:gd name="connsiteY124" fmla="*/ 195801 h 1257266"/>
              <a:gd name="connsiteX125" fmla="*/ 2203938 w 5227821"/>
              <a:gd name="connsiteY125" fmla="*/ 188270 h 1257266"/>
              <a:gd name="connsiteX126" fmla="*/ 2271614 w 5227821"/>
              <a:gd name="connsiteY126" fmla="*/ 188270 h 1257266"/>
              <a:gd name="connsiteX127" fmla="*/ 2395685 w 5227821"/>
              <a:gd name="connsiteY127" fmla="*/ 184504 h 1257266"/>
              <a:gd name="connsiteX128" fmla="*/ 2422003 w 5227821"/>
              <a:gd name="connsiteY128" fmla="*/ 169443 h 1257266"/>
              <a:gd name="connsiteX129" fmla="*/ 2564873 w 5227821"/>
              <a:gd name="connsiteY129" fmla="*/ 180739 h 1257266"/>
              <a:gd name="connsiteX130" fmla="*/ 2737821 w 5227821"/>
              <a:gd name="connsiteY130" fmla="*/ 176974 h 1257266"/>
              <a:gd name="connsiteX131" fmla="*/ 2737821 w 5227821"/>
              <a:gd name="connsiteY131" fmla="*/ 169443 h 1257266"/>
              <a:gd name="connsiteX132" fmla="*/ 2794217 w 5227821"/>
              <a:gd name="connsiteY132" fmla="*/ 176974 h 1257266"/>
              <a:gd name="connsiteX133" fmla="*/ 2805496 w 5227821"/>
              <a:gd name="connsiteY133" fmla="*/ 169443 h 1257266"/>
              <a:gd name="connsiteX134" fmla="*/ 3568723 w 5227821"/>
              <a:gd name="connsiteY134" fmla="*/ 165678 h 1257266"/>
              <a:gd name="connsiteX135" fmla="*/ 3673996 w 5227821"/>
              <a:gd name="connsiteY135" fmla="*/ 158147 h 1257266"/>
              <a:gd name="connsiteX136" fmla="*/ 3719113 w 5227821"/>
              <a:gd name="connsiteY136" fmla="*/ 161912 h 1257266"/>
              <a:gd name="connsiteX137" fmla="*/ 3880782 w 5227821"/>
              <a:gd name="connsiteY137" fmla="*/ 150616 h 1257266"/>
              <a:gd name="connsiteX138" fmla="*/ 3869503 w 5227821"/>
              <a:gd name="connsiteY138" fmla="*/ 161912 h 1257266"/>
              <a:gd name="connsiteX139" fmla="*/ 3922139 w 5227821"/>
              <a:gd name="connsiteY139" fmla="*/ 169443 h 1257266"/>
              <a:gd name="connsiteX140" fmla="*/ 4046210 w 5227821"/>
              <a:gd name="connsiteY140" fmla="*/ 165678 h 1257266"/>
              <a:gd name="connsiteX141" fmla="*/ 4083807 w 5227821"/>
              <a:gd name="connsiteY141" fmla="*/ 165678 h 1257266"/>
              <a:gd name="connsiteX142" fmla="*/ 4083807 w 5227821"/>
              <a:gd name="connsiteY142" fmla="*/ 169443 h 1257266"/>
              <a:gd name="connsiteX143" fmla="*/ 4181561 w 5227821"/>
              <a:gd name="connsiteY143" fmla="*/ 173208 h 1257266"/>
              <a:gd name="connsiteX144" fmla="*/ 4264275 w 5227821"/>
              <a:gd name="connsiteY144" fmla="*/ 173208 h 1257266"/>
              <a:gd name="connsiteX145" fmla="*/ 4316911 w 5227821"/>
              <a:gd name="connsiteY145" fmla="*/ 184504 h 1257266"/>
              <a:gd name="connsiteX146" fmla="*/ 4440983 w 5227821"/>
              <a:gd name="connsiteY146" fmla="*/ 184504 h 1257266"/>
              <a:gd name="connsiteX147" fmla="*/ 4433463 w 5227821"/>
              <a:gd name="connsiteY147" fmla="*/ 192035 h 1257266"/>
              <a:gd name="connsiteX148" fmla="*/ 4512418 w 5227821"/>
              <a:gd name="connsiteY148" fmla="*/ 199566 h 1257266"/>
              <a:gd name="connsiteX149" fmla="*/ 4550015 w 5227821"/>
              <a:gd name="connsiteY149" fmla="*/ 203331 h 1257266"/>
              <a:gd name="connsiteX150" fmla="*/ 4557535 w 5227821"/>
              <a:gd name="connsiteY150" fmla="*/ 199566 h 1257266"/>
              <a:gd name="connsiteX151" fmla="*/ 4568814 w 5227821"/>
              <a:gd name="connsiteY151" fmla="*/ 207097 h 1257266"/>
              <a:gd name="connsiteX152" fmla="*/ 4644009 w 5227821"/>
              <a:gd name="connsiteY152" fmla="*/ 233455 h 1257266"/>
              <a:gd name="connsiteX153" fmla="*/ 4775599 w 5227821"/>
              <a:gd name="connsiteY153" fmla="*/ 237220 h 1257266"/>
              <a:gd name="connsiteX154" fmla="*/ 4828236 w 5227821"/>
              <a:gd name="connsiteY154" fmla="*/ 199566 h 1257266"/>
              <a:gd name="connsiteX155" fmla="*/ 4783119 w 5227821"/>
              <a:gd name="connsiteY155" fmla="*/ 188270 h 1257266"/>
              <a:gd name="connsiteX156" fmla="*/ 4828236 w 5227821"/>
              <a:gd name="connsiteY156" fmla="*/ 195801 h 1257266"/>
              <a:gd name="connsiteX157" fmla="*/ 4850795 w 5227821"/>
              <a:gd name="connsiteY157" fmla="*/ 180739 h 1257266"/>
              <a:gd name="connsiteX158" fmla="*/ 4794399 w 5227821"/>
              <a:gd name="connsiteY158" fmla="*/ 150616 h 1257266"/>
              <a:gd name="connsiteX159" fmla="*/ 4813197 w 5227821"/>
              <a:gd name="connsiteY159" fmla="*/ 143085 h 1257266"/>
              <a:gd name="connsiteX160" fmla="*/ 4738002 w 5227821"/>
              <a:gd name="connsiteY160" fmla="*/ 135554 h 1257266"/>
              <a:gd name="connsiteX161" fmla="*/ 4677847 w 5227821"/>
              <a:gd name="connsiteY161" fmla="*/ 139320 h 1257266"/>
              <a:gd name="connsiteX162" fmla="*/ 4644009 w 5227821"/>
              <a:gd name="connsiteY162" fmla="*/ 116727 h 1257266"/>
              <a:gd name="connsiteX163" fmla="*/ 4516177 w 5227821"/>
              <a:gd name="connsiteY163" fmla="*/ 109197 h 1257266"/>
              <a:gd name="connsiteX164" fmla="*/ 4444743 w 5227821"/>
              <a:gd name="connsiteY164" fmla="*/ 90370 h 1257266"/>
              <a:gd name="connsiteX165" fmla="*/ 4380827 w 5227821"/>
              <a:gd name="connsiteY165" fmla="*/ 82839 h 1257266"/>
              <a:gd name="connsiteX166" fmla="*/ 4365788 w 5227821"/>
              <a:gd name="connsiteY166" fmla="*/ 90370 h 1257266"/>
              <a:gd name="connsiteX167" fmla="*/ 4354509 w 5227821"/>
              <a:gd name="connsiteY167" fmla="*/ 86604 h 1257266"/>
              <a:gd name="connsiteX168" fmla="*/ 4331951 w 5227821"/>
              <a:gd name="connsiteY168" fmla="*/ 82839 h 1257266"/>
              <a:gd name="connsiteX169" fmla="*/ 4335710 w 5227821"/>
              <a:gd name="connsiteY169" fmla="*/ 67777 h 1257266"/>
              <a:gd name="connsiteX170" fmla="*/ 4474821 w 5227821"/>
              <a:gd name="connsiteY170" fmla="*/ 79073 h 1257266"/>
              <a:gd name="connsiteX171" fmla="*/ 4561295 w 5227821"/>
              <a:gd name="connsiteY171" fmla="*/ 90370 h 1257266"/>
              <a:gd name="connsiteX172" fmla="*/ 4681606 w 5227821"/>
              <a:gd name="connsiteY172" fmla="*/ 94135 h 1257266"/>
              <a:gd name="connsiteX173" fmla="*/ 4685366 w 5227821"/>
              <a:gd name="connsiteY173" fmla="*/ 97900 h 1257266"/>
              <a:gd name="connsiteX174" fmla="*/ 4801918 w 5227821"/>
              <a:gd name="connsiteY174" fmla="*/ 109197 h 1257266"/>
              <a:gd name="connsiteX175" fmla="*/ 4809437 w 5227821"/>
              <a:gd name="connsiteY175" fmla="*/ 112962 h 1257266"/>
              <a:gd name="connsiteX176" fmla="*/ 4824476 w 5227821"/>
              <a:gd name="connsiteY176" fmla="*/ 105431 h 1257266"/>
              <a:gd name="connsiteX177" fmla="*/ 4828236 w 5227821"/>
              <a:gd name="connsiteY177" fmla="*/ 109197 h 1257266"/>
              <a:gd name="connsiteX178" fmla="*/ 4805677 w 5227821"/>
              <a:gd name="connsiteY178" fmla="*/ 124258 h 1257266"/>
              <a:gd name="connsiteX179" fmla="*/ 4903431 w 5227821"/>
              <a:gd name="connsiteY179" fmla="*/ 124258 h 1257266"/>
              <a:gd name="connsiteX180" fmla="*/ 4925989 w 5227821"/>
              <a:gd name="connsiteY180" fmla="*/ 143085 h 1257266"/>
              <a:gd name="connsiteX181" fmla="*/ 4941028 w 5227821"/>
              <a:gd name="connsiteY181" fmla="*/ 143085 h 1257266"/>
              <a:gd name="connsiteX182" fmla="*/ 4922229 w 5227821"/>
              <a:gd name="connsiteY182" fmla="*/ 109197 h 1257266"/>
              <a:gd name="connsiteX183" fmla="*/ 4956067 w 5227821"/>
              <a:gd name="connsiteY183" fmla="*/ 97900 h 1257266"/>
              <a:gd name="connsiteX184" fmla="*/ 4959827 w 5227821"/>
              <a:gd name="connsiteY184" fmla="*/ 94135 h 1257266"/>
              <a:gd name="connsiteX185" fmla="*/ 4922229 w 5227821"/>
              <a:gd name="connsiteY185" fmla="*/ 97900 h 1257266"/>
              <a:gd name="connsiteX186" fmla="*/ 4903431 w 5227821"/>
              <a:gd name="connsiteY186" fmla="*/ 86604 h 1257266"/>
              <a:gd name="connsiteX187" fmla="*/ 4933509 w 5227821"/>
              <a:gd name="connsiteY187" fmla="*/ 75308 h 1257266"/>
              <a:gd name="connsiteX188" fmla="*/ 4929749 w 5227821"/>
              <a:gd name="connsiteY188" fmla="*/ 71543 h 1257266"/>
              <a:gd name="connsiteX189" fmla="*/ 5068859 w 5227821"/>
              <a:gd name="connsiteY189" fmla="*/ 79073 h 1257266"/>
              <a:gd name="connsiteX190" fmla="*/ 5061339 w 5227821"/>
              <a:gd name="connsiteY190" fmla="*/ 75308 h 1257266"/>
              <a:gd name="connsiteX191" fmla="*/ 5132775 w 5227821"/>
              <a:gd name="connsiteY191" fmla="*/ 75308 h 1257266"/>
              <a:gd name="connsiteX192" fmla="*/ 5136535 w 5227821"/>
              <a:gd name="connsiteY192" fmla="*/ 71543 h 1257266"/>
              <a:gd name="connsiteX193" fmla="*/ 5087658 w 5227821"/>
              <a:gd name="connsiteY193" fmla="*/ 71543 h 1257266"/>
              <a:gd name="connsiteX194" fmla="*/ 5189171 w 5227821"/>
              <a:gd name="connsiteY194" fmla="*/ 52716 h 1257266"/>
              <a:gd name="connsiteX195" fmla="*/ 5095177 w 5227821"/>
              <a:gd name="connsiteY195" fmla="*/ 101666 h 1257266"/>
              <a:gd name="connsiteX196" fmla="*/ 5065099 w 5227821"/>
              <a:gd name="connsiteY196" fmla="*/ 131789 h 1257266"/>
              <a:gd name="connsiteX197" fmla="*/ 4971106 w 5227821"/>
              <a:gd name="connsiteY197" fmla="*/ 161912 h 1257266"/>
              <a:gd name="connsiteX198" fmla="*/ 5035021 w 5227821"/>
              <a:gd name="connsiteY198" fmla="*/ 165678 h 1257266"/>
              <a:gd name="connsiteX199" fmla="*/ 5023743 w 5227821"/>
              <a:gd name="connsiteY199" fmla="*/ 184504 h 1257266"/>
              <a:gd name="connsiteX200" fmla="*/ 4869593 w 5227821"/>
              <a:gd name="connsiteY200" fmla="*/ 263578 h 1257266"/>
              <a:gd name="connsiteX201" fmla="*/ 4884632 w 5227821"/>
              <a:gd name="connsiteY201" fmla="*/ 267343 h 1257266"/>
              <a:gd name="connsiteX202" fmla="*/ 4798158 w 5227821"/>
              <a:gd name="connsiteY202" fmla="*/ 312528 h 1257266"/>
              <a:gd name="connsiteX203" fmla="*/ 4809437 w 5227821"/>
              <a:gd name="connsiteY203" fmla="*/ 316293 h 1257266"/>
              <a:gd name="connsiteX204" fmla="*/ 4783119 w 5227821"/>
              <a:gd name="connsiteY204" fmla="*/ 327589 h 1257266"/>
              <a:gd name="connsiteX205" fmla="*/ 4783119 w 5227821"/>
              <a:gd name="connsiteY205" fmla="*/ 304997 h 1257266"/>
              <a:gd name="connsiteX206" fmla="*/ 4760561 w 5227821"/>
              <a:gd name="connsiteY206" fmla="*/ 335120 h 1257266"/>
              <a:gd name="connsiteX207" fmla="*/ 4801918 w 5227821"/>
              <a:gd name="connsiteY207" fmla="*/ 342651 h 1257266"/>
              <a:gd name="connsiteX208" fmla="*/ 4801918 w 5227821"/>
              <a:gd name="connsiteY208" fmla="*/ 350182 h 1257266"/>
              <a:gd name="connsiteX209" fmla="*/ 4820717 w 5227821"/>
              <a:gd name="connsiteY209" fmla="*/ 346416 h 1257266"/>
              <a:gd name="connsiteX210" fmla="*/ 4816957 w 5227821"/>
              <a:gd name="connsiteY210" fmla="*/ 342651 h 1257266"/>
              <a:gd name="connsiteX211" fmla="*/ 4850795 w 5227821"/>
              <a:gd name="connsiteY211" fmla="*/ 342651 h 1257266"/>
              <a:gd name="connsiteX212" fmla="*/ 4850795 w 5227821"/>
              <a:gd name="connsiteY212" fmla="*/ 331355 h 1257266"/>
              <a:gd name="connsiteX213" fmla="*/ 4910950 w 5227821"/>
              <a:gd name="connsiteY213" fmla="*/ 323824 h 1257266"/>
              <a:gd name="connsiteX214" fmla="*/ 4918469 w 5227821"/>
              <a:gd name="connsiteY214" fmla="*/ 293701 h 1257266"/>
              <a:gd name="connsiteX215" fmla="*/ 4937269 w 5227821"/>
              <a:gd name="connsiteY215" fmla="*/ 278639 h 1257266"/>
              <a:gd name="connsiteX216" fmla="*/ 4941028 w 5227821"/>
              <a:gd name="connsiteY216" fmla="*/ 278639 h 1257266"/>
              <a:gd name="connsiteX217" fmla="*/ 4997424 w 5227821"/>
              <a:gd name="connsiteY217" fmla="*/ 256047 h 1257266"/>
              <a:gd name="connsiteX218" fmla="*/ 5042541 w 5227821"/>
              <a:gd name="connsiteY218" fmla="*/ 263578 h 1257266"/>
              <a:gd name="connsiteX219" fmla="*/ 5027502 w 5227821"/>
              <a:gd name="connsiteY219" fmla="*/ 278639 h 1257266"/>
              <a:gd name="connsiteX220" fmla="*/ 5061339 w 5227821"/>
              <a:gd name="connsiteY220" fmla="*/ 278639 h 1257266"/>
              <a:gd name="connsiteX221" fmla="*/ 5019983 w 5227821"/>
              <a:gd name="connsiteY221" fmla="*/ 323824 h 1257266"/>
              <a:gd name="connsiteX222" fmla="*/ 5012463 w 5227821"/>
              <a:gd name="connsiteY222" fmla="*/ 342651 h 1257266"/>
              <a:gd name="connsiteX223" fmla="*/ 5001184 w 5227821"/>
              <a:gd name="connsiteY223" fmla="*/ 335120 h 1257266"/>
              <a:gd name="connsiteX224" fmla="*/ 5001184 w 5227821"/>
              <a:gd name="connsiteY224" fmla="*/ 327589 h 1257266"/>
              <a:gd name="connsiteX225" fmla="*/ 4986145 w 5227821"/>
              <a:gd name="connsiteY225" fmla="*/ 335120 h 1257266"/>
              <a:gd name="connsiteX226" fmla="*/ 4978625 w 5227821"/>
              <a:gd name="connsiteY226" fmla="*/ 335120 h 1257266"/>
              <a:gd name="connsiteX227" fmla="*/ 4993665 w 5227821"/>
              <a:gd name="connsiteY227" fmla="*/ 301232 h 1257266"/>
              <a:gd name="connsiteX228" fmla="*/ 5008703 w 5227821"/>
              <a:gd name="connsiteY228" fmla="*/ 297466 h 1257266"/>
              <a:gd name="connsiteX229" fmla="*/ 5012463 w 5227821"/>
              <a:gd name="connsiteY229" fmla="*/ 286170 h 1257266"/>
              <a:gd name="connsiteX230" fmla="*/ 5027502 w 5227821"/>
              <a:gd name="connsiteY230" fmla="*/ 282405 h 1257266"/>
              <a:gd name="connsiteX231" fmla="*/ 4982385 w 5227821"/>
              <a:gd name="connsiteY231" fmla="*/ 286170 h 1257266"/>
              <a:gd name="connsiteX232" fmla="*/ 4888392 w 5227821"/>
              <a:gd name="connsiteY232" fmla="*/ 353947 h 1257266"/>
              <a:gd name="connsiteX233" fmla="*/ 4884632 w 5227821"/>
              <a:gd name="connsiteY233" fmla="*/ 365243 h 1257266"/>
              <a:gd name="connsiteX234" fmla="*/ 4869593 w 5227821"/>
              <a:gd name="connsiteY234" fmla="*/ 369009 h 1257266"/>
              <a:gd name="connsiteX235" fmla="*/ 4880873 w 5227821"/>
              <a:gd name="connsiteY235" fmla="*/ 380305 h 1257266"/>
              <a:gd name="connsiteX236" fmla="*/ 4865833 w 5227821"/>
              <a:gd name="connsiteY236" fmla="*/ 387836 h 1257266"/>
              <a:gd name="connsiteX237" fmla="*/ 4903431 w 5227821"/>
              <a:gd name="connsiteY237" fmla="*/ 391601 h 1257266"/>
              <a:gd name="connsiteX238" fmla="*/ 4929749 w 5227821"/>
              <a:gd name="connsiteY238" fmla="*/ 384070 h 1257266"/>
              <a:gd name="connsiteX239" fmla="*/ 4918469 w 5227821"/>
              <a:gd name="connsiteY239" fmla="*/ 395366 h 1257266"/>
              <a:gd name="connsiteX240" fmla="*/ 4925989 w 5227821"/>
              <a:gd name="connsiteY240" fmla="*/ 399132 h 1257266"/>
              <a:gd name="connsiteX241" fmla="*/ 4971106 w 5227821"/>
              <a:gd name="connsiteY241" fmla="*/ 380305 h 1257266"/>
              <a:gd name="connsiteX242" fmla="*/ 4967347 w 5227821"/>
              <a:gd name="connsiteY242" fmla="*/ 429255 h 1257266"/>
              <a:gd name="connsiteX243" fmla="*/ 5001184 w 5227821"/>
              <a:gd name="connsiteY243" fmla="*/ 391601 h 1257266"/>
              <a:gd name="connsiteX244" fmla="*/ 5012463 w 5227821"/>
              <a:gd name="connsiteY244" fmla="*/ 391601 h 1257266"/>
              <a:gd name="connsiteX245" fmla="*/ 4974865 w 5227821"/>
              <a:gd name="connsiteY245" fmla="*/ 466909 h 1257266"/>
              <a:gd name="connsiteX246" fmla="*/ 4971106 w 5227821"/>
              <a:gd name="connsiteY246" fmla="*/ 466909 h 1257266"/>
              <a:gd name="connsiteX247" fmla="*/ 4963587 w 5227821"/>
              <a:gd name="connsiteY247" fmla="*/ 470674 h 1257266"/>
              <a:gd name="connsiteX248" fmla="*/ 4952307 w 5227821"/>
              <a:gd name="connsiteY248" fmla="*/ 470674 h 1257266"/>
              <a:gd name="connsiteX249" fmla="*/ 4929749 w 5227821"/>
              <a:gd name="connsiteY249" fmla="*/ 474440 h 1257266"/>
              <a:gd name="connsiteX250" fmla="*/ 4952307 w 5227821"/>
              <a:gd name="connsiteY250" fmla="*/ 470674 h 1257266"/>
              <a:gd name="connsiteX251" fmla="*/ 4963587 w 5227821"/>
              <a:gd name="connsiteY251" fmla="*/ 470674 h 1257266"/>
              <a:gd name="connsiteX252" fmla="*/ 4967347 w 5227821"/>
              <a:gd name="connsiteY252" fmla="*/ 470674 h 1257266"/>
              <a:gd name="connsiteX253" fmla="*/ 4944788 w 5227821"/>
              <a:gd name="connsiteY253" fmla="*/ 481970 h 1257266"/>
              <a:gd name="connsiteX254" fmla="*/ 4959827 w 5227821"/>
              <a:gd name="connsiteY254" fmla="*/ 485736 h 1257266"/>
              <a:gd name="connsiteX255" fmla="*/ 4974865 w 5227821"/>
              <a:gd name="connsiteY255" fmla="*/ 474440 h 1257266"/>
              <a:gd name="connsiteX256" fmla="*/ 4978625 w 5227821"/>
              <a:gd name="connsiteY256" fmla="*/ 478205 h 1257266"/>
              <a:gd name="connsiteX257" fmla="*/ 4993665 w 5227821"/>
              <a:gd name="connsiteY257" fmla="*/ 455613 h 1257266"/>
              <a:gd name="connsiteX258" fmla="*/ 5004943 w 5227821"/>
              <a:gd name="connsiteY258" fmla="*/ 455613 h 1257266"/>
              <a:gd name="connsiteX259" fmla="*/ 5019983 w 5227821"/>
              <a:gd name="connsiteY259" fmla="*/ 497032 h 1257266"/>
              <a:gd name="connsiteX260" fmla="*/ 5046301 w 5227821"/>
              <a:gd name="connsiteY260" fmla="*/ 466909 h 1257266"/>
              <a:gd name="connsiteX261" fmla="*/ 5042541 w 5227821"/>
              <a:gd name="connsiteY261" fmla="*/ 451847 h 1257266"/>
              <a:gd name="connsiteX262" fmla="*/ 5065099 w 5227821"/>
              <a:gd name="connsiteY262" fmla="*/ 448082 h 1257266"/>
              <a:gd name="connsiteX263" fmla="*/ 5065099 w 5227821"/>
              <a:gd name="connsiteY263" fmla="*/ 474440 h 1257266"/>
              <a:gd name="connsiteX264" fmla="*/ 5080139 w 5227821"/>
              <a:gd name="connsiteY264" fmla="*/ 470674 h 1257266"/>
              <a:gd name="connsiteX265" fmla="*/ 5095177 w 5227821"/>
              <a:gd name="connsiteY265" fmla="*/ 497032 h 1257266"/>
              <a:gd name="connsiteX266" fmla="*/ 5072619 w 5227821"/>
              <a:gd name="connsiteY266" fmla="*/ 500797 h 1257266"/>
              <a:gd name="connsiteX267" fmla="*/ 5053821 w 5227821"/>
              <a:gd name="connsiteY267" fmla="*/ 493267 h 1257266"/>
              <a:gd name="connsiteX268" fmla="*/ 5019983 w 5227821"/>
              <a:gd name="connsiteY268" fmla="*/ 504563 h 1257266"/>
              <a:gd name="connsiteX269" fmla="*/ 5038781 w 5227821"/>
              <a:gd name="connsiteY269" fmla="*/ 504563 h 1257266"/>
              <a:gd name="connsiteX270" fmla="*/ 5035021 w 5227821"/>
              <a:gd name="connsiteY270" fmla="*/ 508328 h 1257266"/>
              <a:gd name="connsiteX271" fmla="*/ 5102697 w 5227821"/>
              <a:gd name="connsiteY271" fmla="*/ 508328 h 1257266"/>
              <a:gd name="connsiteX272" fmla="*/ 5110217 w 5227821"/>
              <a:gd name="connsiteY272" fmla="*/ 512094 h 1257266"/>
              <a:gd name="connsiteX273" fmla="*/ 5113976 w 5227821"/>
              <a:gd name="connsiteY273" fmla="*/ 508328 h 1257266"/>
              <a:gd name="connsiteX274" fmla="*/ 5125255 w 5227821"/>
              <a:gd name="connsiteY274" fmla="*/ 504563 h 1257266"/>
              <a:gd name="connsiteX275" fmla="*/ 5113976 w 5227821"/>
              <a:gd name="connsiteY275" fmla="*/ 504563 h 1257266"/>
              <a:gd name="connsiteX276" fmla="*/ 5117736 w 5227821"/>
              <a:gd name="connsiteY276" fmla="*/ 485736 h 1257266"/>
              <a:gd name="connsiteX277" fmla="*/ 5113976 w 5227821"/>
              <a:gd name="connsiteY277" fmla="*/ 444317 h 1257266"/>
              <a:gd name="connsiteX278" fmla="*/ 5159093 w 5227821"/>
              <a:gd name="connsiteY278" fmla="*/ 489501 h 1257266"/>
              <a:gd name="connsiteX279" fmla="*/ 5162853 w 5227821"/>
              <a:gd name="connsiteY279" fmla="*/ 485736 h 1257266"/>
              <a:gd name="connsiteX280" fmla="*/ 5170372 w 5227821"/>
              <a:gd name="connsiteY280" fmla="*/ 489501 h 1257266"/>
              <a:gd name="connsiteX281" fmla="*/ 5170372 w 5227821"/>
              <a:gd name="connsiteY281" fmla="*/ 519624 h 1257266"/>
              <a:gd name="connsiteX282" fmla="*/ 5162853 w 5227821"/>
              <a:gd name="connsiteY282" fmla="*/ 508328 h 1257266"/>
              <a:gd name="connsiteX283" fmla="*/ 5144054 w 5227821"/>
              <a:gd name="connsiteY283" fmla="*/ 549748 h 1257266"/>
              <a:gd name="connsiteX284" fmla="*/ 5110217 w 5227821"/>
              <a:gd name="connsiteY284" fmla="*/ 564809 h 1257266"/>
              <a:gd name="connsiteX285" fmla="*/ 5129015 w 5227821"/>
              <a:gd name="connsiteY285" fmla="*/ 606228 h 1257266"/>
              <a:gd name="connsiteX286" fmla="*/ 5159093 w 5227821"/>
              <a:gd name="connsiteY286" fmla="*/ 591167 h 1257266"/>
              <a:gd name="connsiteX287" fmla="*/ 5129015 w 5227821"/>
              <a:gd name="connsiteY287" fmla="*/ 617524 h 1257266"/>
              <a:gd name="connsiteX288" fmla="*/ 5136535 w 5227821"/>
              <a:gd name="connsiteY288" fmla="*/ 681536 h 1257266"/>
              <a:gd name="connsiteX289" fmla="*/ 5159093 w 5227821"/>
              <a:gd name="connsiteY289" fmla="*/ 692832 h 1257266"/>
              <a:gd name="connsiteX290" fmla="*/ 5207969 w 5227821"/>
              <a:gd name="connsiteY290" fmla="*/ 670240 h 1257266"/>
              <a:gd name="connsiteX291" fmla="*/ 5215489 w 5227821"/>
              <a:gd name="connsiteY291" fmla="*/ 674005 h 1257266"/>
              <a:gd name="connsiteX292" fmla="*/ 5223009 w 5227821"/>
              <a:gd name="connsiteY292" fmla="*/ 670240 h 1257266"/>
              <a:gd name="connsiteX293" fmla="*/ 5226769 w 5227821"/>
              <a:gd name="connsiteY293" fmla="*/ 704128 h 1257266"/>
              <a:gd name="connsiteX294" fmla="*/ 5129015 w 5227821"/>
              <a:gd name="connsiteY294" fmla="*/ 745548 h 1257266"/>
              <a:gd name="connsiteX295" fmla="*/ 5113976 w 5227821"/>
              <a:gd name="connsiteY295" fmla="*/ 745548 h 1257266"/>
              <a:gd name="connsiteX296" fmla="*/ 5117736 w 5227821"/>
              <a:gd name="connsiteY296" fmla="*/ 741782 h 1257266"/>
              <a:gd name="connsiteX297" fmla="*/ 5095177 w 5227821"/>
              <a:gd name="connsiteY297" fmla="*/ 741782 h 1257266"/>
              <a:gd name="connsiteX298" fmla="*/ 5038781 w 5227821"/>
              <a:gd name="connsiteY298" fmla="*/ 749313 h 1257266"/>
              <a:gd name="connsiteX299" fmla="*/ 5117736 w 5227821"/>
              <a:gd name="connsiteY299" fmla="*/ 756844 h 1257266"/>
              <a:gd name="connsiteX300" fmla="*/ 5016223 w 5227821"/>
              <a:gd name="connsiteY300" fmla="*/ 775671 h 1257266"/>
              <a:gd name="connsiteX301" fmla="*/ 4933509 w 5227821"/>
              <a:gd name="connsiteY301" fmla="*/ 768140 h 1257266"/>
              <a:gd name="connsiteX302" fmla="*/ 4892151 w 5227821"/>
              <a:gd name="connsiteY302" fmla="*/ 790732 h 1257266"/>
              <a:gd name="connsiteX303" fmla="*/ 4888392 w 5227821"/>
              <a:gd name="connsiteY303" fmla="*/ 786967 h 1257266"/>
              <a:gd name="connsiteX304" fmla="*/ 4869593 w 5227821"/>
              <a:gd name="connsiteY304" fmla="*/ 809559 h 1257266"/>
              <a:gd name="connsiteX305" fmla="*/ 4873353 w 5227821"/>
              <a:gd name="connsiteY305" fmla="*/ 813325 h 1257266"/>
              <a:gd name="connsiteX306" fmla="*/ 4831995 w 5227821"/>
              <a:gd name="connsiteY306" fmla="*/ 805794 h 1257266"/>
              <a:gd name="connsiteX307" fmla="*/ 4771840 w 5227821"/>
              <a:gd name="connsiteY307" fmla="*/ 820856 h 1257266"/>
              <a:gd name="connsiteX308" fmla="*/ 4764275 w 5227821"/>
              <a:gd name="connsiteY308" fmla="*/ 817267 h 1257266"/>
              <a:gd name="connsiteX309" fmla="*/ 4765000 w 5227821"/>
              <a:gd name="connsiteY309" fmla="*/ 823531 h 1257266"/>
              <a:gd name="connsiteX310" fmla="*/ 4797427 w 5227821"/>
              <a:gd name="connsiteY310" fmla="*/ 839063 h 1257266"/>
              <a:gd name="connsiteX311" fmla="*/ 4801187 w 5227821"/>
              <a:gd name="connsiteY311" fmla="*/ 835298 h 1257266"/>
              <a:gd name="connsiteX312" fmla="*/ 4808706 w 5227821"/>
              <a:gd name="connsiteY312" fmla="*/ 839063 h 1257266"/>
              <a:gd name="connsiteX313" fmla="*/ 4808706 w 5227821"/>
              <a:gd name="connsiteY313" fmla="*/ 869186 h 1257266"/>
              <a:gd name="connsiteX314" fmla="*/ 4801187 w 5227821"/>
              <a:gd name="connsiteY314" fmla="*/ 857890 h 1257266"/>
              <a:gd name="connsiteX315" fmla="*/ 4782388 w 5227821"/>
              <a:gd name="connsiteY315" fmla="*/ 899309 h 1257266"/>
              <a:gd name="connsiteX316" fmla="*/ 4748551 w 5227821"/>
              <a:gd name="connsiteY316" fmla="*/ 914371 h 1257266"/>
              <a:gd name="connsiteX317" fmla="*/ 4767349 w 5227821"/>
              <a:gd name="connsiteY317" fmla="*/ 955790 h 1257266"/>
              <a:gd name="connsiteX318" fmla="*/ 4797427 w 5227821"/>
              <a:gd name="connsiteY318" fmla="*/ 940729 h 1257266"/>
              <a:gd name="connsiteX319" fmla="*/ 4767349 w 5227821"/>
              <a:gd name="connsiteY319" fmla="*/ 967086 h 1257266"/>
              <a:gd name="connsiteX320" fmla="*/ 4774869 w 5227821"/>
              <a:gd name="connsiteY320" fmla="*/ 1031098 h 1257266"/>
              <a:gd name="connsiteX321" fmla="*/ 4797427 w 5227821"/>
              <a:gd name="connsiteY321" fmla="*/ 1042394 h 1257266"/>
              <a:gd name="connsiteX322" fmla="*/ 4846303 w 5227821"/>
              <a:gd name="connsiteY322" fmla="*/ 1019802 h 1257266"/>
              <a:gd name="connsiteX323" fmla="*/ 4853823 w 5227821"/>
              <a:gd name="connsiteY323" fmla="*/ 1023567 h 1257266"/>
              <a:gd name="connsiteX324" fmla="*/ 4861343 w 5227821"/>
              <a:gd name="connsiteY324" fmla="*/ 1019802 h 1257266"/>
              <a:gd name="connsiteX325" fmla="*/ 4865103 w 5227821"/>
              <a:gd name="connsiteY325" fmla="*/ 1053690 h 1257266"/>
              <a:gd name="connsiteX326" fmla="*/ 4767349 w 5227821"/>
              <a:gd name="connsiteY326" fmla="*/ 1095110 h 1257266"/>
              <a:gd name="connsiteX327" fmla="*/ 4752310 w 5227821"/>
              <a:gd name="connsiteY327" fmla="*/ 1095110 h 1257266"/>
              <a:gd name="connsiteX328" fmla="*/ 4756070 w 5227821"/>
              <a:gd name="connsiteY328" fmla="*/ 1091344 h 1257266"/>
              <a:gd name="connsiteX329" fmla="*/ 4733511 w 5227821"/>
              <a:gd name="connsiteY329" fmla="*/ 1091344 h 1257266"/>
              <a:gd name="connsiteX330" fmla="*/ 4677115 w 5227821"/>
              <a:gd name="connsiteY330" fmla="*/ 1098875 h 1257266"/>
              <a:gd name="connsiteX331" fmla="*/ 4756070 w 5227821"/>
              <a:gd name="connsiteY331" fmla="*/ 1106406 h 1257266"/>
              <a:gd name="connsiteX332" fmla="*/ 4654557 w 5227821"/>
              <a:gd name="connsiteY332" fmla="*/ 1125233 h 1257266"/>
              <a:gd name="connsiteX333" fmla="*/ 4571843 w 5227821"/>
              <a:gd name="connsiteY333" fmla="*/ 1117702 h 1257266"/>
              <a:gd name="connsiteX334" fmla="*/ 4530485 w 5227821"/>
              <a:gd name="connsiteY334" fmla="*/ 1140294 h 1257266"/>
              <a:gd name="connsiteX335" fmla="*/ 4526726 w 5227821"/>
              <a:gd name="connsiteY335" fmla="*/ 1136529 h 1257266"/>
              <a:gd name="connsiteX336" fmla="*/ 4507927 w 5227821"/>
              <a:gd name="connsiteY336" fmla="*/ 1159121 h 1257266"/>
              <a:gd name="connsiteX337" fmla="*/ 4511687 w 5227821"/>
              <a:gd name="connsiteY337" fmla="*/ 1162887 h 1257266"/>
              <a:gd name="connsiteX338" fmla="*/ 4470329 w 5227821"/>
              <a:gd name="connsiteY338" fmla="*/ 1155356 h 1257266"/>
              <a:gd name="connsiteX339" fmla="*/ 4410174 w 5227821"/>
              <a:gd name="connsiteY339" fmla="*/ 1170418 h 1257266"/>
              <a:gd name="connsiteX340" fmla="*/ 4406414 w 5227821"/>
              <a:gd name="connsiteY340" fmla="*/ 1159121 h 1257266"/>
              <a:gd name="connsiteX341" fmla="*/ 4342499 w 5227821"/>
              <a:gd name="connsiteY341" fmla="*/ 1159121 h 1257266"/>
              <a:gd name="connsiteX342" fmla="*/ 4350018 w 5227821"/>
              <a:gd name="connsiteY342" fmla="*/ 1166652 h 1257266"/>
              <a:gd name="connsiteX343" fmla="*/ 4282343 w 5227821"/>
              <a:gd name="connsiteY343" fmla="*/ 1170418 h 1257266"/>
              <a:gd name="connsiteX344" fmla="*/ 4297381 w 5227821"/>
              <a:gd name="connsiteY344" fmla="*/ 1177948 h 1257266"/>
              <a:gd name="connsiteX345" fmla="*/ 4229707 w 5227821"/>
              <a:gd name="connsiteY345" fmla="*/ 1177948 h 1257266"/>
              <a:gd name="connsiteX346" fmla="*/ 4146992 w 5227821"/>
              <a:gd name="connsiteY346" fmla="*/ 1200541 h 1257266"/>
              <a:gd name="connsiteX347" fmla="*/ 4041719 w 5227821"/>
              <a:gd name="connsiteY347" fmla="*/ 1215602 h 1257266"/>
              <a:gd name="connsiteX348" fmla="*/ 3665745 w 5227821"/>
              <a:gd name="connsiteY348" fmla="*/ 1249491 h 1257266"/>
              <a:gd name="connsiteX349" fmla="*/ 3673265 w 5227821"/>
              <a:gd name="connsiteY349" fmla="*/ 1245725 h 1257266"/>
              <a:gd name="connsiteX350" fmla="*/ 3349927 w 5227821"/>
              <a:gd name="connsiteY350" fmla="*/ 1257022 h 1257266"/>
              <a:gd name="connsiteX351" fmla="*/ 3500317 w 5227821"/>
              <a:gd name="connsiteY351" fmla="*/ 1234429 h 1257266"/>
              <a:gd name="connsiteX352" fmla="*/ 3244655 w 5227821"/>
              <a:gd name="connsiteY352" fmla="*/ 1241960 h 1257266"/>
              <a:gd name="connsiteX353" fmla="*/ 3316090 w 5227821"/>
              <a:gd name="connsiteY353" fmla="*/ 1226898 h 1257266"/>
              <a:gd name="connsiteX354" fmla="*/ 3327369 w 5227821"/>
              <a:gd name="connsiteY354" fmla="*/ 1234429 h 1257266"/>
              <a:gd name="connsiteX355" fmla="*/ 3410083 w 5227821"/>
              <a:gd name="connsiteY355" fmla="*/ 1215602 h 1257266"/>
              <a:gd name="connsiteX356" fmla="*/ 3410083 w 5227821"/>
              <a:gd name="connsiteY356" fmla="*/ 1208071 h 1257266"/>
              <a:gd name="connsiteX357" fmla="*/ 3996603 w 5227821"/>
              <a:gd name="connsiteY357" fmla="*/ 1147825 h 1257266"/>
              <a:gd name="connsiteX358" fmla="*/ 4056759 w 5227821"/>
              <a:gd name="connsiteY358" fmla="*/ 1136529 h 1257266"/>
              <a:gd name="connsiteX359" fmla="*/ 4037960 w 5227821"/>
              <a:gd name="connsiteY359" fmla="*/ 1132764 h 1257266"/>
              <a:gd name="connsiteX360" fmla="*/ 4064278 w 5227821"/>
              <a:gd name="connsiteY360" fmla="*/ 1132764 h 1257266"/>
              <a:gd name="connsiteX361" fmla="*/ 4068037 w 5227821"/>
              <a:gd name="connsiteY361" fmla="*/ 1132764 h 1257266"/>
              <a:gd name="connsiteX362" fmla="*/ 4105635 w 5227821"/>
              <a:gd name="connsiteY362" fmla="*/ 1121467 h 1257266"/>
              <a:gd name="connsiteX363" fmla="*/ 4064278 w 5227821"/>
              <a:gd name="connsiteY363" fmla="*/ 1121467 h 1257266"/>
              <a:gd name="connsiteX364" fmla="*/ 3985323 w 5227821"/>
              <a:gd name="connsiteY364" fmla="*/ 1121467 h 1257266"/>
              <a:gd name="connsiteX365" fmla="*/ 3631908 w 5227821"/>
              <a:gd name="connsiteY365" fmla="*/ 1132764 h 1257266"/>
              <a:gd name="connsiteX366" fmla="*/ 3470239 w 5227821"/>
              <a:gd name="connsiteY366" fmla="*/ 1140294 h 1257266"/>
              <a:gd name="connsiteX367" fmla="*/ 2981473 w 5227821"/>
              <a:gd name="connsiteY367" fmla="*/ 1170418 h 1257266"/>
              <a:gd name="connsiteX368" fmla="*/ 2789726 w 5227821"/>
              <a:gd name="connsiteY368" fmla="*/ 1166652 h 1257266"/>
              <a:gd name="connsiteX369" fmla="*/ 2519025 w 5227821"/>
              <a:gd name="connsiteY369" fmla="*/ 1159121 h 1257266"/>
              <a:gd name="connsiteX370" fmla="*/ 2511506 w 5227821"/>
              <a:gd name="connsiteY370" fmla="*/ 1162887 h 1257266"/>
              <a:gd name="connsiteX371" fmla="*/ 2488947 w 5227821"/>
              <a:gd name="connsiteY371" fmla="*/ 1166652 h 1257266"/>
              <a:gd name="connsiteX372" fmla="*/ 2368636 w 5227821"/>
              <a:gd name="connsiteY372" fmla="*/ 1177948 h 1257266"/>
              <a:gd name="connsiteX373" fmla="*/ 2225766 w 5227821"/>
              <a:gd name="connsiteY373" fmla="*/ 1196775 h 1257266"/>
              <a:gd name="connsiteX374" fmla="*/ 1466298 w 5227821"/>
              <a:gd name="connsiteY374" fmla="*/ 1189245 h 1257266"/>
              <a:gd name="connsiteX375" fmla="*/ 1259513 w 5227821"/>
              <a:gd name="connsiteY375" fmla="*/ 1177948 h 1257266"/>
              <a:gd name="connsiteX376" fmla="*/ 992571 w 5227821"/>
              <a:gd name="connsiteY376" fmla="*/ 1162887 h 1257266"/>
              <a:gd name="connsiteX377" fmla="*/ 891058 w 5227821"/>
              <a:gd name="connsiteY377" fmla="*/ 1155356 h 1257266"/>
              <a:gd name="connsiteX378" fmla="*/ 883995 w 5227821"/>
              <a:gd name="connsiteY378" fmla="*/ 1158893 h 1257266"/>
              <a:gd name="connsiteX379" fmla="*/ 876489 w 5227821"/>
              <a:gd name="connsiteY379" fmla="*/ 1158650 h 1257266"/>
              <a:gd name="connsiteX380" fmla="*/ 774506 w 5227821"/>
              <a:gd name="connsiteY380" fmla="*/ 1155356 h 1257266"/>
              <a:gd name="connsiteX381" fmla="*/ 710591 w 5227821"/>
              <a:gd name="connsiteY381" fmla="*/ 1166652 h 1257266"/>
              <a:gd name="connsiteX382" fmla="*/ 530123 w 5227821"/>
              <a:gd name="connsiteY382" fmla="*/ 1166652 h 1257266"/>
              <a:gd name="connsiteX383" fmla="*/ 511325 w 5227821"/>
              <a:gd name="connsiteY383" fmla="*/ 1170418 h 1257266"/>
              <a:gd name="connsiteX384" fmla="*/ 507565 w 5227821"/>
              <a:gd name="connsiteY384" fmla="*/ 1170418 h 1257266"/>
              <a:gd name="connsiteX385" fmla="*/ 488766 w 5227821"/>
              <a:gd name="connsiteY385" fmla="*/ 1174183 h 1257266"/>
              <a:gd name="connsiteX386" fmla="*/ 424851 w 5227821"/>
              <a:gd name="connsiteY386" fmla="*/ 1170418 h 1257266"/>
              <a:gd name="connsiteX387" fmla="*/ 421091 w 5227821"/>
              <a:gd name="connsiteY387" fmla="*/ 1162887 h 1257266"/>
              <a:gd name="connsiteX388" fmla="*/ 398533 w 5227821"/>
              <a:gd name="connsiteY388" fmla="*/ 1170418 h 1257266"/>
              <a:gd name="connsiteX389" fmla="*/ 357175 w 5227821"/>
              <a:gd name="connsiteY389" fmla="*/ 1159121 h 1257266"/>
              <a:gd name="connsiteX390" fmla="*/ 334617 w 5227821"/>
              <a:gd name="connsiteY390" fmla="*/ 1162887 h 1257266"/>
              <a:gd name="connsiteX391" fmla="*/ 338376 w 5227821"/>
              <a:gd name="connsiteY391" fmla="*/ 1155356 h 1257266"/>
              <a:gd name="connsiteX392" fmla="*/ 300779 w 5227821"/>
              <a:gd name="connsiteY392" fmla="*/ 1155356 h 1257266"/>
              <a:gd name="connsiteX393" fmla="*/ 233104 w 5227821"/>
              <a:gd name="connsiteY393" fmla="*/ 1140294 h 1257266"/>
              <a:gd name="connsiteX394" fmla="*/ 353415 w 5227821"/>
              <a:gd name="connsiteY394" fmla="*/ 1125233 h 1257266"/>
              <a:gd name="connsiteX395" fmla="*/ 315818 w 5227821"/>
              <a:gd name="connsiteY395" fmla="*/ 1125233 h 1257266"/>
              <a:gd name="connsiteX396" fmla="*/ 327097 w 5227821"/>
              <a:gd name="connsiteY396" fmla="*/ 1110171 h 1257266"/>
              <a:gd name="connsiteX397" fmla="*/ 274461 w 5227821"/>
              <a:gd name="connsiteY397" fmla="*/ 1102641 h 1257266"/>
              <a:gd name="connsiteX398" fmla="*/ 387253 w 5227821"/>
              <a:gd name="connsiteY398" fmla="*/ 1095110 h 1257266"/>
              <a:gd name="connsiteX399" fmla="*/ 334617 w 5227821"/>
              <a:gd name="connsiteY399" fmla="*/ 1095110 h 1257266"/>
              <a:gd name="connsiteX400" fmla="*/ 312058 w 5227821"/>
              <a:gd name="connsiteY400" fmla="*/ 1083814 h 1257266"/>
              <a:gd name="connsiteX401" fmla="*/ 338376 w 5227821"/>
              <a:gd name="connsiteY401" fmla="*/ 1072517 h 1257266"/>
              <a:gd name="connsiteX402" fmla="*/ 372214 w 5227821"/>
              <a:gd name="connsiteY402" fmla="*/ 1046160 h 1257266"/>
              <a:gd name="connsiteX403" fmla="*/ 293259 w 5227821"/>
              <a:gd name="connsiteY403" fmla="*/ 1064987 h 1257266"/>
              <a:gd name="connsiteX404" fmla="*/ 281980 w 5227821"/>
              <a:gd name="connsiteY404" fmla="*/ 1034863 h 1257266"/>
              <a:gd name="connsiteX405" fmla="*/ 308298 w 5227821"/>
              <a:gd name="connsiteY405" fmla="*/ 985913 h 1257266"/>
              <a:gd name="connsiteX406" fmla="*/ 323337 w 5227821"/>
              <a:gd name="connsiteY406" fmla="*/ 978383 h 1257266"/>
              <a:gd name="connsiteX407" fmla="*/ 263181 w 5227821"/>
              <a:gd name="connsiteY407" fmla="*/ 970852 h 1257266"/>
              <a:gd name="connsiteX408" fmla="*/ 300779 w 5227821"/>
              <a:gd name="connsiteY408" fmla="*/ 918136 h 1257266"/>
              <a:gd name="connsiteX409" fmla="*/ 330857 w 5227821"/>
              <a:gd name="connsiteY409" fmla="*/ 914371 h 1257266"/>
              <a:gd name="connsiteX410" fmla="*/ 67675 w 5227821"/>
              <a:gd name="connsiteY410" fmla="*/ 831532 h 1257266"/>
              <a:gd name="connsiteX411" fmla="*/ 11279 w 5227821"/>
              <a:gd name="connsiteY411" fmla="*/ 824001 h 1257266"/>
              <a:gd name="connsiteX412" fmla="*/ 0 w 5227821"/>
              <a:gd name="connsiteY412" fmla="*/ 820236 h 1257266"/>
              <a:gd name="connsiteX413" fmla="*/ 30078 w 5227821"/>
              <a:gd name="connsiteY413" fmla="*/ 820236 h 1257266"/>
              <a:gd name="connsiteX414" fmla="*/ 33837 w 5227821"/>
              <a:gd name="connsiteY414" fmla="*/ 824001 h 1257266"/>
              <a:gd name="connsiteX415" fmla="*/ 45117 w 5227821"/>
              <a:gd name="connsiteY415" fmla="*/ 820236 h 1257266"/>
              <a:gd name="connsiteX416" fmla="*/ 45117 w 5227821"/>
              <a:gd name="connsiteY416" fmla="*/ 812705 h 1257266"/>
              <a:gd name="connsiteX417" fmla="*/ 236863 w 5227821"/>
              <a:gd name="connsiteY417" fmla="*/ 865421 h 1257266"/>
              <a:gd name="connsiteX418" fmla="*/ 240623 w 5227821"/>
              <a:gd name="connsiteY418" fmla="*/ 861655 h 1257266"/>
              <a:gd name="connsiteX419" fmla="*/ 259422 w 5227821"/>
              <a:gd name="connsiteY419" fmla="*/ 869186 h 1257266"/>
              <a:gd name="connsiteX420" fmla="*/ 270701 w 5227821"/>
              <a:gd name="connsiteY420" fmla="*/ 861655 h 1257266"/>
              <a:gd name="connsiteX421" fmla="*/ 274461 w 5227821"/>
              <a:gd name="connsiteY421" fmla="*/ 865421 h 1257266"/>
              <a:gd name="connsiteX422" fmla="*/ 278220 w 5227821"/>
              <a:gd name="connsiteY422" fmla="*/ 861655 h 1257266"/>
              <a:gd name="connsiteX423" fmla="*/ 233104 w 5227821"/>
              <a:gd name="connsiteY423" fmla="*/ 857890 h 1257266"/>
              <a:gd name="connsiteX424" fmla="*/ 278220 w 5227821"/>
              <a:gd name="connsiteY424" fmla="*/ 842828 h 1257266"/>
              <a:gd name="connsiteX425" fmla="*/ 293259 w 5227821"/>
              <a:gd name="connsiteY425" fmla="*/ 842828 h 1257266"/>
              <a:gd name="connsiteX426" fmla="*/ 278220 w 5227821"/>
              <a:gd name="connsiteY426" fmla="*/ 854125 h 1257266"/>
              <a:gd name="connsiteX427" fmla="*/ 312058 w 5227821"/>
              <a:gd name="connsiteY427" fmla="*/ 857890 h 1257266"/>
              <a:gd name="connsiteX428" fmla="*/ 312058 w 5227821"/>
              <a:gd name="connsiteY428" fmla="*/ 842828 h 1257266"/>
              <a:gd name="connsiteX429" fmla="*/ 308298 w 5227821"/>
              <a:gd name="connsiteY429" fmla="*/ 839063 h 1257266"/>
              <a:gd name="connsiteX430" fmla="*/ 304539 w 5227821"/>
              <a:gd name="connsiteY430" fmla="*/ 839063 h 1257266"/>
              <a:gd name="connsiteX431" fmla="*/ 308298 w 5227821"/>
              <a:gd name="connsiteY431" fmla="*/ 835298 h 1257266"/>
              <a:gd name="connsiteX432" fmla="*/ 297019 w 5227821"/>
              <a:gd name="connsiteY432" fmla="*/ 831532 h 1257266"/>
              <a:gd name="connsiteX433" fmla="*/ 270701 w 5227821"/>
              <a:gd name="connsiteY433" fmla="*/ 835298 h 1257266"/>
              <a:gd name="connsiteX434" fmla="*/ 312058 w 5227821"/>
              <a:gd name="connsiteY434" fmla="*/ 820236 h 1257266"/>
              <a:gd name="connsiteX435" fmla="*/ 308298 w 5227821"/>
              <a:gd name="connsiteY435" fmla="*/ 816471 h 1257266"/>
              <a:gd name="connsiteX436" fmla="*/ 353415 w 5227821"/>
              <a:gd name="connsiteY436" fmla="*/ 793878 h 1257266"/>
              <a:gd name="connsiteX437" fmla="*/ 334617 w 5227821"/>
              <a:gd name="connsiteY437" fmla="*/ 790113 h 1257266"/>
              <a:gd name="connsiteX438" fmla="*/ 233104 w 5227821"/>
              <a:gd name="connsiteY438" fmla="*/ 824001 h 1257266"/>
              <a:gd name="connsiteX439" fmla="*/ 161669 w 5227821"/>
              <a:gd name="connsiteY439" fmla="*/ 839063 h 1257266"/>
              <a:gd name="connsiteX440" fmla="*/ 184227 w 5227821"/>
              <a:gd name="connsiteY440" fmla="*/ 827767 h 1257266"/>
              <a:gd name="connsiteX441" fmla="*/ 176707 w 5227821"/>
              <a:gd name="connsiteY441" fmla="*/ 827767 h 1257266"/>
              <a:gd name="connsiteX442" fmla="*/ 251902 w 5227821"/>
              <a:gd name="connsiteY442" fmla="*/ 805175 h 1257266"/>
              <a:gd name="connsiteX443" fmla="*/ 274461 w 5227821"/>
              <a:gd name="connsiteY443" fmla="*/ 797644 h 1257266"/>
              <a:gd name="connsiteX444" fmla="*/ 281980 w 5227821"/>
              <a:gd name="connsiteY444" fmla="*/ 797644 h 1257266"/>
              <a:gd name="connsiteX445" fmla="*/ 297019 w 5227821"/>
              <a:gd name="connsiteY445" fmla="*/ 790113 h 1257266"/>
              <a:gd name="connsiteX446" fmla="*/ 293259 w 5227821"/>
              <a:gd name="connsiteY446" fmla="*/ 786348 h 1257266"/>
              <a:gd name="connsiteX447" fmla="*/ 327097 w 5227821"/>
              <a:gd name="connsiteY447" fmla="*/ 763755 h 1257266"/>
              <a:gd name="connsiteX448" fmla="*/ 236863 w 5227821"/>
              <a:gd name="connsiteY448" fmla="*/ 786348 h 1257266"/>
              <a:gd name="connsiteX449" fmla="*/ 199266 w 5227821"/>
              <a:gd name="connsiteY449" fmla="*/ 790113 h 1257266"/>
              <a:gd name="connsiteX450" fmla="*/ 330857 w 5227821"/>
              <a:gd name="connsiteY450" fmla="*/ 726101 h 1257266"/>
              <a:gd name="connsiteX451" fmla="*/ 357175 w 5227821"/>
              <a:gd name="connsiteY451" fmla="*/ 699743 h 1257266"/>
              <a:gd name="connsiteX452" fmla="*/ 364695 w 5227821"/>
              <a:gd name="connsiteY452" fmla="*/ 699743 h 1257266"/>
              <a:gd name="connsiteX453" fmla="*/ 364695 w 5227821"/>
              <a:gd name="connsiteY453" fmla="*/ 688447 h 1257266"/>
              <a:gd name="connsiteX454" fmla="*/ 402292 w 5227821"/>
              <a:gd name="connsiteY454" fmla="*/ 650793 h 1257266"/>
              <a:gd name="connsiteX455" fmla="*/ 511325 w 5227821"/>
              <a:gd name="connsiteY455" fmla="*/ 579251 h 1257266"/>
              <a:gd name="connsiteX456" fmla="*/ 551742 w 5227821"/>
              <a:gd name="connsiteY456" fmla="*/ 534537 h 1257266"/>
              <a:gd name="connsiteX457" fmla="*/ 561872 w 5227821"/>
              <a:gd name="connsiteY457" fmla="*/ 527136 h 1257266"/>
              <a:gd name="connsiteX458" fmla="*/ 558113 w 5227821"/>
              <a:gd name="connsiteY458" fmla="*/ 526214 h 1257266"/>
              <a:gd name="connsiteX459" fmla="*/ 429342 w 5227821"/>
              <a:gd name="connsiteY459" fmla="*/ 481970 h 1257266"/>
              <a:gd name="connsiteX460" fmla="*/ 372945 w 5227821"/>
              <a:gd name="connsiteY460" fmla="*/ 474440 h 1257266"/>
              <a:gd name="connsiteX461" fmla="*/ 361666 w 5227821"/>
              <a:gd name="connsiteY461" fmla="*/ 470674 h 1257266"/>
              <a:gd name="connsiteX462" fmla="*/ 391744 w 5227821"/>
              <a:gd name="connsiteY462" fmla="*/ 470674 h 1257266"/>
              <a:gd name="connsiteX463" fmla="*/ 395504 w 5227821"/>
              <a:gd name="connsiteY463" fmla="*/ 474440 h 1257266"/>
              <a:gd name="connsiteX464" fmla="*/ 406783 w 5227821"/>
              <a:gd name="connsiteY464" fmla="*/ 470674 h 1257266"/>
              <a:gd name="connsiteX465" fmla="*/ 406783 w 5227821"/>
              <a:gd name="connsiteY465" fmla="*/ 463144 h 1257266"/>
              <a:gd name="connsiteX466" fmla="*/ 495607 w 5227821"/>
              <a:gd name="connsiteY466" fmla="*/ 493737 h 1257266"/>
              <a:gd name="connsiteX467" fmla="*/ 582131 w 5227821"/>
              <a:gd name="connsiteY467" fmla="*/ 512335 h 1257266"/>
              <a:gd name="connsiteX468" fmla="*/ 609078 w 5227821"/>
              <a:gd name="connsiteY468" fmla="*/ 492647 h 1257266"/>
              <a:gd name="connsiteX469" fmla="*/ 618947 w 5227821"/>
              <a:gd name="connsiteY469" fmla="*/ 494530 h 1257266"/>
              <a:gd name="connsiteX470" fmla="*/ 624178 w 5227821"/>
              <a:gd name="connsiteY470" fmla="*/ 495306 h 1257266"/>
              <a:gd name="connsiteX471" fmla="*/ 639060 w 5227821"/>
              <a:gd name="connsiteY471" fmla="*/ 493374 h 1257266"/>
              <a:gd name="connsiteX472" fmla="*/ 653196 w 5227821"/>
              <a:gd name="connsiteY472" fmla="*/ 487588 h 1257266"/>
              <a:gd name="connsiteX473" fmla="*/ 661962 w 5227821"/>
              <a:gd name="connsiteY473" fmla="*/ 483064 h 1257266"/>
              <a:gd name="connsiteX474" fmla="*/ 658686 w 5227821"/>
              <a:gd name="connsiteY474" fmla="*/ 481970 h 1257266"/>
              <a:gd name="connsiteX475" fmla="*/ 632367 w 5227821"/>
              <a:gd name="connsiteY475" fmla="*/ 485736 h 1257266"/>
              <a:gd name="connsiteX476" fmla="*/ 673725 w 5227821"/>
              <a:gd name="connsiteY476" fmla="*/ 470674 h 1257266"/>
              <a:gd name="connsiteX477" fmla="*/ 669965 w 5227821"/>
              <a:gd name="connsiteY477" fmla="*/ 466909 h 1257266"/>
              <a:gd name="connsiteX478" fmla="*/ 715082 w 5227821"/>
              <a:gd name="connsiteY478" fmla="*/ 444317 h 1257266"/>
              <a:gd name="connsiteX479" fmla="*/ 696283 w 5227821"/>
              <a:gd name="connsiteY479" fmla="*/ 440551 h 1257266"/>
              <a:gd name="connsiteX480" fmla="*/ 594770 w 5227821"/>
              <a:gd name="connsiteY480" fmla="*/ 474440 h 1257266"/>
              <a:gd name="connsiteX481" fmla="*/ 523335 w 5227821"/>
              <a:gd name="connsiteY481" fmla="*/ 489501 h 1257266"/>
              <a:gd name="connsiteX482" fmla="*/ 545893 w 5227821"/>
              <a:gd name="connsiteY482" fmla="*/ 478205 h 1257266"/>
              <a:gd name="connsiteX483" fmla="*/ 538374 w 5227821"/>
              <a:gd name="connsiteY483" fmla="*/ 478205 h 1257266"/>
              <a:gd name="connsiteX484" fmla="*/ 613569 w 5227821"/>
              <a:gd name="connsiteY484" fmla="*/ 455613 h 1257266"/>
              <a:gd name="connsiteX485" fmla="*/ 636127 w 5227821"/>
              <a:gd name="connsiteY485" fmla="*/ 448082 h 1257266"/>
              <a:gd name="connsiteX486" fmla="*/ 643647 w 5227821"/>
              <a:gd name="connsiteY486" fmla="*/ 448082 h 1257266"/>
              <a:gd name="connsiteX487" fmla="*/ 658686 w 5227821"/>
              <a:gd name="connsiteY487" fmla="*/ 440551 h 1257266"/>
              <a:gd name="connsiteX488" fmla="*/ 654926 w 5227821"/>
              <a:gd name="connsiteY488" fmla="*/ 436786 h 1257266"/>
              <a:gd name="connsiteX489" fmla="*/ 688764 w 5227821"/>
              <a:gd name="connsiteY489" fmla="*/ 414193 h 1257266"/>
              <a:gd name="connsiteX490" fmla="*/ 598530 w 5227821"/>
              <a:gd name="connsiteY490" fmla="*/ 436786 h 1257266"/>
              <a:gd name="connsiteX491" fmla="*/ 560932 w 5227821"/>
              <a:gd name="connsiteY491" fmla="*/ 440551 h 1257266"/>
              <a:gd name="connsiteX492" fmla="*/ 692523 w 5227821"/>
              <a:gd name="connsiteY492" fmla="*/ 376539 h 1257266"/>
              <a:gd name="connsiteX493" fmla="*/ 718841 w 5227821"/>
              <a:gd name="connsiteY493" fmla="*/ 350182 h 1257266"/>
              <a:gd name="connsiteX494" fmla="*/ 726361 w 5227821"/>
              <a:gd name="connsiteY494" fmla="*/ 350182 h 1257266"/>
              <a:gd name="connsiteX495" fmla="*/ 726361 w 5227821"/>
              <a:gd name="connsiteY495" fmla="*/ 338886 h 1257266"/>
              <a:gd name="connsiteX496" fmla="*/ 763958 w 5227821"/>
              <a:gd name="connsiteY496" fmla="*/ 301232 h 1257266"/>
              <a:gd name="connsiteX497" fmla="*/ 872991 w 5227821"/>
              <a:gd name="connsiteY497" fmla="*/ 229689 h 1257266"/>
              <a:gd name="connsiteX498" fmla="*/ 970744 w 5227821"/>
              <a:gd name="connsiteY498" fmla="*/ 143085 h 1257266"/>
              <a:gd name="connsiteX499" fmla="*/ 993302 w 5227821"/>
              <a:gd name="connsiteY499" fmla="*/ 146851 h 1257266"/>
              <a:gd name="connsiteX500" fmla="*/ 1087296 w 5227821"/>
              <a:gd name="connsiteY500" fmla="*/ 124258 h 1257266"/>
              <a:gd name="connsiteX501" fmla="*/ 1109854 w 5227821"/>
              <a:gd name="connsiteY501" fmla="*/ 120493 h 1257266"/>
              <a:gd name="connsiteX502" fmla="*/ 1109854 w 5227821"/>
              <a:gd name="connsiteY502" fmla="*/ 112962 h 1257266"/>
              <a:gd name="connsiteX503" fmla="*/ 1173770 w 5227821"/>
              <a:gd name="connsiteY503" fmla="*/ 120493 h 1257266"/>
              <a:gd name="connsiteX504" fmla="*/ 1166250 w 5227821"/>
              <a:gd name="connsiteY504" fmla="*/ 131789 h 1257266"/>
              <a:gd name="connsiteX505" fmla="*/ 1290322 w 5227821"/>
              <a:gd name="connsiteY505" fmla="*/ 154381 h 1257266"/>
              <a:gd name="connsiteX506" fmla="*/ 1286562 w 5227821"/>
              <a:gd name="connsiteY506" fmla="*/ 158147 h 1257266"/>
              <a:gd name="connsiteX507" fmla="*/ 1316640 w 5227821"/>
              <a:gd name="connsiteY507" fmla="*/ 161912 h 1257266"/>
              <a:gd name="connsiteX508" fmla="*/ 1399354 w 5227821"/>
              <a:gd name="connsiteY508" fmla="*/ 101666 h 1257266"/>
              <a:gd name="connsiteX509" fmla="*/ 1380555 w 5227821"/>
              <a:gd name="connsiteY509" fmla="*/ 82839 h 1257266"/>
              <a:gd name="connsiteX510" fmla="*/ 1369276 w 5227821"/>
              <a:gd name="connsiteY510" fmla="*/ 90370 h 1257266"/>
              <a:gd name="connsiteX511" fmla="*/ 1369276 w 5227821"/>
              <a:gd name="connsiteY511" fmla="*/ 86604 h 1257266"/>
              <a:gd name="connsiteX512" fmla="*/ 1275283 w 5227821"/>
              <a:gd name="connsiteY512" fmla="*/ 86604 h 1257266"/>
              <a:gd name="connsiteX513" fmla="*/ 1252724 w 5227821"/>
              <a:gd name="connsiteY513" fmla="*/ 97900 h 1257266"/>
              <a:gd name="connsiteX514" fmla="*/ 1282802 w 5227821"/>
              <a:gd name="connsiteY514" fmla="*/ 71543 h 1257266"/>
              <a:gd name="connsiteX515" fmla="*/ 1309120 w 5227821"/>
              <a:gd name="connsiteY515" fmla="*/ 67777 h 1257266"/>
              <a:gd name="connsiteX516" fmla="*/ 1399354 w 5227821"/>
              <a:gd name="connsiteY516" fmla="*/ 82839 h 1257266"/>
              <a:gd name="connsiteX517" fmla="*/ 1455750 w 5227821"/>
              <a:gd name="connsiteY517" fmla="*/ 56481 h 1257266"/>
              <a:gd name="connsiteX518" fmla="*/ 1440711 w 5227821"/>
              <a:gd name="connsiteY518" fmla="*/ 52716 h 1257266"/>
              <a:gd name="connsiteX519" fmla="*/ 1508387 w 5227821"/>
              <a:gd name="connsiteY519" fmla="*/ 22593 h 1257266"/>
              <a:gd name="connsiteX520" fmla="*/ 1474549 w 5227821"/>
              <a:gd name="connsiteY520" fmla="*/ 18827 h 1257266"/>
              <a:gd name="connsiteX521" fmla="*/ 1594861 w 5227821"/>
              <a:gd name="connsiteY521" fmla="*/ 0 h 1257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</a:cxnLst>
            <a:rect l="l" t="t" r="r" b="b"/>
            <a:pathLst>
              <a:path w="5227821" h="1257266">
                <a:moveTo>
                  <a:pt x="883995" y="1158893"/>
                </a:moveTo>
                <a:lnTo>
                  <a:pt x="891058" y="1159121"/>
                </a:lnTo>
                <a:cubicBezTo>
                  <a:pt x="883539" y="1159121"/>
                  <a:pt x="883539" y="1159121"/>
                  <a:pt x="883539" y="1159121"/>
                </a:cubicBezTo>
                <a:close/>
                <a:moveTo>
                  <a:pt x="4615788" y="826594"/>
                </a:moveTo>
                <a:lnTo>
                  <a:pt x="4616959" y="827767"/>
                </a:lnTo>
                <a:lnTo>
                  <a:pt x="4617450" y="827029"/>
                </a:lnTo>
                <a:close/>
                <a:moveTo>
                  <a:pt x="4610559" y="825984"/>
                </a:moveTo>
                <a:lnTo>
                  <a:pt x="4591373" y="828386"/>
                </a:lnTo>
                <a:lnTo>
                  <a:pt x="4584680" y="830752"/>
                </a:lnTo>
                <a:lnTo>
                  <a:pt x="4583122" y="831532"/>
                </a:lnTo>
                <a:cubicBezTo>
                  <a:pt x="4583122" y="835298"/>
                  <a:pt x="4590641" y="835298"/>
                  <a:pt x="4598161" y="835298"/>
                </a:cubicBezTo>
                <a:cubicBezTo>
                  <a:pt x="4598161" y="835298"/>
                  <a:pt x="4598161" y="835298"/>
                  <a:pt x="4600041" y="833886"/>
                </a:cubicBezTo>
                <a:close/>
                <a:moveTo>
                  <a:pt x="4763331" y="809097"/>
                </a:moveTo>
                <a:lnTo>
                  <a:pt x="4764025" y="815097"/>
                </a:lnTo>
                <a:lnTo>
                  <a:pt x="4768080" y="809559"/>
                </a:lnTo>
                <a:close/>
                <a:moveTo>
                  <a:pt x="4653526" y="808089"/>
                </a:moveTo>
                <a:cubicBezTo>
                  <a:pt x="4649178" y="809559"/>
                  <a:pt x="4645889" y="813325"/>
                  <a:pt x="4644009" y="820856"/>
                </a:cubicBezTo>
                <a:cubicBezTo>
                  <a:pt x="4647769" y="824621"/>
                  <a:pt x="4655288" y="824621"/>
                  <a:pt x="4659047" y="828386"/>
                </a:cubicBezTo>
                <a:lnTo>
                  <a:pt x="4642634" y="833009"/>
                </a:lnTo>
                <a:lnTo>
                  <a:pt x="4658317" y="846594"/>
                </a:lnTo>
                <a:cubicBezTo>
                  <a:pt x="4680875" y="839063"/>
                  <a:pt x="4677115" y="827767"/>
                  <a:pt x="4684635" y="816471"/>
                </a:cubicBezTo>
                <a:lnTo>
                  <a:pt x="4683861" y="813370"/>
                </a:lnTo>
                <a:lnTo>
                  <a:pt x="4669387" y="809089"/>
                </a:lnTo>
                <a:cubicBezTo>
                  <a:pt x="4663277" y="807441"/>
                  <a:pt x="4657873" y="806618"/>
                  <a:pt x="4653526" y="808089"/>
                </a:cubicBezTo>
                <a:close/>
                <a:moveTo>
                  <a:pt x="4720496" y="800558"/>
                </a:moveTo>
                <a:cubicBezTo>
                  <a:pt x="4715209" y="801322"/>
                  <a:pt x="4709804" y="803911"/>
                  <a:pt x="4704165" y="809559"/>
                </a:cubicBezTo>
                <a:cubicBezTo>
                  <a:pt x="4704165" y="809559"/>
                  <a:pt x="4704165" y="809559"/>
                  <a:pt x="4711684" y="817090"/>
                </a:cubicBezTo>
                <a:lnTo>
                  <a:pt x="4703433" y="816325"/>
                </a:lnTo>
                <a:lnTo>
                  <a:pt x="4703433" y="824001"/>
                </a:lnTo>
                <a:cubicBezTo>
                  <a:pt x="4703433" y="824001"/>
                  <a:pt x="4703433" y="824001"/>
                  <a:pt x="4718473" y="820236"/>
                </a:cubicBezTo>
                <a:cubicBezTo>
                  <a:pt x="4725992" y="827767"/>
                  <a:pt x="4729751" y="839063"/>
                  <a:pt x="4733511" y="846594"/>
                </a:cubicBezTo>
                <a:cubicBezTo>
                  <a:pt x="4725992" y="842828"/>
                  <a:pt x="4718473" y="842828"/>
                  <a:pt x="4710953" y="850359"/>
                </a:cubicBezTo>
                <a:cubicBezTo>
                  <a:pt x="4710953" y="850359"/>
                  <a:pt x="4710953" y="850359"/>
                  <a:pt x="4692155" y="842828"/>
                </a:cubicBezTo>
                <a:cubicBezTo>
                  <a:pt x="4680875" y="846594"/>
                  <a:pt x="4665836" y="846594"/>
                  <a:pt x="4658317" y="854125"/>
                </a:cubicBezTo>
                <a:cubicBezTo>
                  <a:pt x="4658317" y="854125"/>
                  <a:pt x="4658317" y="854125"/>
                  <a:pt x="4677115" y="854125"/>
                </a:cubicBezTo>
                <a:cubicBezTo>
                  <a:pt x="4677115" y="854125"/>
                  <a:pt x="4677115" y="854125"/>
                  <a:pt x="4673355" y="857890"/>
                </a:cubicBezTo>
                <a:cubicBezTo>
                  <a:pt x="4707193" y="854125"/>
                  <a:pt x="4722232" y="861655"/>
                  <a:pt x="4741031" y="857890"/>
                </a:cubicBezTo>
                <a:cubicBezTo>
                  <a:pt x="4744791" y="861655"/>
                  <a:pt x="4744791" y="861655"/>
                  <a:pt x="4748551" y="861655"/>
                </a:cubicBezTo>
                <a:cubicBezTo>
                  <a:pt x="4752310" y="861655"/>
                  <a:pt x="4752310" y="857890"/>
                  <a:pt x="4752310" y="857890"/>
                </a:cubicBezTo>
                <a:cubicBezTo>
                  <a:pt x="4756070" y="854125"/>
                  <a:pt x="4759829" y="854125"/>
                  <a:pt x="4763589" y="854125"/>
                </a:cubicBezTo>
                <a:cubicBezTo>
                  <a:pt x="4763589" y="850359"/>
                  <a:pt x="4759829" y="854125"/>
                  <a:pt x="4752310" y="854125"/>
                </a:cubicBezTo>
                <a:cubicBezTo>
                  <a:pt x="4752310" y="846594"/>
                  <a:pt x="4748551" y="842828"/>
                  <a:pt x="4756070" y="835298"/>
                </a:cubicBezTo>
                <a:cubicBezTo>
                  <a:pt x="4750430" y="829650"/>
                  <a:pt x="4745731" y="824001"/>
                  <a:pt x="4744321" y="817412"/>
                </a:cubicBezTo>
                <a:lnTo>
                  <a:pt x="4747974" y="806649"/>
                </a:lnTo>
                <a:lnTo>
                  <a:pt x="4736122" y="802499"/>
                </a:lnTo>
                <a:cubicBezTo>
                  <a:pt x="4730953" y="800852"/>
                  <a:pt x="4725783" y="799793"/>
                  <a:pt x="4720496" y="800558"/>
                </a:cubicBezTo>
                <a:close/>
                <a:moveTo>
                  <a:pt x="1676438" y="90716"/>
                </a:moveTo>
                <a:lnTo>
                  <a:pt x="1850993" y="94135"/>
                </a:lnTo>
                <a:cubicBezTo>
                  <a:pt x="1918198" y="94135"/>
                  <a:pt x="1985874" y="94135"/>
                  <a:pt x="2046029" y="97900"/>
                </a:cubicBezTo>
                <a:cubicBezTo>
                  <a:pt x="2046029" y="97900"/>
                  <a:pt x="2046029" y="97900"/>
                  <a:pt x="2057308" y="101666"/>
                </a:cubicBezTo>
                <a:cubicBezTo>
                  <a:pt x="1997153" y="97900"/>
                  <a:pt x="1910679" y="112962"/>
                  <a:pt x="1850523" y="97900"/>
                </a:cubicBezTo>
                <a:cubicBezTo>
                  <a:pt x="1797886" y="101666"/>
                  <a:pt x="1737731" y="94135"/>
                  <a:pt x="1692614" y="94135"/>
                </a:cubicBezTo>
                <a:close/>
                <a:moveTo>
                  <a:pt x="1675636" y="90546"/>
                </a:moveTo>
                <a:lnTo>
                  <a:pt x="1676438" y="90716"/>
                </a:lnTo>
                <a:lnTo>
                  <a:pt x="1674865" y="90685"/>
                </a:lnTo>
                <a:close/>
                <a:moveTo>
                  <a:pt x="2005634" y="36919"/>
                </a:moveTo>
                <a:lnTo>
                  <a:pt x="2008432" y="37654"/>
                </a:lnTo>
                <a:cubicBezTo>
                  <a:pt x="2000912" y="37654"/>
                  <a:pt x="2000912" y="37654"/>
                  <a:pt x="2000912" y="37654"/>
                </a:cubicBezTo>
                <a:close/>
                <a:moveTo>
                  <a:pt x="1594861" y="0"/>
                </a:moveTo>
                <a:cubicBezTo>
                  <a:pt x="1621179" y="0"/>
                  <a:pt x="1651257" y="0"/>
                  <a:pt x="1655016" y="11296"/>
                </a:cubicBezTo>
                <a:cubicBezTo>
                  <a:pt x="1658776" y="15062"/>
                  <a:pt x="1655016" y="15062"/>
                  <a:pt x="1651257" y="18827"/>
                </a:cubicBezTo>
                <a:cubicBezTo>
                  <a:pt x="1685094" y="22593"/>
                  <a:pt x="1730211" y="22593"/>
                  <a:pt x="1767809" y="22593"/>
                </a:cubicBezTo>
                <a:cubicBezTo>
                  <a:pt x="1925718" y="26358"/>
                  <a:pt x="2079867" y="30123"/>
                  <a:pt x="2230256" y="26358"/>
                </a:cubicBezTo>
                <a:cubicBezTo>
                  <a:pt x="2241536" y="30123"/>
                  <a:pt x="2256575" y="33889"/>
                  <a:pt x="2275373" y="30123"/>
                </a:cubicBezTo>
                <a:cubicBezTo>
                  <a:pt x="2218977" y="41420"/>
                  <a:pt x="2117464" y="33889"/>
                  <a:pt x="2046029" y="33889"/>
                </a:cubicBezTo>
                <a:cubicBezTo>
                  <a:pt x="2036630" y="32006"/>
                  <a:pt x="2029111" y="32947"/>
                  <a:pt x="2022061" y="34359"/>
                </a:cubicBezTo>
                <a:lnTo>
                  <a:pt x="2005634" y="36919"/>
                </a:lnTo>
                <a:lnTo>
                  <a:pt x="1983817" y="31183"/>
                </a:lnTo>
                <a:cubicBezTo>
                  <a:pt x="1955091" y="28711"/>
                  <a:pt x="1916318" y="35772"/>
                  <a:pt x="1888120" y="30123"/>
                </a:cubicBezTo>
                <a:cubicBezTo>
                  <a:pt x="1805406" y="30123"/>
                  <a:pt x="1749010" y="22593"/>
                  <a:pt x="1662536" y="26358"/>
                </a:cubicBezTo>
                <a:cubicBezTo>
                  <a:pt x="1655016" y="30123"/>
                  <a:pt x="1655016" y="33889"/>
                  <a:pt x="1655016" y="37654"/>
                </a:cubicBezTo>
                <a:cubicBezTo>
                  <a:pt x="1636218" y="37654"/>
                  <a:pt x="1617419" y="37654"/>
                  <a:pt x="1609900" y="30123"/>
                </a:cubicBezTo>
                <a:cubicBezTo>
                  <a:pt x="1591101" y="41420"/>
                  <a:pt x="1572302" y="41420"/>
                  <a:pt x="1553503" y="52716"/>
                </a:cubicBezTo>
                <a:cubicBezTo>
                  <a:pt x="1553503" y="52716"/>
                  <a:pt x="1553503" y="52716"/>
                  <a:pt x="1587341" y="56481"/>
                </a:cubicBezTo>
                <a:cubicBezTo>
                  <a:pt x="1579822" y="64012"/>
                  <a:pt x="1557263" y="64012"/>
                  <a:pt x="1542224" y="56481"/>
                </a:cubicBezTo>
                <a:cubicBezTo>
                  <a:pt x="1515906" y="56481"/>
                  <a:pt x="1549744" y="67777"/>
                  <a:pt x="1527185" y="71543"/>
                </a:cubicBezTo>
                <a:cubicBezTo>
                  <a:pt x="1527185" y="71543"/>
                  <a:pt x="1527185" y="71543"/>
                  <a:pt x="1478309" y="79073"/>
                </a:cubicBezTo>
                <a:cubicBezTo>
                  <a:pt x="1527185" y="90370"/>
                  <a:pt x="1609900" y="82839"/>
                  <a:pt x="1658776" y="90370"/>
                </a:cubicBezTo>
                <a:lnTo>
                  <a:pt x="1674865" y="90685"/>
                </a:lnTo>
                <a:lnTo>
                  <a:pt x="1658306" y="93664"/>
                </a:lnTo>
                <a:cubicBezTo>
                  <a:pt x="1646557" y="96959"/>
                  <a:pt x="1634338" y="101666"/>
                  <a:pt x="1621179" y="101666"/>
                </a:cubicBezTo>
                <a:cubicBezTo>
                  <a:pt x="1613659" y="109197"/>
                  <a:pt x="1598620" y="116727"/>
                  <a:pt x="1579822" y="128024"/>
                </a:cubicBezTo>
                <a:cubicBezTo>
                  <a:pt x="1579822" y="128024"/>
                  <a:pt x="1579822" y="128024"/>
                  <a:pt x="1576062" y="120493"/>
                </a:cubicBezTo>
                <a:cubicBezTo>
                  <a:pt x="1579822" y="112962"/>
                  <a:pt x="1598620" y="124258"/>
                  <a:pt x="1598620" y="112962"/>
                </a:cubicBezTo>
                <a:cubicBezTo>
                  <a:pt x="1598620" y="112962"/>
                  <a:pt x="1598620" y="112962"/>
                  <a:pt x="1587341" y="109197"/>
                </a:cubicBezTo>
                <a:cubicBezTo>
                  <a:pt x="1583581" y="112962"/>
                  <a:pt x="1572302" y="109197"/>
                  <a:pt x="1564783" y="109197"/>
                </a:cubicBezTo>
                <a:cubicBezTo>
                  <a:pt x="1564783" y="109197"/>
                  <a:pt x="1564783" y="109197"/>
                  <a:pt x="1553503" y="105431"/>
                </a:cubicBezTo>
                <a:cubicBezTo>
                  <a:pt x="1583581" y="101666"/>
                  <a:pt x="1609900" y="109197"/>
                  <a:pt x="1621179" y="94135"/>
                </a:cubicBezTo>
                <a:cubicBezTo>
                  <a:pt x="1564783" y="82839"/>
                  <a:pt x="1508387" y="94135"/>
                  <a:pt x="1448231" y="86604"/>
                </a:cubicBezTo>
                <a:cubicBezTo>
                  <a:pt x="1433192" y="82839"/>
                  <a:pt x="1425672" y="94135"/>
                  <a:pt x="1410633" y="97900"/>
                </a:cubicBezTo>
                <a:cubicBezTo>
                  <a:pt x="1410633" y="97900"/>
                  <a:pt x="1410633" y="97900"/>
                  <a:pt x="1444471" y="101666"/>
                </a:cubicBezTo>
                <a:cubicBezTo>
                  <a:pt x="1440711" y="109197"/>
                  <a:pt x="1384315" y="116727"/>
                  <a:pt x="1380555" y="131789"/>
                </a:cubicBezTo>
                <a:cubicBezTo>
                  <a:pt x="1373036" y="124258"/>
                  <a:pt x="1399354" y="120493"/>
                  <a:pt x="1380555" y="112962"/>
                </a:cubicBezTo>
                <a:cubicBezTo>
                  <a:pt x="1380555" y="120493"/>
                  <a:pt x="1350478" y="124258"/>
                  <a:pt x="1369276" y="131789"/>
                </a:cubicBezTo>
                <a:cubicBezTo>
                  <a:pt x="1365517" y="128024"/>
                  <a:pt x="1361757" y="131789"/>
                  <a:pt x="1357997" y="131789"/>
                </a:cubicBezTo>
                <a:cubicBezTo>
                  <a:pt x="1365517" y="146851"/>
                  <a:pt x="1361757" y="143085"/>
                  <a:pt x="1354237" y="146851"/>
                </a:cubicBezTo>
                <a:cubicBezTo>
                  <a:pt x="1357997" y="143085"/>
                  <a:pt x="1357997" y="143085"/>
                  <a:pt x="1350478" y="139320"/>
                </a:cubicBezTo>
                <a:cubicBezTo>
                  <a:pt x="1350478" y="139320"/>
                  <a:pt x="1350478" y="139320"/>
                  <a:pt x="1327919" y="161912"/>
                </a:cubicBezTo>
                <a:cubicBezTo>
                  <a:pt x="1365517" y="161912"/>
                  <a:pt x="1391835" y="184504"/>
                  <a:pt x="1436952" y="173208"/>
                </a:cubicBezTo>
                <a:cubicBezTo>
                  <a:pt x="1455750" y="173208"/>
                  <a:pt x="1451990" y="184504"/>
                  <a:pt x="1459510" y="192035"/>
                </a:cubicBezTo>
                <a:cubicBezTo>
                  <a:pt x="1440711" y="192035"/>
                  <a:pt x="1436952" y="199566"/>
                  <a:pt x="1421913" y="207097"/>
                </a:cubicBezTo>
                <a:cubicBezTo>
                  <a:pt x="1429432" y="210862"/>
                  <a:pt x="1440711" y="207097"/>
                  <a:pt x="1451990" y="207097"/>
                </a:cubicBezTo>
                <a:cubicBezTo>
                  <a:pt x="1451990" y="207097"/>
                  <a:pt x="1451990" y="207097"/>
                  <a:pt x="1451990" y="210862"/>
                </a:cubicBezTo>
                <a:cubicBezTo>
                  <a:pt x="1474549" y="214628"/>
                  <a:pt x="1485828" y="210862"/>
                  <a:pt x="1512146" y="210862"/>
                </a:cubicBezTo>
                <a:cubicBezTo>
                  <a:pt x="1512146" y="210862"/>
                  <a:pt x="1512146" y="210862"/>
                  <a:pt x="1512146" y="214628"/>
                </a:cubicBezTo>
                <a:cubicBezTo>
                  <a:pt x="1512146" y="214628"/>
                  <a:pt x="1512146" y="214628"/>
                  <a:pt x="1534705" y="214628"/>
                </a:cubicBezTo>
                <a:cubicBezTo>
                  <a:pt x="1534705" y="210862"/>
                  <a:pt x="1538464" y="210862"/>
                  <a:pt x="1538464" y="210862"/>
                </a:cubicBezTo>
                <a:cubicBezTo>
                  <a:pt x="1534705" y="214628"/>
                  <a:pt x="1530945" y="218393"/>
                  <a:pt x="1538464" y="218393"/>
                </a:cubicBezTo>
                <a:cubicBezTo>
                  <a:pt x="1530945" y="222158"/>
                  <a:pt x="1523426" y="222158"/>
                  <a:pt x="1515906" y="225924"/>
                </a:cubicBezTo>
                <a:cubicBezTo>
                  <a:pt x="1523426" y="229689"/>
                  <a:pt x="1538464" y="225924"/>
                  <a:pt x="1549744" y="229689"/>
                </a:cubicBezTo>
                <a:cubicBezTo>
                  <a:pt x="1549744" y="229689"/>
                  <a:pt x="1549744" y="233455"/>
                  <a:pt x="1542224" y="237220"/>
                </a:cubicBezTo>
                <a:cubicBezTo>
                  <a:pt x="1609900" y="252282"/>
                  <a:pt x="1651257" y="222158"/>
                  <a:pt x="1722692" y="225924"/>
                </a:cubicBezTo>
                <a:cubicBezTo>
                  <a:pt x="1730211" y="222158"/>
                  <a:pt x="1745250" y="214628"/>
                  <a:pt x="1764049" y="218393"/>
                </a:cubicBezTo>
                <a:cubicBezTo>
                  <a:pt x="1767809" y="225924"/>
                  <a:pt x="1790367" y="218393"/>
                  <a:pt x="1801646" y="218393"/>
                </a:cubicBezTo>
                <a:cubicBezTo>
                  <a:pt x="1801646" y="218393"/>
                  <a:pt x="1801646" y="218393"/>
                  <a:pt x="1809166" y="214628"/>
                </a:cubicBezTo>
                <a:cubicBezTo>
                  <a:pt x="1846763" y="225924"/>
                  <a:pt x="1899399" y="214628"/>
                  <a:pt x="1940757" y="214628"/>
                </a:cubicBezTo>
                <a:cubicBezTo>
                  <a:pt x="1985873" y="188270"/>
                  <a:pt x="2030990" y="225924"/>
                  <a:pt x="2083627" y="203331"/>
                </a:cubicBezTo>
                <a:cubicBezTo>
                  <a:pt x="2091146" y="207097"/>
                  <a:pt x="2109945" y="203331"/>
                  <a:pt x="2124984" y="203331"/>
                </a:cubicBezTo>
                <a:cubicBezTo>
                  <a:pt x="2124984" y="203331"/>
                  <a:pt x="2124984" y="203331"/>
                  <a:pt x="2128744" y="199566"/>
                </a:cubicBezTo>
                <a:cubicBezTo>
                  <a:pt x="2128744" y="199566"/>
                  <a:pt x="2128744" y="199566"/>
                  <a:pt x="2117464" y="195801"/>
                </a:cubicBezTo>
                <a:cubicBezTo>
                  <a:pt x="2124984" y="195801"/>
                  <a:pt x="2128744" y="195801"/>
                  <a:pt x="2128744" y="192035"/>
                </a:cubicBezTo>
                <a:cubicBezTo>
                  <a:pt x="2128744" y="192035"/>
                  <a:pt x="2128744" y="192035"/>
                  <a:pt x="2121224" y="188270"/>
                </a:cubicBezTo>
                <a:cubicBezTo>
                  <a:pt x="2143782" y="195801"/>
                  <a:pt x="2170101" y="176974"/>
                  <a:pt x="2192659" y="184504"/>
                </a:cubicBezTo>
                <a:cubicBezTo>
                  <a:pt x="2196419" y="188270"/>
                  <a:pt x="2185140" y="195801"/>
                  <a:pt x="2196419" y="199566"/>
                </a:cubicBezTo>
                <a:cubicBezTo>
                  <a:pt x="2203938" y="199566"/>
                  <a:pt x="2207698" y="199566"/>
                  <a:pt x="2215218" y="195801"/>
                </a:cubicBezTo>
                <a:cubicBezTo>
                  <a:pt x="2215218" y="195801"/>
                  <a:pt x="2215218" y="195801"/>
                  <a:pt x="2203938" y="188270"/>
                </a:cubicBezTo>
                <a:cubicBezTo>
                  <a:pt x="2218977" y="184504"/>
                  <a:pt x="2245295" y="192035"/>
                  <a:pt x="2271614" y="188270"/>
                </a:cubicBezTo>
                <a:cubicBezTo>
                  <a:pt x="2309211" y="188270"/>
                  <a:pt x="2354328" y="176974"/>
                  <a:pt x="2395685" y="184504"/>
                </a:cubicBezTo>
                <a:cubicBezTo>
                  <a:pt x="2391925" y="180739"/>
                  <a:pt x="2406964" y="169443"/>
                  <a:pt x="2422003" y="169443"/>
                </a:cubicBezTo>
                <a:cubicBezTo>
                  <a:pt x="2478399" y="176974"/>
                  <a:pt x="2534795" y="150616"/>
                  <a:pt x="2564873" y="180739"/>
                </a:cubicBezTo>
                <a:cubicBezTo>
                  <a:pt x="2628789" y="180739"/>
                  <a:pt x="2673906" y="184504"/>
                  <a:pt x="2737821" y="176974"/>
                </a:cubicBezTo>
                <a:cubicBezTo>
                  <a:pt x="2737821" y="176974"/>
                  <a:pt x="2737821" y="176974"/>
                  <a:pt x="2737821" y="169443"/>
                </a:cubicBezTo>
                <a:cubicBezTo>
                  <a:pt x="2756620" y="173208"/>
                  <a:pt x="2775419" y="173208"/>
                  <a:pt x="2794217" y="176974"/>
                </a:cubicBezTo>
                <a:cubicBezTo>
                  <a:pt x="2794217" y="176974"/>
                  <a:pt x="2794217" y="176974"/>
                  <a:pt x="2805496" y="169443"/>
                </a:cubicBezTo>
                <a:cubicBezTo>
                  <a:pt x="3076198" y="161912"/>
                  <a:pt x="3290503" y="158147"/>
                  <a:pt x="3568723" y="165678"/>
                </a:cubicBezTo>
                <a:cubicBezTo>
                  <a:pt x="3568723" y="165678"/>
                  <a:pt x="3568723" y="165678"/>
                  <a:pt x="3673996" y="158147"/>
                </a:cubicBezTo>
                <a:cubicBezTo>
                  <a:pt x="3673996" y="169443"/>
                  <a:pt x="3707834" y="158147"/>
                  <a:pt x="3719113" y="161912"/>
                </a:cubicBezTo>
                <a:cubicBezTo>
                  <a:pt x="3786788" y="154381"/>
                  <a:pt x="3828145" y="176974"/>
                  <a:pt x="3880782" y="150616"/>
                </a:cubicBezTo>
                <a:cubicBezTo>
                  <a:pt x="3880782" y="150616"/>
                  <a:pt x="3880782" y="150616"/>
                  <a:pt x="3869503" y="161912"/>
                </a:cubicBezTo>
                <a:cubicBezTo>
                  <a:pt x="3884541" y="169443"/>
                  <a:pt x="3914619" y="158147"/>
                  <a:pt x="3922139" y="169443"/>
                </a:cubicBezTo>
                <a:cubicBezTo>
                  <a:pt x="3959736" y="154381"/>
                  <a:pt x="4001093" y="169443"/>
                  <a:pt x="4046210" y="165678"/>
                </a:cubicBezTo>
                <a:cubicBezTo>
                  <a:pt x="4046210" y="165678"/>
                  <a:pt x="4046210" y="165678"/>
                  <a:pt x="4083807" y="165678"/>
                </a:cubicBezTo>
                <a:cubicBezTo>
                  <a:pt x="4083807" y="165678"/>
                  <a:pt x="4083807" y="165678"/>
                  <a:pt x="4083807" y="169443"/>
                </a:cubicBezTo>
                <a:cubicBezTo>
                  <a:pt x="4102606" y="176974"/>
                  <a:pt x="4162762" y="165678"/>
                  <a:pt x="4181561" y="173208"/>
                </a:cubicBezTo>
                <a:cubicBezTo>
                  <a:pt x="4211639" y="161912"/>
                  <a:pt x="4234197" y="184504"/>
                  <a:pt x="4264275" y="173208"/>
                </a:cubicBezTo>
                <a:cubicBezTo>
                  <a:pt x="4275554" y="184504"/>
                  <a:pt x="4298113" y="176974"/>
                  <a:pt x="4316911" y="184504"/>
                </a:cubicBezTo>
                <a:cubicBezTo>
                  <a:pt x="4350749" y="184504"/>
                  <a:pt x="4399626" y="195801"/>
                  <a:pt x="4440983" y="184504"/>
                </a:cubicBezTo>
                <a:cubicBezTo>
                  <a:pt x="4433463" y="184504"/>
                  <a:pt x="4433463" y="188270"/>
                  <a:pt x="4433463" y="192035"/>
                </a:cubicBezTo>
                <a:cubicBezTo>
                  <a:pt x="4467301" y="195801"/>
                  <a:pt x="4493619" y="192035"/>
                  <a:pt x="4512418" y="199566"/>
                </a:cubicBezTo>
                <a:cubicBezTo>
                  <a:pt x="4508658" y="214628"/>
                  <a:pt x="4534976" y="203331"/>
                  <a:pt x="4550015" y="203331"/>
                </a:cubicBezTo>
                <a:cubicBezTo>
                  <a:pt x="4550015" y="203331"/>
                  <a:pt x="4550015" y="203331"/>
                  <a:pt x="4557535" y="199566"/>
                </a:cubicBezTo>
                <a:cubicBezTo>
                  <a:pt x="4550015" y="210862"/>
                  <a:pt x="4595132" y="199566"/>
                  <a:pt x="4568814" y="207097"/>
                </a:cubicBezTo>
                <a:cubicBezTo>
                  <a:pt x="4583853" y="225924"/>
                  <a:pt x="4640249" y="210862"/>
                  <a:pt x="4644009" y="233455"/>
                </a:cubicBezTo>
                <a:cubicBezTo>
                  <a:pt x="4700405" y="218393"/>
                  <a:pt x="4722963" y="248516"/>
                  <a:pt x="4775599" y="237220"/>
                </a:cubicBezTo>
                <a:cubicBezTo>
                  <a:pt x="4794399" y="214628"/>
                  <a:pt x="4790639" y="214628"/>
                  <a:pt x="4828236" y="199566"/>
                </a:cubicBezTo>
                <a:cubicBezTo>
                  <a:pt x="4816957" y="192035"/>
                  <a:pt x="4771840" y="207097"/>
                  <a:pt x="4783119" y="188270"/>
                </a:cubicBezTo>
                <a:cubicBezTo>
                  <a:pt x="4801918" y="192035"/>
                  <a:pt x="4835755" y="173208"/>
                  <a:pt x="4828236" y="195801"/>
                </a:cubicBezTo>
                <a:cubicBezTo>
                  <a:pt x="4835755" y="188270"/>
                  <a:pt x="4854554" y="188270"/>
                  <a:pt x="4850795" y="180739"/>
                </a:cubicBezTo>
                <a:cubicBezTo>
                  <a:pt x="4824476" y="173208"/>
                  <a:pt x="4847035" y="143085"/>
                  <a:pt x="4794399" y="150616"/>
                </a:cubicBezTo>
                <a:cubicBezTo>
                  <a:pt x="4794399" y="150616"/>
                  <a:pt x="4794399" y="150616"/>
                  <a:pt x="4813197" y="143085"/>
                </a:cubicBezTo>
                <a:cubicBezTo>
                  <a:pt x="4805677" y="128024"/>
                  <a:pt x="4764321" y="139320"/>
                  <a:pt x="4738002" y="135554"/>
                </a:cubicBezTo>
                <a:cubicBezTo>
                  <a:pt x="4722963" y="146851"/>
                  <a:pt x="4696645" y="131789"/>
                  <a:pt x="4677847" y="139320"/>
                </a:cubicBezTo>
                <a:cubicBezTo>
                  <a:pt x="4689125" y="128024"/>
                  <a:pt x="4659047" y="124258"/>
                  <a:pt x="4644009" y="116727"/>
                </a:cubicBezTo>
                <a:cubicBezTo>
                  <a:pt x="4591373" y="128024"/>
                  <a:pt x="4565054" y="105431"/>
                  <a:pt x="4516177" y="109197"/>
                </a:cubicBezTo>
                <a:cubicBezTo>
                  <a:pt x="4508658" y="101666"/>
                  <a:pt x="4452262" y="112962"/>
                  <a:pt x="4444743" y="90370"/>
                </a:cubicBezTo>
                <a:cubicBezTo>
                  <a:pt x="4418425" y="90370"/>
                  <a:pt x="4403385" y="90370"/>
                  <a:pt x="4380827" y="82839"/>
                </a:cubicBezTo>
                <a:cubicBezTo>
                  <a:pt x="4380827" y="82839"/>
                  <a:pt x="4380827" y="82839"/>
                  <a:pt x="4365788" y="90370"/>
                </a:cubicBezTo>
                <a:cubicBezTo>
                  <a:pt x="4365788" y="90370"/>
                  <a:pt x="4362028" y="86604"/>
                  <a:pt x="4354509" y="86604"/>
                </a:cubicBezTo>
                <a:cubicBezTo>
                  <a:pt x="4346989" y="86604"/>
                  <a:pt x="4343229" y="79073"/>
                  <a:pt x="4331951" y="82839"/>
                </a:cubicBezTo>
                <a:cubicBezTo>
                  <a:pt x="4331951" y="82839"/>
                  <a:pt x="4331951" y="82839"/>
                  <a:pt x="4335710" y="67777"/>
                </a:cubicBezTo>
                <a:cubicBezTo>
                  <a:pt x="4380827" y="71543"/>
                  <a:pt x="4429703" y="75308"/>
                  <a:pt x="4474821" y="79073"/>
                </a:cubicBezTo>
                <a:cubicBezTo>
                  <a:pt x="4474821" y="101666"/>
                  <a:pt x="4531217" y="86604"/>
                  <a:pt x="4561295" y="90370"/>
                </a:cubicBezTo>
                <a:cubicBezTo>
                  <a:pt x="4602651" y="97900"/>
                  <a:pt x="4655288" y="82839"/>
                  <a:pt x="4681606" y="94135"/>
                </a:cubicBezTo>
                <a:cubicBezTo>
                  <a:pt x="4681606" y="94135"/>
                  <a:pt x="4681606" y="94135"/>
                  <a:pt x="4685366" y="97900"/>
                </a:cubicBezTo>
                <a:cubicBezTo>
                  <a:pt x="4719203" y="101666"/>
                  <a:pt x="4749281" y="120493"/>
                  <a:pt x="4801918" y="109197"/>
                </a:cubicBezTo>
                <a:cubicBezTo>
                  <a:pt x="4801918" y="109197"/>
                  <a:pt x="4801918" y="109197"/>
                  <a:pt x="4809437" y="112962"/>
                </a:cubicBezTo>
                <a:cubicBezTo>
                  <a:pt x="4809437" y="112962"/>
                  <a:pt x="4809437" y="112962"/>
                  <a:pt x="4824476" y="105431"/>
                </a:cubicBezTo>
                <a:cubicBezTo>
                  <a:pt x="4824476" y="105431"/>
                  <a:pt x="4824476" y="105431"/>
                  <a:pt x="4828236" y="109197"/>
                </a:cubicBezTo>
                <a:cubicBezTo>
                  <a:pt x="4824476" y="112962"/>
                  <a:pt x="4801918" y="116727"/>
                  <a:pt x="4805677" y="124258"/>
                </a:cubicBezTo>
                <a:cubicBezTo>
                  <a:pt x="4839515" y="128024"/>
                  <a:pt x="4865833" y="128024"/>
                  <a:pt x="4903431" y="124258"/>
                </a:cubicBezTo>
                <a:cubicBezTo>
                  <a:pt x="4888392" y="131789"/>
                  <a:pt x="4899671" y="150616"/>
                  <a:pt x="4925989" y="143085"/>
                </a:cubicBezTo>
                <a:cubicBezTo>
                  <a:pt x="4925989" y="143085"/>
                  <a:pt x="4925989" y="143085"/>
                  <a:pt x="4941028" y="143085"/>
                </a:cubicBezTo>
                <a:cubicBezTo>
                  <a:pt x="4971106" y="120493"/>
                  <a:pt x="4914710" y="128024"/>
                  <a:pt x="4922229" y="109197"/>
                </a:cubicBezTo>
                <a:cubicBezTo>
                  <a:pt x="4933509" y="105431"/>
                  <a:pt x="4948547" y="105431"/>
                  <a:pt x="4956067" y="97900"/>
                </a:cubicBezTo>
                <a:cubicBezTo>
                  <a:pt x="4956067" y="97900"/>
                  <a:pt x="4956067" y="97900"/>
                  <a:pt x="4959827" y="94135"/>
                </a:cubicBezTo>
                <a:cubicBezTo>
                  <a:pt x="4952307" y="86604"/>
                  <a:pt x="4937269" y="97900"/>
                  <a:pt x="4922229" y="97900"/>
                </a:cubicBezTo>
                <a:cubicBezTo>
                  <a:pt x="4922229" y="90370"/>
                  <a:pt x="4914710" y="86604"/>
                  <a:pt x="4903431" y="86604"/>
                </a:cubicBezTo>
                <a:cubicBezTo>
                  <a:pt x="4910950" y="82839"/>
                  <a:pt x="4922229" y="79073"/>
                  <a:pt x="4933509" y="75308"/>
                </a:cubicBezTo>
                <a:cubicBezTo>
                  <a:pt x="4937269" y="75308"/>
                  <a:pt x="4933509" y="71543"/>
                  <a:pt x="4929749" y="71543"/>
                </a:cubicBezTo>
                <a:cubicBezTo>
                  <a:pt x="4989905" y="67777"/>
                  <a:pt x="5004943" y="97900"/>
                  <a:pt x="5068859" y="79073"/>
                </a:cubicBezTo>
                <a:cubicBezTo>
                  <a:pt x="5068859" y="79073"/>
                  <a:pt x="5068859" y="79073"/>
                  <a:pt x="5061339" y="75308"/>
                </a:cubicBezTo>
                <a:cubicBezTo>
                  <a:pt x="5068859" y="75308"/>
                  <a:pt x="5117736" y="79073"/>
                  <a:pt x="5132775" y="75308"/>
                </a:cubicBezTo>
                <a:cubicBezTo>
                  <a:pt x="5132775" y="75308"/>
                  <a:pt x="5132775" y="75308"/>
                  <a:pt x="5136535" y="71543"/>
                </a:cubicBezTo>
                <a:cubicBezTo>
                  <a:pt x="5125255" y="67777"/>
                  <a:pt x="5102697" y="71543"/>
                  <a:pt x="5087658" y="71543"/>
                </a:cubicBezTo>
                <a:cubicBezTo>
                  <a:pt x="5125255" y="60247"/>
                  <a:pt x="5147813" y="60247"/>
                  <a:pt x="5189171" y="52716"/>
                </a:cubicBezTo>
                <a:cubicBezTo>
                  <a:pt x="5189171" y="52716"/>
                  <a:pt x="5189171" y="52716"/>
                  <a:pt x="5095177" y="101666"/>
                </a:cubicBezTo>
                <a:cubicBezTo>
                  <a:pt x="5129015" y="112962"/>
                  <a:pt x="5083898" y="120493"/>
                  <a:pt x="5065099" y="131789"/>
                </a:cubicBezTo>
                <a:cubicBezTo>
                  <a:pt x="5042541" y="150616"/>
                  <a:pt x="4997424" y="135554"/>
                  <a:pt x="4971106" y="161912"/>
                </a:cubicBezTo>
                <a:cubicBezTo>
                  <a:pt x="5001184" y="158147"/>
                  <a:pt x="5004943" y="158147"/>
                  <a:pt x="5035021" y="165678"/>
                </a:cubicBezTo>
                <a:cubicBezTo>
                  <a:pt x="5035021" y="165678"/>
                  <a:pt x="5035021" y="165678"/>
                  <a:pt x="5023743" y="184504"/>
                </a:cubicBezTo>
                <a:cubicBezTo>
                  <a:pt x="4971106" y="207097"/>
                  <a:pt x="4910950" y="237220"/>
                  <a:pt x="4869593" y="263578"/>
                </a:cubicBezTo>
                <a:cubicBezTo>
                  <a:pt x="4873353" y="267343"/>
                  <a:pt x="4880873" y="267343"/>
                  <a:pt x="4884632" y="267343"/>
                </a:cubicBezTo>
                <a:cubicBezTo>
                  <a:pt x="4843275" y="278639"/>
                  <a:pt x="4839515" y="304997"/>
                  <a:pt x="4798158" y="312528"/>
                </a:cubicBezTo>
                <a:cubicBezTo>
                  <a:pt x="4801918" y="316293"/>
                  <a:pt x="4801918" y="320059"/>
                  <a:pt x="4809437" y="316293"/>
                </a:cubicBezTo>
                <a:cubicBezTo>
                  <a:pt x="4813197" y="327589"/>
                  <a:pt x="4790639" y="320059"/>
                  <a:pt x="4783119" y="327589"/>
                </a:cubicBezTo>
                <a:cubicBezTo>
                  <a:pt x="4783119" y="320059"/>
                  <a:pt x="4798158" y="308762"/>
                  <a:pt x="4783119" y="304997"/>
                </a:cubicBezTo>
                <a:cubicBezTo>
                  <a:pt x="4760561" y="312528"/>
                  <a:pt x="4756801" y="327589"/>
                  <a:pt x="4760561" y="335120"/>
                </a:cubicBezTo>
                <a:cubicBezTo>
                  <a:pt x="4768080" y="346416"/>
                  <a:pt x="4783119" y="346416"/>
                  <a:pt x="4801918" y="342651"/>
                </a:cubicBezTo>
                <a:cubicBezTo>
                  <a:pt x="4798158" y="346416"/>
                  <a:pt x="4801918" y="346416"/>
                  <a:pt x="4801918" y="350182"/>
                </a:cubicBezTo>
                <a:cubicBezTo>
                  <a:pt x="4809437" y="350182"/>
                  <a:pt x="4816957" y="350182"/>
                  <a:pt x="4820717" y="346416"/>
                </a:cubicBezTo>
                <a:cubicBezTo>
                  <a:pt x="4820717" y="346416"/>
                  <a:pt x="4820717" y="346416"/>
                  <a:pt x="4816957" y="342651"/>
                </a:cubicBezTo>
                <a:cubicBezTo>
                  <a:pt x="4816957" y="342651"/>
                  <a:pt x="4816957" y="342651"/>
                  <a:pt x="4850795" y="342651"/>
                </a:cubicBezTo>
                <a:cubicBezTo>
                  <a:pt x="4862073" y="338886"/>
                  <a:pt x="4854554" y="335120"/>
                  <a:pt x="4850795" y="331355"/>
                </a:cubicBezTo>
                <a:cubicBezTo>
                  <a:pt x="4862073" y="327589"/>
                  <a:pt x="4892151" y="335120"/>
                  <a:pt x="4910950" y="323824"/>
                </a:cubicBezTo>
                <a:cubicBezTo>
                  <a:pt x="4877113" y="312528"/>
                  <a:pt x="4937269" y="304997"/>
                  <a:pt x="4918469" y="293701"/>
                </a:cubicBezTo>
                <a:cubicBezTo>
                  <a:pt x="4910950" y="293701"/>
                  <a:pt x="4937269" y="289935"/>
                  <a:pt x="4937269" y="278639"/>
                </a:cubicBezTo>
                <a:cubicBezTo>
                  <a:pt x="4937269" y="278639"/>
                  <a:pt x="4937269" y="278639"/>
                  <a:pt x="4941028" y="278639"/>
                </a:cubicBezTo>
                <a:cubicBezTo>
                  <a:pt x="4959827" y="263578"/>
                  <a:pt x="4989905" y="274874"/>
                  <a:pt x="4997424" y="256047"/>
                </a:cubicBezTo>
                <a:cubicBezTo>
                  <a:pt x="5050061" y="244751"/>
                  <a:pt x="4993665" y="271108"/>
                  <a:pt x="5042541" y="263578"/>
                </a:cubicBezTo>
                <a:cubicBezTo>
                  <a:pt x="5038781" y="271108"/>
                  <a:pt x="5027502" y="271108"/>
                  <a:pt x="5027502" y="278639"/>
                </a:cubicBezTo>
                <a:cubicBezTo>
                  <a:pt x="5027502" y="278639"/>
                  <a:pt x="5027502" y="278639"/>
                  <a:pt x="5061339" y="278639"/>
                </a:cubicBezTo>
                <a:cubicBezTo>
                  <a:pt x="5068859" y="301232"/>
                  <a:pt x="4986145" y="308762"/>
                  <a:pt x="5019983" y="323824"/>
                </a:cubicBezTo>
                <a:cubicBezTo>
                  <a:pt x="5019983" y="323824"/>
                  <a:pt x="5019983" y="323824"/>
                  <a:pt x="5012463" y="342651"/>
                </a:cubicBezTo>
                <a:cubicBezTo>
                  <a:pt x="4997424" y="346416"/>
                  <a:pt x="5004943" y="338886"/>
                  <a:pt x="5001184" y="335120"/>
                </a:cubicBezTo>
                <a:cubicBezTo>
                  <a:pt x="5001184" y="331355"/>
                  <a:pt x="5004943" y="327589"/>
                  <a:pt x="5001184" y="327589"/>
                </a:cubicBezTo>
                <a:cubicBezTo>
                  <a:pt x="4993665" y="327589"/>
                  <a:pt x="4982385" y="331355"/>
                  <a:pt x="4986145" y="335120"/>
                </a:cubicBezTo>
                <a:cubicBezTo>
                  <a:pt x="4986145" y="335120"/>
                  <a:pt x="4986145" y="335120"/>
                  <a:pt x="4978625" y="335120"/>
                </a:cubicBezTo>
                <a:cubicBezTo>
                  <a:pt x="4978625" y="335120"/>
                  <a:pt x="4978625" y="335120"/>
                  <a:pt x="4993665" y="301232"/>
                </a:cubicBezTo>
                <a:cubicBezTo>
                  <a:pt x="5001184" y="304997"/>
                  <a:pt x="5008703" y="301232"/>
                  <a:pt x="5008703" y="297466"/>
                </a:cubicBezTo>
                <a:cubicBezTo>
                  <a:pt x="5008703" y="297466"/>
                  <a:pt x="5008703" y="297466"/>
                  <a:pt x="5012463" y="286170"/>
                </a:cubicBezTo>
                <a:cubicBezTo>
                  <a:pt x="5019983" y="286170"/>
                  <a:pt x="5019983" y="286170"/>
                  <a:pt x="5027502" y="282405"/>
                </a:cubicBezTo>
                <a:cubicBezTo>
                  <a:pt x="5023743" y="271108"/>
                  <a:pt x="4989905" y="274874"/>
                  <a:pt x="4982385" y="286170"/>
                </a:cubicBezTo>
                <a:cubicBezTo>
                  <a:pt x="4963587" y="308762"/>
                  <a:pt x="4925989" y="335120"/>
                  <a:pt x="4888392" y="353947"/>
                </a:cubicBezTo>
                <a:cubicBezTo>
                  <a:pt x="4888392" y="353947"/>
                  <a:pt x="4888392" y="353947"/>
                  <a:pt x="4884632" y="365243"/>
                </a:cubicBezTo>
                <a:cubicBezTo>
                  <a:pt x="4877113" y="365243"/>
                  <a:pt x="4873353" y="365243"/>
                  <a:pt x="4869593" y="369009"/>
                </a:cubicBezTo>
                <a:cubicBezTo>
                  <a:pt x="4865833" y="376539"/>
                  <a:pt x="4880873" y="372774"/>
                  <a:pt x="4880873" y="380305"/>
                </a:cubicBezTo>
                <a:cubicBezTo>
                  <a:pt x="4877113" y="384070"/>
                  <a:pt x="4865833" y="384070"/>
                  <a:pt x="4865833" y="387836"/>
                </a:cubicBezTo>
                <a:cubicBezTo>
                  <a:pt x="4880873" y="395366"/>
                  <a:pt x="4888392" y="380305"/>
                  <a:pt x="4903431" y="391601"/>
                </a:cubicBezTo>
                <a:cubicBezTo>
                  <a:pt x="4910950" y="391601"/>
                  <a:pt x="4918469" y="387836"/>
                  <a:pt x="4929749" y="384070"/>
                </a:cubicBezTo>
                <a:cubicBezTo>
                  <a:pt x="4925989" y="387836"/>
                  <a:pt x="4925989" y="391601"/>
                  <a:pt x="4918469" y="395366"/>
                </a:cubicBezTo>
                <a:cubicBezTo>
                  <a:pt x="4918469" y="395366"/>
                  <a:pt x="4918469" y="395366"/>
                  <a:pt x="4925989" y="399132"/>
                </a:cubicBezTo>
                <a:cubicBezTo>
                  <a:pt x="4925989" y="399132"/>
                  <a:pt x="4925989" y="399132"/>
                  <a:pt x="4971106" y="380305"/>
                </a:cubicBezTo>
                <a:cubicBezTo>
                  <a:pt x="4982385" y="395366"/>
                  <a:pt x="4941028" y="421724"/>
                  <a:pt x="4967347" y="429255"/>
                </a:cubicBezTo>
                <a:cubicBezTo>
                  <a:pt x="4989905" y="414193"/>
                  <a:pt x="4982385" y="406663"/>
                  <a:pt x="5001184" y="391601"/>
                </a:cubicBezTo>
                <a:cubicBezTo>
                  <a:pt x="5001184" y="391601"/>
                  <a:pt x="5001184" y="391601"/>
                  <a:pt x="5012463" y="391601"/>
                </a:cubicBezTo>
                <a:cubicBezTo>
                  <a:pt x="4989905" y="414193"/>
                  <a:pt x="4974865" y="448082"/>
                  <a:pt x="4974865" y="466909"/>
                </a:cubicBezTo>
                <a:cubicBezTo>
                  <a:pt x="4974865" y="466909"/>
                  <a:pt x="4974865" y="466909"/>
                  <a:pt x="4971106" y="466909"/>
                </a:cubicBezTo>
                <a:cubicBezTo>
                  <a:pt x="4971106" y="466909"/>
                  <a:pt x="4971106" y="466909"/>
                  <a:pt x="4963587" y="470674"/>
                </a:cubicBezTo>
                <a:cubicBezTo>
                  <a:pt x="4959827" y="466909"/>
                  <a:pt x="4956067" y="470674"/>
                  <a:pt x="4952307" y="470674"/>
                </a:cubicBezTo>
                <a:cubicBezTo>
                  <a:pt x="4944788" y="470674"/>
                  <a:pt x="4937269" y="474440"/>
                  <a:pt x="4929749" y="474440"/>
                </a:cubicBezTo>
                <a:cubicBezTo>
                  <a:pt x="4952307" y="470674"/>
                  <a:pt x="4952307" y="470674"/>
                  <a:pt x="4952307" y="470674"/>
                </a:cubicBezTo>
                <a:cubicBezTo>
                  <a:pt x="4952307" y="470674"/>
                  <a:pt x="4952307" y="470674"/>
                  <a:pt x="4963587" y="470674"/>
                </a:cubicBezTo>
                <a:cubicBezTo>
                  <a:pt x="4963587" y="470674"/>
                  <a:pt x="4963587" y="470674"/>
                  <a:pt x="4967347" y="470674"/>
                </a:cubicBezTo>
                <a:cubicBezTo>
                  <a:pt x="4967347" y="470674"/>
                  <a:pt x="4967347" y="470674"/>
                  <a:pt x="4944788" y="481970"/>
                </a:cubicBezTo>
                <a:cubicBezTo>
                  <a:pt x="4944788" y="485736"/>
                  <a:pt x="4952307" y="485736"/>
                  <a:pt x="4959827" y="485736"/>
                </a:cubicBezTo>
                <a:cubicBezTo>
                  <a:pt x="4959827" y="485736"/>
                  <a:pt x="4959827" y="485736"/>
                  <a:pt x="4974865" y="474440"/>
                </a:cubicBezTo>
                <a:cubicBezTo>
                  <a:pt x="4974865" y="474440"/>
                  <a:pt x="4974865" y="474440"/>
                  <a:pt x="4978625" y="478205"/>
                </a:cubicBezTo>
                <a:cubicBezTo>
                  <a:pt x="4997424" y="470674"/>
                  <a:pt x="4974865" y="463144"/>
                  <a:pt x="4993665" y="455613"/>
                </a:cubicBezTo>
                <a:cubicBezTo>
                  <a:pt x="4993665" y="455613"/>
                  <a:pt x="4993665" y="455613"/>
                  <a:pt x="5004943" y="455613"/>
                </a:cubicBezTo>
                <a:cubicBezTo>
                  <a:pt x="5001184" y="474440"/>
                  <a:pt x="4997424" y="493267"/>
                  <a:pt x="5019983" y="497032"/>
                </a:cubicBezTo>
                <a:cubicBezTo>
                  <a:pt x="5042541" y="489501"/>
                  <a:pt x="5038781" y="478205"/>
                  <a:pt x="5046301" y="466909"/>
                </a:cubicBezTo>
                <a:cubicBezTo>
                  <a:pt x="5038781" y="463144"/>
                  <a:pt x="5038781" y="459378"/>
                  <a:pt x="5042541" y="451847"/>
                </a:cubicBezTo>
                <a:cubicBezTo>
                  <a:pt x="5053821" y="451847"/>
                  <a:pt x="5061339" y="455613"/>
                  <a:pt x="5065099" y="448082"/>
                </a:cubicBezTo>
                <a:cubicBezTo>
                  <a:pt x="5065099" y="448082"/>
                  <a:pt x="5065099" y="448082"/>
                  <a:pt x="5065099" y="474440"/>
                </a:cubicBezTo>
                <a:cubicBezTo>
                  <a:pt x="5065099" y="474440"/>
                  <a:pt x="5065099" y="474440"/>
                  <a:pt x="5080139" y="470674"/>
                </a:cubicBezTo>
                <a:cubicBezTo>
                  <a:pt x="5087658" y="478205"/>
                  <a:pt x="5091417" y="489501"/>
                  <a:pt x="5095177" y="497032"/>
                </a:cubicBezTo>
                <a:cubicBezTo>
                  <a:pt x="5087658" y="493267"/>
                  <a:pt x="5080139" y="493267"/>
                  <a:pt x="5072619" y="500797"/>
                </a:cubicBezTo>
                <a:cubicBezTo>
                  <a:pt x="5072619" y="500797"/>
                  <a:pt x="5072619" y="500797"/>
                  <a:pt x="5053821" y="493267"/>
                </a:cubicBezTo>
                <a:cubicBezTo>
                  <a:pt x="5042541" y="497032"/>
                  <a:pt x="5027502" y="497032"/>
                  <a:pt x="5019983" y="504563"/>
                </a:cubicBezTo>
                <a:cubicBezTo>
                  <a:pt x="5019983" y="504563"/>
                  <a:pt x="5019983" y="504563"/>
                  <a:pt x="5038781" y="504563"/>
                </a:cubicBezTo>
                <a:cubicBezTo>
                  <a:pt x="5038781" y="504563"/>
                  <a:pt x="5038781" y="504563"/>
                  <a:pt x="5035021" y="508328"/>
                </a:cubicBezTo>
                <a:cubicBezTo>
                  <a:pt x="5068859" y="504563"/>
                  <a:pt x="5083898" y="512094"/>
                  <a:pt x="5102697" y="508328"/>
                </a:cubicBezTo>
                <a:cubicBezTo>
                  <a:pt x="5106457" y="512094"/>
                  <a:pt x="5106457" y="512094"/>
                  <a:pt x="5110217" y="512094"/>
                </a:cubicBezTo>
                <a:cubicBezTo>
                  <a:pt x="5113976" y="512094"/>
                  <a:pt x="5113976" y="508328"/>
                  <a:pt x="5113976" y="508328"/>
                </a:cubicBezTo>
                <a:cubicBezTo>
                  <a:pt x="5117736" y="504563"/>
                  <a:pt x="5121495" y="504563"/>
                  <a:pt x="5125255" y="504563"/>
                </a:cubicBezTo>
                <a:cubicBezTo>
                  <a:pt x="5125255" y="500797"/>
                  <a:pt x="5121495" y="504563"/>
                  <a:pt x="5113976" y="504563"/>
                </a:cubicBezTo>
                <a:cubicBezTo>
                  <a:pt x="5113976" y="497032"/>
                  <a:pt x="5110217" y="493267"/>
                  <a:pt x="5117736" y="485736"/>
                </a:cubicBezTo>
                <a:cubicBezTo>
                  <a:pt x="5106457" y="474440"/>
                  <a:pt x="5098937" y="463144"/>
                  <a:pt x="5113976" y="444317"/>
                </a:cubicBezTo>
                <a:cubicBezTo>
                  <a:pt x="5140295" y="455613"/>
                  <a:pt x="5106457" y="497032"/>
                  <a:pt x="5159093" y="489501"/>
                </a:cubicBezTo>
                <a:cubicBezTo>
                  <a:pt x="5159093" y="489501"/>
                  <a:pt x="5159093" y="489501"/>
                  <a:pt x="5162853" y="485736"/>
                </a:cubicBezTo>
                <a:cubicBezTo>
                  <a:pt x="5162853" y="485736"/>
                  <a:pt x="5166613" y="489501"/>
                  <a:pt x="5170372" y="489501"/>
                </a:cubicBezTo>
                <a:cubicBezTo>
                  <a:pt x="5177891" y="497032"/>
                  <a:pt x="5181651" y="508328"/>
                  <a:pt x="5170372" y="519624"/>
                </a:cubicBezTo>
                <a:cubicBezTo>
                  <a:pt x="5170372" y="519624"/>
                  <a:pt x="5170372" y="519624"/>
                  <a:pt x="5162853" y="508328"/>
                </a:cubicBezTo>
                <a:cubicBezTo>
                  <a:pt x="5155333" y="519624"/>
                  <a:pt x="5132775" y="534686"/>
                  <a:pt x="5144054" y="549748"/>
                </a:cubicBezTo>
                <a:cubicBezTo>
                  <a:pt x="5136535" y="545982"/>
                  <a:pt x="5121495" y="557278"/>
                  <a:pt x="5110217" y="564809"/>
                </a:cubicBezTo>
                <a:cubicBezTo>
                  <a:pt x="5113976" y="579870"/>
                  <a:pt x="5113976" y="594932"/>
                  <a:pt x="5129015" y="606228"/>
                </a:cubicBezTo>
                <a:cubicBezTo>
                  <a:pt x="5129015" y="606228"/>
                  <a:pt x="5129015" y="606228"/>
                  <a:pt x="5159093" y="591167"/>
                </a:cubicBezTo>
                <a:cubicBezTo>
                  <a:pt x="5174132" y="602463"/>
                  <a:pt x="5129015" y="606228"/>
                  <a:pt x="5129015" y="617524"/>
                </a:cubicBezTo>
                <a:cubicBezTo>
                  <a:pt x="5129015" y="640117"/>
                  <a:pt x="5147813" y="662709"/>
                  <a:pt x="5136535" y="681536"/>
                </a:cubicBezTo>
                <a:cubicBezTo>
                  <a:pt x="5151573" y="685301"/>
                  <a:pt x="5147813" y="689067"/>
                  <a:pt x="5159093" y="692832"/>
                </a:cubicBezTo>
                <a:cubicBezTo>
                  <a:pt x="5159093" y="692832"/>
                  <a:pt x="5159093" y="692832"/>
                  <a:pt x="5207969" y="670240"/>
                </a:cubicBezTo>
                <a:cubicBezTo>
                  <a:pt x="5207969" y="670240"/>
                  <a:pt x="5207969" y="670240"/>
                  <a:pt x="5215489" y="674005"/>
                </a:cubicBezTo>
                <a:cubicBezTo>
                  <a:pt x="5215489" y="674005"/>
                  <a:pt x="5215489" y="674005"/>
                  <a:pt x="5223009" y="670240"/>
                </a:cubicBezTo>
                <a:cubicBezTo>
                  <a:pt x="5223009" y="681536"/>
                  <a:pt x="5230528" y="692832"/>
                  <a:pt x="5226769" y="704128"/>
                </a:cubicBezTo>
                <a:cubicBezTo>
                  <a:pt x="5200450" y="722955"/>
                  <a:pt x="5162853" y="730486"/>
                  <a:pt x="5129015" y="745548"/>
                </a:cubicBezTo>
                <a:cubicBezTo>
                  <a:pt x="5129015" y="745548"/>
                  <a:pt x="5129015" y="745548"/>
                  <a:pt x="5113976" y="745548"/>
                </a:cubicBezTo>
                <a:cubicBezTo>
                  <a:pt x="5113976" y="745548"/>
                  <a:pt x="5113976" y="745548"/>
                  <a:pt x="5117736" y="741782"/>
                </a:cubicBezTo>
                <a:cubicBezTo>
                  <a:pt x="5117736" y="734252"/>
                  <a:pt x="5102697" y="741782"/>
                  <a:pt x="5095177" y="741782"/>
                </a:cubicBezTo>
                <a:cubicBezTo>
                  <a:pt x="5095177" y="741782"/>
                  <a:pt x="5095177" y="741782"/>
                  <a:pt x="5038781" y="749313"/>
                </a:cubicBezTo>
                <a:cubicBezTo>
                  <a:pt x="5061339" y="756844"/>
                  <a:pt x="5102697" y="753079"/>
                  <a:pt x="5117736" y="756844"/>
                </a:cubicBezTo>
                <a:cubicBezTo>
                  <a:pt x="5087658" y="771905"/>
                  <a:pt x="5046301" y="756844"/>
                  <a:pt x="5016223" y="775671"/>
                </a:cubicBezTo>
                <a:cubicBezTo>
                  <a:pt x="5008703" y="760609"/>
                  <a:pt x="4959827" y="771905"/>
                  <a:pt x="4933509" y="768140"/>
                </a:cubicBezTo>
                <a:cubicBezTo>
                  <a:pt x="4918469" y="775671"/>
                  <a:pt x="4910950" y="786967"/>
                  <a:pt x="4892151" y="790732"/>
                </a:cubicBezTo>
                <a:cubicBezTo>
                  <a:pt x="4892151" y="790732"/>
                  <a:pt x="4892151" y="790732"/>
                  <a:pt x="4888392" y="786967"/>
                </a:cubicBezTo>
                <a:cubicBezTo>
                  <a:pt x="4873353" y="790732"/>
                  <a:pt x="4862073" y="805794"/>
                  <a:pt x="4869593" y="809559"/>
                </a:cubicBezTo>
                <a:cubicBezTo>
                  <a:pt x="4869593" y="809559"/>
                  <a:pt x="4869593" y="809559"/>
                  <a:pt x="4873353" y="813325"/>
                </a:cubicBezTo>
                <a:cubicBezTo>
                  <a:pt x="4858314" y="813325"/>
                  <a:pt x="4839515" y="813325"/>
                  <a:pt x="4831995" y="805794"/>
                </a:cubicBezTo>
                <a:cubicBezTo>
                  <a:pt x="4809437" y="809559"/>
                  <a:pt x="4786879" y="813325"/>
                  <a:pt x="4771840" y="820856"/>
                </a:cubicBezTo>
                <a:lnTo>
                  <a:pt x="4764275" y="817267"/>
                </a:lnTo>
                <a:lnTo>
                  <a:pt x="4765000" y="823531"/>
                </a:lnTo>
                <a:cubicBezTo>
                  <a:pt x="4766410" y="834357"/>
                  <a:pt x="4771109" y="842828"/>
                  <a:pt x="4797427" y="839063"/>
                </a:cubicBezTo>
                <a:cubicBezTo>
                  <a:pt x="4797427" y="839063"/>
                  <a:pt x="4797427" y="839063"/>
                  <a:pt x="4801187" y="835298"/>
                </a:cubicBezTo>
                <a:cubicBezTo>
                  <a:pt x="4801187" y="835298"/>
                  <a:pt x="4804947" y="839063"/>
                  <a:pt x="4808706" y="839063"/>
                </a:cubicBezTo>
                <a:cubicBezTo>
                  <a:pt x="4816225" y="846594"/>
                  <a:pt x="4819985" y="857890"/>
                  <a:pt x="4808706" y="869186"/>
                </a:cubicBezTo>
                <a:cubicBezTo>
                  <a:pt x="4808706" y="869186"/>
                  <a:pt x="4808706" y="869186"/>
                  <a:pt x="4801187" y="857890"/>
                </a:cubicBezTo>
                <a:cubicBezTo>
                  <a:pt x="4793667" y="869186"/>
                  <a:pt x="4771109" y="884248"/>
                  <a:pt x="4782388" y="899309"/>
                </a:cubicBezTo>
                <a:cubicBezTo>
                  <a:pt x="4774869" y="895544"/>
                  <a:pt x="4759829" y="906840"/>
                  <a:pt x="4748551" y="914371"/>
                </a:cubicBezTo>
                <a:cubicBezTo>
                  <a:pt x="4752310" y="929432"/>
                  <a:pt x="4752310" y="944494"/>
                  <a:pt x="4767349" y="955790"/>
                </a:cubicBezTo>
                <a:cubicBezTo>
                  <a:pt x="4767349" y="955790"/>
                  <a:pt x="4767349" y="955790"/>
                  <a:pt x="4797427" y="940729"/>
                </a:cubicBezTo>
                <a:cubicBezTo>
                  <a:pt x="4812466" y="952025"/>
                  <a:pt x="4767349" y="955790"/>
                  <a:pt x="4767349" y="967086"/>
                </a:cubicBezTo>
                <a:cubicBezTo>
                  <a:pt x="4767349" y="989679"/>
                  <a:pt x="4786147" y="1012271"/>
                  <a:pt x="4774869" y="1031098"/>
                </a:cubicBezTo>
                <a:cubicBezTo>
                  <a:pt x="4789907" y="1034863"/>
                  <a:pt x="4786147" y="1038629"/>
                  <a:pt x="4797427" y="1042394"/>
                </a:cubicBezTo>
                <a:cubicBezTo>
                  <a:pt x="4797427" y="1042394"/>
                  <a:pt x="4797427" y="1042394"/>
                  <a:pt x="4846303" y="1019802"/>
                </a:cubicBezTo>
                <a:cubicBezTo>
                  <a:pt x="4846303" y="1019802"/>
                  <a:pt x="4846303" y="1019802"/>
                  <a:pt x="4853823" y="1023567"/>
                </a:cubicBezTo>
                <a:cubicBezTo>
                  <a:pt x="4853823" y="1023567"/>
                  <a:pt x="4853823" y="1023567"/>
                  <a:pt x="4861343" y="1019802"/>
                </a:cubicBezTo>
                <a:cubicBezTo>
                  <a:pt x="4861343" y="1031098"/>
                  <a:pt x="4868862" y="1042394"/>
                  <a:pt x="4865103" y="1053690"/>
                </a:cubicBezTo>
                <a:cubicBezTo>
                  <a:pt x="4838784" y="1072517"/>
                  <a:pt x="4801187" y="1080048"/>
                  <a:pt x="4767349" y="1095110"/>
                </a:cubicBezTo>
                <a:cubicBezTo>
                  <a:pt x="4767349" y="1095110"/>
                  <a:pt x="4767349" y="1095110"/>
                  <a:pt x="4752310" y="1095110"/>
                </a:cubicBezTo>
                <a:cubicBezTo>
                  <a:pt x="4752310" y="1095110"/>
                  <a:pt x="4752310" y="1095110"/>
                  <a:pt x="4756070" y="1091344"/>
                </a:cubicBezTo>
                <a:cubicBezTo>
                  <a:pt x="4756070" y="1083814"/>
                  <a:pt x="4741031" y="1091344"/>
                  <a:pt x="4733511" y="1091344"/>
                </a:cubicBezTo>
                <a:cubicBezTo>
                  <a:pt x="4733511" y="1091344"/>
                  <a:pt x="4733511" y="1091344"/>
                  <a:pt x="4677115" y="1098875"/>
                </a:cubicBezTo>
                <a:cubicBezTo>
                  <a:pt x="4699673" y="1106406"/>
                  <a:pt x="4741031" y="1102641"/>
                  <a:pt x="4756070" y="1106406"/>
                </a:cubicBezTo>
                <a:cubicBezTo>
                  <a:pt x="4725992" y="1121467"/>
                  <a:pt x="4684635" y="1106406"/>
                  <a:pt x="4654557" y="1125233"/>
                </a:cubicBezTo>
                <a:cubicBezTo>
                  <a:pt x="4647037" y="1110171"/>
                  <a:pt x="4598161" y="1121467"/>
                  <a:pt x="4571843" y="1117702"/>
                </a:cubicBezTo>
                <a:cubicBezTo>
                  <a:pt x="4556803" y="1125233"/>
                  <a:pt x="4549284" y="1136529"/>
                  <a:pt x="4530485" y="1140294"/>
                </a:cubicBezTo>
                <a:cubicBezTo>
                  <a:pt x="4530485" y="1140294"/>
                  <a:pt x="4530485" y="1140294"/>
                  <a:pt x="4526726" y="1136529"/>
                </a:cubicBezTo>
                <a:cubicBezTo>
                  <a:pt x="4511687" y="1140294"/>
                  <a:pt x="4500407" y="1155356"/>
                  <a:pt x="4507927" y="1159121"/>
                </a:cubicBezTo>
                <a:cubicBezTo>
                  <a:pt x="4507927" y="1159121"/>
                  <a:pt x="4507927" y="1159121"/>
                  <a:pt x="4511687" y="1162887"/>
                </a:cubicBezTo>
                <a:cubicBezTo>
                  <a:pt x="4496648" y="1162887"/>
                  <a:pt x="4477849" y="1162887"/>
                  <a:pt x="4470329" y="1155356"/>
                </a:cubicBezTo>
                <a:cubicBezTo>
                  <a:pt x="4447771" y="1159121"/>
                  <a:pt x="4425213" y="1162887"/>
                  <a:pt x="4410174" y="1170418"/>
                </a:cubicBezTo>
                <a:cubicBezTo>
                  <a:pt x="4413933" y="1166652"/>
                  <a:pt x="4383855" y="1166652"/>
                  <a:pt x="4406414" y="1159121"/>
                </a:cubicBezTo>
                <a:cubicBezTo>
                  <a:pt x="4383855" y="1162887"/>
                  <a:pt x="4365057" y="1136529"/>
                  <a:pt x="4342499" y="1159121"/>
                </a:cubicBezTo>
                <a:cubicBezTo>
                  <a:pt x="4342499" y="1159121"/>
                  <a:pt x="4342499" y="1159121"/>
                  <a:pt x="4350018" y="1166652"/>
                </a:cubicBezTo>
                <a:cubicBezTo>
                  <a:pt x="4319940" y="1170418"/>
                  <a:pt x="4289862" y="1140294"/>
                  <a:pt x="4282343" y="1170418"/>
                </a:cubicBezTo>
                <a:cubicBezTo>
                  <a:pt x="4286103" y="1174183"/>
                  <a:pt x="4293622" y="1174183"/>
                  <a:pt x="4297381" y="1177948"/>
                </a:cubicBezTo>
                <a:cubicBezTo>
                  <a:pt x="4271063" y="1193010"/>
                  <a:pt x="4263544" y="1166652"/>
                  <a:pt x="4229707" y="1177948"/>
                </a:cubicBezTo>
                <a:cubicBezTo>
                  <a:pt x="4203388" y="1185479"/>
                  <a:pt x="4177070" y="1200541"/>
                  <a:pt x="4146992" y="1200541"/>
                </a:cubicBezTo>
                <a:cubicBezTo>
                  <a:pt x="4109395" y="1208071"/>
                  <a:pt x="4079317" y="1208071"/>
                  <a:pt x="4041719" y="1215602"/>
                </a:cubicBezTo>
                <a:cubicBezTo>
                  <a:pt x="3913888" y="1238195"/>
                  <a:pt x="3782297" y="1245725"/>
                  <a:pt x="3665745" y="1249491"/>
                </a:cubicBezTo>
                <a:cubicBezTo>
                  <a:pt x="3669505" y="1249491"/>
                  <a:pt x="3669505" y="1249491"/>
                  <a:pt x="3673265" y="1245725"/>
                </a:cubicBezTo>
                <a:cubicBezTo>
                  <a:pt x="3583031" y="1219368"/>
                  <a:pt x="3447681" y="1260787"/>
                  <a:pt x="3349927" y="1257022"/>
                </a:cubicBezTo>
                <a:cubicBezTo>
                  <a:pt x="3402564" y="1253256"/>
                  <a:pt x="3447681" y="1245725"/>
                  <a:pt x="3500317" y="1234429"/>
                </a:cubicBezTo>
                <a:cubicBezTo>
                  <a:pt x="3417603" y="1226898"/>
                  <a:pt x="3327369" y="1238195"/>
                  <a:pt x="3244655" y="1241960"/>
                </a:cubicBezTo>
                <a:cubicBezTo>
                  <a:pt x="3267213" y="1230664"/>
                  <a:pt x="3297291" y="1234429"/>
                  <a:pt x="3316090" y="1226898"/>
                </a:cubicBezTo>
                <a:cubicBezTo>
                  <a:pt x="3316090" y="1226898"/>
                  <a:pt x="3316090" y="1226898"/>
                  <a:pt x="3327369" y="1234429"/>
                </a:cubicBezTo>
                <a:cubicBezTo>
                  <a:pt x="3353687" y="1230664"/>
                  <a:pt x="3380005" y="1211837"/>
                  <a:pt x="3410083" y="1215602"/>
                </a:cubicBezTo>
                <a:cubicBezTo>
                  <a:pt x="3410083" y="1215602"/>
                  <a:pt x="3410083" y="1215602"/>
                  <a:pt x="3410083" y="1208071"/>
                </a:cubicBezTo>
                <a:cubicBezTo>
                  <a:pt x="3598070" y="1193010"/>
                  <a:pt x="3804856" y="1185479"/>
                  <a:pt x="3996603" y="1147825"/>
                </a:cubicBezTo>
                <a:cubicBezTo>
                  <a:pt x="4015401" y="1144060"/>
                  <a:pt x="4045479" y="1151591"/>
                  <a:pt x="4056759" y="1136529"/>
                </a:cubicBezTo>
                <a:cubicBezTo>
                  <a:pt x="4056759" y="1136529"/>
                  <a:pt x="4056759" y="1136529"/>
                  <a:pt x="4037960" y="1132764"/>
                </a:cubicBezTo>
                <a:cubicBezTo>
                  <a:pt x="4045479" y="1125233"/>
                  <a:pt x="4060518" y="1128998"/>
                  <a:pt x="4064278" y="1132764"/>
                </a:cubicBezTo>
                <a:cubicBezTo>
                  <a:pt x="4064278" y="1132764"/>
                  <a:pt x="4064278" y="1132764"/>
                  <a:pt x="4068037" y="1132764"/>
                </a:cubicBezTo>
                <a:cubicBezTo>
                  <a:pt x="4075557" y="1121467"/>
                  <a:pt x="4094356" y="1136529"/>
                  <a:pt x="4105635" y="1121467"/>
                </a:cubicBezTo>
                <a:cubicBezTo>
                  <a:pt x="4101875" y="1110171"/>
                  <a:pt x="4079317" y="1121467"/>
                  <a:pt x="4064278" y="1121467"/>
                </a:cubicBezTo>
                <a:cubicBezTo>
                  <a:pt x="4049239" y="1117702"/>
                  <a:pt x="4022921" y="1106406"/>
                  <a:pt x="3985323" y="1121467"/>
                </a:cubicBezTo>
                <a:cubicBezTo>
                  <a:pt x="3868771" y="1106406"/>
                  <a:pt x="3748460" y="1147825"/>
                  <a:pt x="3631908" y="1132764"/>
                </a:cubicBezTo>
                <a:cubicBezTo>
                  <a:pt x="3594311" y="1117702"/>
                  <a:pt x="3526635" y="1140294"/>
                  <a:pt x="3470239" y="1140294"/>
                </a:cubicBezTo>
                <a:cubicBezTo>
                  <a:pt x="3308570" y="1159121"/>
                  <a:pt x="3146901" y="1147825"/>
                  <a:pt x="2981473" y="1170418"/>
                </a:cubicBezTo>
                <a:cubicBezTo>
                  <a:pt x="2913798" y="1159121"/>
                  <a:pt x="2846123" y="1181714"/>
                  <a:pt x="2789726" y="1166652"/>
                </a:cubicBezTo>
                <a:cubicBezTo>
                  <a:pt x="2691973" y="1159121"/>
                  <a:pt x="2601740" y="1174183"/>
                  <a:pt x="2519025" y="1159121"/>
                </a:cubicBezTo>
                <a:cubicBezTo>
                  <a:pt x="2519025" y="1159121"/>
                  <a:pt x="2519025" y="1159121"/>
                  <a:pt x="2511506" y="1162887"/>
                </a:cubicBezTo>
                <a:cubicBezTo>
                  <a:pt x="2503986" y="1155356"/>
                  <a:pt x="2492707" y="1166652"/>
                  <a:pt x="2488947" y="1166652"/>
                </a:cubicBezTo>
                <a:cubicBezTo>
                  <a:pt x="2451350" y="1177948"/>
                  <a:pt x="2406233" y="1177948"/>
                  <a:pt x="2368636" y="1177948"/>
                </a:cubicBezTo>
                <a:cubicBezTo>
                  <a:pt x="2323519" y="1196775"/>
                  <a:pt x="2274642" y="1193010"/>
                  <a:pt x="2225766" y="1196775"/>
                </a:cubicBezTo>
                <a:cubicBezTo>
                  <a:pt x="2000181" y="1196775"/>
                  <a:pt x="1706922" y="1193010"/>
                  <a:pt x="1466298" y="1189245"/>
                </a:cubicBezTo>
                <a:cubicBezTo>
                  <a:pt x="1402383" y="1174183"/>
                  <a:pt x="1327188" y="1189245"/>
                  <a:pt x="1259513" y="1177948"/>
                </a:cubicBezTo>
                <a:cubicBezTo>
                  <a:pt x="1165519" y="1174183"/>
                  <a:pt x="1086565" y="1162887"/>
                  <a:pt x="992571" y="1162887"/>
                </a:cubicBezTo>
                <a:cubicBezTo>
                  <a:pt x="966253" y="1162887"/>
                  <a:pt x="917377" y="1162887"/>
                  <a:pt x="891058" y="1155356"/>
                </a:cubicBezTo>
                <a:lnTo>
                  <a:pt x="883995" y="1158893"/>
                </a:lnTo>
                <a:lnTo>
                  <a:pt x="876489" y="1158650"/>
                </a:lnTo>
                <a:cubicBezTo>
                  <a:pt x="861920" y="1158180"/>
                  <a:pt x="832782" y="1157239"/>
                  <a:pt x="774506" y="1155356"/>
                </a:cubicBezTo>
                <a:cubicBezTo>
                  <a:pt x="755708" y="1166652"/>
                  <a:pt x="733149" y="1155356"/>
                  <a:pt x="710591" y="1166652"/>
                </a:cubicBezTo>
                <a:cubicBezTo>
                  <a:pt x="661714" y="1162887"/>
                  <a:pt x="590279" y="1166652"/>
                  <a:pt x="530123" y="1166652"/>
                </a:cubicBezTo>
                <a:cubicBezTo>
                  <a:pt x="522604" y="1166652"/>
                  <a:pt x="522604" y="1174183"/>
                  <a:pt x="511325" y="1170418"/>
                </a:cubicBezTo>
                <a:cubicBezTo>
                  <a:pt x="511325" y="1170418"/>
                  <a:pt x="511325" y="1170418"/>
                  <a:pt x="507565" y="1170418"/>
                </a:cubicBezTo>
                <a:cubicBezTo>
                  <a:pt x="500046" y="1174183"/>
                  <a:pt x="496286" y="1177948"/>
                  <a:pt x="488766" y="1174183"/>
                </a:cubicBezTo>
                <a:cubicBezTo>
                  <a:pt x="469968" y="1170418"/>
                  <a:pt x="443649" y="1166652"/>
                  <a:pt x="424851" y="1170418"/>
                </a:cubicBezTo>
                <a:cubicBezTo>
                  <a:pt x="424851" y="1170418"/>
                  <a:pt x="424851" y="1170418"/>
                  <a:pt x="421091" y="1162887"/>
                </a:cubicBezTo>
                <a:cubicBezTo>
                  <a:pt x="413572" y="1166652"/>
                  <a:pt x="409812" y="1170418"/>
                  <a:pt x="398533" y="1170418"/>
                </a:cubicBezTo>
                <a:cubicBezTo>
                  <a:pt x="406052" y="1151591"/>
                  <a:pt x="368455" y="1166652"/>
                  <a:pt x="357175" y="1159121"/>
                </a:cubicBezTo>
                <a:cubicBezTo>
                  <a:pt x="349655" y="1162887"/>
                  <a:pt x="342136" y="1159121"/>
                  <a:pt x="334617" y="1162887"/>
                </a:cubicBezTo>
                <a:cubicBezTo>
                  <a:pt x="338376" y="1159121"/>
                  <a:pt x="334617" y="1159121"/>
                  <a:pt x="338376" y="1155356"/>
                </a:cubicBezTo>
                <a:cubicBezTo>
                  <a:pt x="323337" y="1155356"/>
                  <a:pt x="315818" y="1151591"/>
                  <a:pt x="300779" y="1155356"/>
                </a:cubicBezTo>
                <a:cubicBezTo>
                  <a:pt x="289500" y="1140294"/>
                  <a:pt x="263181" y="1140294"/>
                  <a:pt x="233104" y="1140294"/>
                </a:cubicBezTo>
                <a:cubicBezTo>
                  <a:pt x="266941" y="1136529"/>
                  <a:pt x="323337" y="1136529"/>
                  <a:pt x="353415" y="1125233"/>
                </a:cubicBezTo>
                <a:cubicBezTo>
                  <a:pt x="345896" y="1121467"/>
                  <a:pt x="330857" y="1125233"/>
                  <a:pt x="315818" y="1125233"/>
                </a:cubicBezTo>
                <a:cubicBezTo>
                  <a:pt x="312058" y="1117702"/>
                  <a:pt x="323337" y="1113937"/>
                  <a:pt x="327097" y="1110171"/>
                </a:cubicBezTo>
                <a:cubicBezTo>
                  <a:pt x="327097" y="1110171"/>
                  <a:pt x="327097" y="1110171"/>
                  <a:pt x="274461" y="1102641"/>
                </a:cubicBezTo>
                <a:cubicBezTo>
                  <a:pt x="297019" y="1102641"/>
                  <a:pt x="360935" y="1106406"/>
                  <a:pt x="387253" y="1095110"/>
                </a:cubicBezTo>
                <a:cubicBezTo>
                  <a:pt x="364695" y="1091344"/>
                  <a:pt x="349655" y="1095110"/>
                  <a:pt x="334617" y="1095110"/>
                </a:cubicBezTo>
                <a:cubicBezTo>
                  <a:pt x="338376" y="1087579"/>
                  <a:pt x="319578" y="1083814"/>
                  <a:pt x="312058" y="1083814"/>
                </a:cubicBezTo>
                <a:cubicBezTo>
                  <a:pt x="308298" y="1080048"/>
                  <a:pt x="353415" y="1083814"/>
                  <a:pt x="338376" y="1072517"/>
                </a:cubicBezTo>
                <a:cubicBezTo>
                  <a:pt x="360935" y="1068752"/>
                  <a:pt x="342136" y="1049925"/>
                  <a:pt x="372214" y="1046160"/>
                </a:cubicBezTo>
                <a:cubicBezTo>
                  <a:pt x="338376" y="1042394"/>
                  <a:pt x="323337" y="1080048"/>
                  <a:pt x="293259" y="1064987"/>
                </a:cubicBezTo>
                <a:cubicBezTo>
                  <a:pt x="281980" y="1057456"/>
                  <a:pt x="315818" y="1031098"/>
                  <a:pt x="281980" y="1034863"/>
                </a:cubicBezTo>
                <a:cubicBezTo>
                  <a:pt x="236863" y="1016037"/>
                  <a:pt x="334617" y="1012271"/>
                  <a:pt x="308298" y="985913"/>
                </a:cubicBezTo>
                <a:cubicBezTo>
                  <a:pt x="315818" y="982148"/>
                  <a:pt x="315818" y="978383"/>
                  <a:pt x="323337" y="978383"/>
                </a:cubicBezTo>
                <a:cubicBezTo>
                  <a:pt x="300779" y="978383"/>
                  <a:pt x="289500" y="963321"/>
                  <a:pt x="263181" y="970852"/>
                </a:cubicBezTo>
                <a:cubicBezTo>
                  <a:pt x="206785" y="948259"/>
                  <a:pt x="289500" y="940729"/>
                  <a:pt x="300779" y="918136"/>
                </a:cubicBezTo>
                <a:cubicBezTo>
                  <a:pt x="312058" y="918136"/>
                  <a:pt x="327097" y="918136"/>
                  <a:pt x="330857" y="914371"/>
                </a:cubicBezTo>
                <a:cubicBezTo>
                  <a:pt x="251902" y="880482"/>
                  <a:pt x="139110" y="872952"/>
                  <a:pt x="67675" y="831532"/>
                </a:cubicBezTo>
                <a:cubicBezTo>
                  <a:pt x="52636" y="827767"/>
                  <a:pt x="33837" y="824001"/>
                  <a:pt x="11279" y="824001"/>
                </a:cubicBezTo>
                <a:cubicBezTo>
                  <a:pt x="11279" y="824001"/>
                  <a:pt x="11279" y="824001"/>
                  <a:pt x="0" y="820236"/>
                </a:cubicBezTo>
                <a:cubicBezTo>
                  <a:pt x="0" y="820236"/>
                  <a:pt x="0" y="820236"/>
                  <a:pt x="30078" y="820236"/>
                </a:cubicBezTo>
                <a:cubicBezTo>
                  <a:pt x="26318" y="820236"/>
                  <a:pt x="33837" y="824001"/>
                  <a:pt x="33837" y="824001"/>
                </a:cubicBezTo>
                <a:cubicBezTo>
                  <a:pt x="41357" y="824001"/>
                  <a:pt x="41357" y="820236"/>
                  <a:pt x="45117" y="820236"/>
                </a:cubicBezTo>
                <a:cubicBezTo>
                  <a:pt x="45117" y="820236"/>
                  <a:pt x="45117" y="820236"/>
                  <a:pt x="45117" y="812705"/>
                </a:cubicBezTo>
                <a:cubicBezTo>
                  <a:pt x="101513" y="831532"/>
                  <a:pt x="161669" y="857890"/>
                  <a:pt x="236863" y="865421"/>
                </a:cubicBezTo>
                <a:cubicBezTo>
                  <a:pt x="236863" y="865421"/>
                  <a:pt x="236863" y="865421"/>
                  <a:pt x="240623" y="861655"/>
                </a:cubicBezTo>
                <a:cubicBezTo>
                  <a:pt x="236863" y="872952"/>
                  <a:pt x="251902" y="869186"/>
                  <a:pt x="259422" y="869186"/>
                </a:cubicBezTo>
                <a:cubicBezTo>
                  <a:pt x="259422" y="869186"/>
                  <a:pt x="259422" y="869186"/>
                  <a:pt x="270701" y="861655"/>
                </a:cubicBezTo>
                <a:cubicBezTo>
                  <a:pt x="270701" y="861655"/>
                  <a:pt x="270701" y="861655"/>
                  <a:pt x="274461" y="865421"/>
                </a:cubicBezTo>
                <a:cubicBezTo>
                  <a:pt x="274461" y="865421"/>
                  <a:pt x="274461" y="865421"/>
                  <a:pt x="278220" y="861655"/>
                </a:cubicBezTo>
                <a:cubicBezTo>
                  <a:pt x="274461" y="854125"/>
                  <a:pt x="251902" y="854125"/>
                  <a:pt x="233104" y="857890"/>
                </a:cubicBezTo>
                <a:cubicBezTo>
                  <a:pt x="233104" y="839063"/>
                  <a:pt x="270701" y="850359"/>
                  <a:pt x="278220" y="842828"/>
                </a:cubicBezTo>
                <a:cubicBezTo>
                  <a:pt x="278220" y="842828"/>
                  <a:pt x="278220" y="842828"/>
                  <a:pt x="293259" y="842828"/>
                </a:cubicBezTo>
                <a:cubicBezTo>
                  <a:pt x="297019" y="846594"/>
                  <a:pt x="281980" y="850359"/>
                  <a:pt x="278220" y="854125"/>
                </a:cubicBezTo>
                <a:cubicBezTo>
                  <a:pt x="289500" y="854125"/>
                  <a:pt x="300779" y="865421"/>
                  <a:pt x="312058" y="857890"/>
                </a:cubicBezTo>
                <a:cubicBezTo>
                  <a:pt x="297019" y="850359"/>
                  <a:pt x="315818" y="850359"/>
                  <a:pt x="312058" y="842828"/>
                </a:cubicBezTo>
                <a:cubicBezTo>
                  <a:pt x="312058" y="842828"/>
                  <a:pt x="312058" y="842828"/>
                  <a:pt x="308298" y="839063"/>
                </a:cubicBezTo>
                <a:cubicBezTo>
                  <a:pt x="308298" y="839063"/>
                  <a:pt x="308298" y="839063"/>
                  <a:pt x="304539" y="839063"/>
                </a:cubicBezTo>
                <a:cubicBezTo>
                  <a:pt x="308298" y="839063"/>
                  <a:pt x="308298" y="839063"/>
                  <a:pt x="308298" y="835298"/>
                </a:cubicBezTo>
                <a:cubicBezTo>
                  <a:pt x="308298" y="835298"/>
                  <a:pt x="308298" y="835298"/>
                  <a:pt x="297019" y="831532"/>
                </a:cubicBezTo>
                <a:cubicBezTo>
                  <a:pt x="289500" y="835298"/>
                  <a:pt x="278220" y="839063"/>
                  <a:pt x="270701" y="835298"/>
                </a:cubicBezTo>
                <a:cubicBezTo>
                  <a:pt x="274461" y="827767"/>
                  <a:pt x="300779" y="827767"/>
                  <a:pt x="312058" y="820236"/>
                </a:cubicBezTo>
                <a:cubicBezTo>
                  <a:pt x="312058" y="820236"/>
                  <a:pt x="312058" y="820236"/>
                  <a:pt x="308298" y="816471"/>
                </a:cubicBezTo>
                <a:cubicBezTo>
                  <a:pt x="319578" y="808940"/>
                  <a:pt x="383494" y="812705"/>
                  <a:pt x="353415" y="793878"/>
                </a:cubicBezTo>
                <a:cubicBezTo>
                  <a:pt x="349655" y="790113"/>
                  <a:pt x="342136" y="790113"/>
                  <a:pt x="334617" y="790113"/>
                </a:cubicBezTo>
                <a:cubicBezTo>
                  <a:pt x="304539" y="801409"/>
                  <a:pt x="270701" y="835298"/>
                  <a:pt x="233104" y="824001"/>
                </a:cubicBezTo>
                <a:cubicBezTo>
                  <a:pt x="210545" y="839063"/>
                  <a:pt x="191746" y="835298"/>
                  <a:pt x="161669" y="839063"/>
                </a:cubicBezTo>
                <a:cubicBezTo>
                  <a:pt x="161669" y="839063"/>
                  <a:pt x="161669" y="839063"/>
                  <a:pt x="184227" y="827767"/>
                </a:cubicBezTo>
                <a:cubicBezTo>
                  <a:pt x="184227" y="827767"/>
                  <a:pt x="184227" y="827767"/>
                  <a:pt x="176707" y="827767"/>
                </a:cubicBezTo>
                <a:cubicBezTo>
                  <a:pt x="199266" y="827767"/>
                  <a:pt x="214305" y="805175"/>
                  <a:pt x="251902" y="805175"/>
                </a:cubicBezTo>
                <a:cubicBezTo>
                  <a:pt x="259422" y="801409"/>
                  <a:pt x="259422" y="793878"/>
                  <a:pt x="274461" y="797644"/>
                </a:cubicBezTo>
                <a:cubicBezTo>
                  <a:pt x="274461" y="797644"/>
                  <a:pt x="274461" y="797644"/>
                  <a:pt x="281980" y="797644"/>
                </a:cubicBezTo>
                <a:cubicBezTo>
                  <a:pt x="281980" y="797644"/>
                  <a:pt x="281980" y="797644"/>
                  <a:pt x="297019" y="790113"/>
                </a:cubicBezTo>
                <a:cubicBezTo>
                  <a:pt x="297019" y="790113"/>
                  <a:pt x="297019" y="790113"/>
                  <a:pt x="293259" y="786348"/>
                </a:cubicBezTo>
                <a:cubicBezTo>
                  <a:pt x="281980" y="778817"/>
                  <a:pt x="372214" y="782582"/>
                  <a:pt x="327097" y="763755"/>
                </a:cubicBezTo>
                <a:cubicBezTo>
                  <a:pt x="300779" y="778817"/>
                  <a:pt x="255662" y="771286"/>
                  <a:pt x="236863" y="786348"/>
                </a:cubicBezTo>
                <a:cubicBezTo>
                  <a:pt x="236863" y="786348"/>
                  <a:pt x="236863" y="786348"/>
                  <a:pt x="199266" y="790113"/>
                </a:cubicBezTo>
                <a:cubicBezTo>
                  <a:pt x="244383" y="771286"/>
                  <a:pt x="330857" y="763755"/>
                  <a:pt x="330857" y="726101"/>
                </a:cubicBezTo>
                <a:cubicBezTo>
                  <a:pt x="345896" y="718570"/>
                  <a:pt x="353415" y="711040"/>
                  <a:pt x="357175" y="699743"/>
                </a:cubicBezTo>
                <a:cubicBezTo>
                  <a:pt x="360935" y="703509"/>
                  <a:pt x="360935" y="699743"/>
                  <a:pt x="364695" y="699743"/>
                </a:cubicBezTo>
                <a:cubicBezTo>
                  <a:pt x="364695" y="699743"/>
                  <a:pt x="364695" y="699743"/>
                  <a:pt x="364695" y="688447"/>
                </a:cubicBezTo>
                <a:cubicBezTo>
                  <a:pt x="387253" y="680917"/>
                  <a:pt x="398533" y="665855"/>
                  <a:pt x="402292" y="650793"/>
                </a:cubicBezTo>
                <a:cubicBezTo>
                  <a:pt x="439890" y="628201"/>
                  <a:pt x="417331" y="575486"/>
                  <a:pt x="511325" y="579251"/>
                </a:cubicBezTo>
                <a:cubicBezTo>
                  <a:pt x="526364" y="564190"/>
                  <a:pt x="537643" y="549128"/>
                  <a:pt x="551742" y="534537"/>
                </a:cubicBezTo>
                <a:lnTo>
                  <a:pt x="561872" y="527136"/>
                </a:lnTo>
                <a:lnTo>
                  <a:pt x="558113" y="526214"/>
                </a:lnTo>
                <a:cubicBezTo>
                  <a:pt x="511116" y="514918"/>
                  <a:pt x="465059" y="502680"/>
                  <a:pt x="429342" y="481970"/>
                </a:cubicBezTo>
                <a:cubicBezTo>
                  <a:pt x="414303" y="478205"/>
                  <a:pt x="395504" y="474440"/>
                  <a:pt x="372945" y="474440"/>
                </a:cubicBezTo>
                <a:cubicBezTo>
                  <a:pt x="372945" y="474440"/>
                  <a:pt x="372945" y="474440"/>
                  <a:pt x="361666" y="470674"/>
                </a:cubicBezTo>
                <a:cubicBezTo>
                  <a:pt x="361666" y="470674"/>
                  <a:pt x="361666" y="470674"/>
                  <a:pt x="391744" y="470674"/>
                </a:cubicBezTo>
                <a:cubicBezTo>
                  <a:pt x="387984" y="470674"/>
                  <a:pt x="395504" y="474440"/>
                  <a:pt x="395504" y="474440"/>
                </a:cubicBezTo>
                <a:cubicBezTo>
                  <a:pt x="403023" y="474440"/>
                  <a:pt x="403023" y="470674"/>
                  <a:pt x="406783" y="470674"/>
                </a:cubicBezTo>
                <a:cubicBezTo>
                  <a:pt x="406783" y="470674"/>
                  <a:pt x="406783" y="470674"/>
                  <a:pt x="406783" y="463144"/>
                </a:cubicBezTo>
                <a:cubicBezTo>
                  <a:pt x="434981" y="472557"/>
                  <a:pt x="464119" y="483853"/>
                  <a:pt x="495607" y="493737"/>
                </a:cubicBezTo>
                <a:lnTo>
                  <a:pt x="582131" y="512335"/>
                </a:lnTo>
                <a:lnTo>
                  <a:pt x="609078" y="492647"/>
                </a:lnTo>
                <a:cubicBezTo>
                  <a:pt x="610958" y="494530"/>
                  <a:pt x="614718" y="494530"/>
                  <a:pt x="618947" y="494530"/>
                </a:cubicBezTo>
                <a:lnTo>
                  <a:pt x="624178" y="495306"/>
                </a:lnTo>
                <a:lnTo>
                  <a:pt x="639060" y="493374"/>
                </a:lnTo>
                <a:lnTo>
                  <a:pt x="653196" y="487588"/>
                </a:lnTo>
                <a:lnTo>
                  <a:pt x="661962" y="483064"/>
                </a:lnTo>
                <a:lnTo>
                  <a:pt x="658686" y="481970"/>
                </a:lnTo>
                <a:cubicBezTo>
                  <a:pt x="651166" y="485736"/>
                  <a:pt x="639887" y="489501"/>
                  <a:pt x="632367" y="485736"/>
                </a:cubicBezTo>
                <a:cubicBezTo>
                  <a:pt x="636127" y="478205"/>
                  <a:pt x="662445" y="478205"/>
                  <a:pt x="673725" y="470674"/>
                </a:cubicBezTo>
                <a:cubicBezTo>
                  <a:pt x="673725" y="470674"/>
                  <a:pt x="673725" y="470674"/>
                  <a:pt x="669965" y="466909"/>
                </a:cubicBezTo>
                <a:cubicBezTo>
                  <a:pt x="681244" y="459378"/>
                  <a:pt x="745160" y="463144"/>
                  <a:pt x="715082" y="444317"/>
                </a:cubicBezTo>
                <a:cubicBezTo>
                  <a:pt x="711322" y="440551"/>
                  <a:pt x="703802" y="440551"/>
                  <a:pt x="696283" y="440551"/>
                </a:cubicBezTo>
                <a:cubicBezTo>
                  <a:pt x="666205" y="451847"/>
                  <a:pt x="632367" y="485736"/>
                  <a:pt x="594770" y="474440"/>
                </a:cubicBezTo>
                <a:cubicBezTo>
                  <a:pt x="572212" y="489501"/>
                  <a:pt x="553413" y="485736"/>
                  <a:pt x="523335" y="489501"/>
                </a:cubicBezTo>
                <a:cubicBezTo>
                  <a:pt x="523335" y="489501"/>
                  <a:pt x="523335" y="489501"/>
                  <a:pt x="545893" y="478205"/>
                </a:cubicBezTo>
                <a:cubicBezTo>
                  <a:pt x="545893" y="478205"/>
                  <a:pt x="545893" y="478205"/>
                  <a:pt x="538374" y="478205"/>
                </a:cubicBezTo>
                <a:cubicBezTo>
                  <a:pt x="560932" y="478205"/>
                  <a:pt x="575971" y="455613"/>
                  <a:pt x="613569" y="455613"/>
                </a:cubicBezTo>
                <a:cubicBezTo>
                  <a:pt x="621088" y="451847"/>
                  <a:pt x="621088" y="444317"/>
                  <a:pt x="636127" y="448082"/>
                </a:cubicBezTo>
                <a:cubicBezTo>
                  <a:pt x="636127" y="448082"/>
                  <a:pt x="636127" y="448082"/>
                  <a:pt x="643647" y="448082"/>
                </a:cubicBezTo>
                <a:cubicBezTo>
                  <a:pt x="643647" y="448082"/>
                  <a:pt x="643647" y="448082"/>
                  <a:pt x="658686" y="440551"/>
                </a:cubicBezTo>
                <a:cubicBezTo>
                  <a:pt x="658686" y="440551"/>
                  <a:pt x="658686" y="440551"/>
                  <a:pt x="654926" y="436786"/>
                </a:cubicBezTo>
                <a:cubicBezTo>
                  <a:pt x="643647" y="429255"/>
                  <a:pt x="733880" y="433020"/>
                  <a:pt x="688764" y="414193"/>
                </a:cubicBezTo>
                <a:cubicBezTo>
                  <a:pt x="662445" y="429255"/>
                  <a:pt x="617328" y="421724"/>
                  <a:pt x="598530" y="436786"/>
                </a:cubicBezTo>
                <a:cubicBezTo>
                  <a:pt x="598530" y="436786"/>
                  <a:pt x="598530" y="436786"/>
                  <a:pt x="560932" y="440551"/>
                </a:cubicBezTo>
                <a:cubicBezTo>
                  <a:pt x="606049" y="421724"/>
                  <a:pt x="692523" y="414193"/>
                  <a:pt x="692523" y="376539"/>
                </a:cubicBezTo>
                <a:cubicBezTo>
                  <a:pt x="707562" y="369009"/>
                  <a:pt x="715082" y="361478"/>
                  <a:pt x="718841" y="350182"/>
                </a:cubicBezTo>
                <a:cubicBezTo>
                  <a:pt x="722601" y="353947"/>
                  <a:pt x="722601" y="350182"/>
                  <a:pt x="726361" y="350182"/>
                </a:cubicBezTo>
                <a:cubicBezTo>
                  <a:pt x="726361" y="350182"/>
                  <a:pt x="726361" y="350182"/>
                  <a:pt x="726361" y="338886"/>
                </a:cubicBezTo>
                <a:cubicBezTo>
                  <a:pt x="748919" y="331355"/>
                  <a:pt x="760199" y="316293"/>
                  <a:pt x="763958" y="301232"/>
                </a:cubicBezTo>
                <a:cubicBezTo>
                  <a:pt x="801556" y="278639"/>
                  <a:pt x="778997" y="225924"/>
                  <a:pt x="872991" y="229689"/>
                </a:cubicBezTo>
                <a:cubicBezTo>
                  <a:pt x="903069" y="199566"/>
                  <a:pt x="918108" y="169443"/>
                  <a:pt x="970744" y="143085"/>
                </a:cubicBezTo>
                <a:cubicBezTo>
                  <a:pt x="974504" y="146851"/>
                  <a:pt x="985783" y="143085"/>
                  <a:pt x="993302" y="146851"/>
                </a:cubicBezTo>
                <a:cubicBezTo>
                  <a:pt x="1023380" y="139320"/>
                  <a:pt x="1045939" y="109197"/>
                  <a:pt x="1087296" y="124258"/>
                </a:cubicBezTo>
                <a:cubicBezTo>
                  <a:pt x="1098575" y="128024"/>
                  <a:pt x="1102335" y="124258"/>
                  <a:pt x="1109854" y="120493"/>
                </a:cubicBezTo>
                <a:cubicBezTo>
                  <a:pt x="1109854" y="120493"/>
                  <a:pt x="1109854" y="120493"/>
                  <a:pt x="1109854" y="112962"/>
                </a:cubicBezTo>
                <a:cubicBezTo>
                  <a:pt x="1113614" y="128024"/>
                  <a:pt x="1154971" y="124258"/>
                  <a:pt x="1173770" y="120493"/>
                </a:cubicBezTo>
                <a:cubicBezTo>
                  <a:pt x="1170010" y="124258"/>
                  <a:pt x="1177530" y="128024"/>
                  <a:pt x="1166250" y="131789"/>
                </a:cubicBezTo>
                <a:cubicBezTo>
                  <a:pt x="1211367" y="139320"/>
                  <a:pt x="1233926" y="161912"/>
                  <a:pt x="1290322" y="154381"/>
                </a:cubicBezTo>
                <a:cubicBezTo>
                  <a:pt x="1290322" y="154381"/>
                  <a:pt x="1290322" y="154381"/>
                  <a:pt x="1286562" y="158147"/>
                </a:cubicBezTo>
                <a:cubicBezTo>
                  <a:pt x="1297841" y="158147"/>
                  <a:pt x="1301601" y="165678"/>
                  <a:pt x="1316640" y="161912"/>
                </a:cubicBezTo>
                <a:cubicBezTo>
                  <a:pt x="1350478" y="143085"/>
                  <a:pt x="1339198" y="109197"/>
                  <a:pt x="1399354" y="101666"/>
                </a:cubicBezTo>
                <a:cubicBezTo>
                  <a:pt x="1399354" y="94135"/>
                  <a:pt x="1406874" y="79073"/>
                  <a:pt x="1380555" y="82839"/>
                </a:cubicBezTo>
                <a:cubicBezTo>
                  <a:pt x="1376796" y="82839"/>
                  <a:pt x="1369276" y="86604"/>
                  <a:pt x="1369276" y="90370"/>
                </a:cubicBezTo>
                <a:cubicBezTo>
                  <a:pt x="1369276" y="86604"/>
                  <a:pt x="1369276" y="86604"/>
                  <a:pt x="1369276" y="86604"/>
                </a:cubicBezTo>
                <a:cubicBezTo>
                  <a:pt x="1339198" y="79073"/>
                  <a:pt x="1309120" y="79073"/>
                  <a:pt x="1275283" y="86604"/>
                </a:cubicBezTo>
                <a:cubicBezTo>
                  <a:pt x="1275283" y="86604"/>
                  <a:pt x="1275283" y="86604"/>
                  <a:pt x="1252724" y="97900"/>
                </a:cubicBezTo>
                <a:cubicBezTo>
                  <a:pt x="1248965" y="86604"/>
                  <a:pt x="1301601" y="86604"/>
                  <a:pt x="1282802" y="71543"/>
                </a:cubicBezTo>
                <a:cubicBezTo>
                  <a:pt x="1282802" y="71543"/>
                  <a:pt x="1282802" y="71543"/>
                  <a:pt x="1309120" y="67777"/>
                </a:cubicBezTo>
                <a:cubicBezTo>
                  <a:pt x="1327919" y="79073"/>
                  <a:pt x="1373036" y="79073"/>
                  <a:pt x="1399354" y="82839"/>
                </a:cubicBezTo>
                <a:cubicBezTo>
                  <a:pt x="1425672" y="82839"/>
                  <a:pt x="1433192" y="60247"/>
                  <a:pt x="1455750" y="56481"/>
                </a:cubicBezTo>
                <a:cubicBezTo>
                  <a:pt x="1455750" y="52716"/>
                  <a:pt x="1448231" y="52716"/>
                  <a:pt x="1440711" y="52716"/>
                </a:cubicBezTo>
                <a:cubicBezTo>
                  <a:pt x="1444471" y="33889"/>
                  <a:pt x="1485828" y="33889"/>
                  <a:pt x="1508387" y="22593"/>
                </a:cubicBezTo>
                <a:cubicBezTo>
                  <a:pt x="1497107" y="18827"/>
                  <a:pt x="1485828" y="15062"/>
                  <a:pt x="1474549" y="18827"/>
                </a:cubicBezTo>
                <a:cubicBezTo>
                  <a:pt x="1512146" y="7531"/>
                  <a:pt x="1557263" y="18827"/>
                  <a:pt x="1594861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800" b="1" dirty="0">
                <a:solidFill>
                  <a:srgbClr val="C00000"/>
                </a:solidFill>
                <a:latin typeface="汉仪雁翎体简" panose="02010609000101010101" pitchFamily="49" charset="-122"/>
                <a:ea typeface="汉仪雁翎体简" panose="02010609000101010101" pitchFamily="49" charset="-122"/>
              </a:rPr>
              <a:t>   </a:t>
            </a:r>
            <a:endParaRPr lang="en-US" altLang="zh-CN" sz="1800" b="1" dirty="0">
              <a:solidFill>
                <a:srgbClr val="C00000"/>
              </a:solidFill>
              <a:latin typeface="汉仪雁翎体简" panose="02010609000101010101" pitchFamily="49" charset="-122"/>
              <a:ea typeface="汉仪雁翎体简" panose="02010609000101010101" pitchFamily="49" charset="-122"/>
            </a:endParaRPr>
          </a:p>
          <a:p>
            <a:r>
              <a:rPr lang="zh-CN" altLang="en-US" sz="2800" b="1" dirty="0">
                <a:solidFill>
                  <a:srgbClr val="C00000"/>
                </a:solidFill>
                <a:latin typeface="汉仪雁翎体简" panose="02010609000101010101" pitchFamily="49" charset="-122"/>
                <a:ea typeface="汉仪雁翎体简" panose="02010609000101010101" pitchFamily="49" charset="-122"/>
              </a:rPr>
              <a:t>   晚年政协大佬</a:t>
            </a:r>
          </a:p>
        </p:txBody>
      </p:sp>
      <p:sp>
        <p:nvSpPr>
          <p:cNvPr id="223" name="任意多边形: 形状 222">
            <a:extLst>
              <a:ext uri="{FF2B5EF4-FFF2-40B4-BE49-F238E27FC236}">
                <a16:creationId xmlns:a16="http://schemas.microsoft.com/office/drawing/2014/main" id="{FC1DCED3-4D45-1D95-0F11-63F49A7564B4}"/>
              </a:ext>
            </a:extLst>
          </p:cNvPr>
          <p:cNvSpPr>
            <a:spLocks/>
          </p:cNvSpPr>
          <p:nvPr/>
        </p:nvSpPr>
        <p:spPr bwMode="auto">
          <a:xfrm rot="21001253">
            <a:off x="384003" y="5035542"/>
            <a:ext cx="6060959" cy="1053932"/>
          </a:xfrm>
          <a:custGeom>
            <a:avLst/>
            <a:gdLst>
              <a:gd name="connsiteX0" fmla="*/ 883995 w 5227821"/>
              <a:gd name="connsiteY0" fmla="*/ 1158893 h 1257266"/>
              <a:gd name="connsiteX1" fmla="*/ 891058 w 5227821"/>
              <a:gd name="connsiteY1" fmla="*/ 1159121 h 1257266"/>
              <a:gd name="connsiteX2" fmla="*/ 883539 w 5227821"/>
              <a:gd name="connsiteY2" fmla="*/ 1159121 h 1257266"/>
              <a:gd name="connsiteX3" fmla="*/ 4615788 w 5227821"/>
              <a:gd name="connsiteY3" fmla="*/ 826594 h 1257266"/>
              <a:gd name="connsiteX4" fmla="*/ 4616959 w 5227821"/>
              <a:gd name="connsiteY4" fmla="*/ 827767 h 1257266"/>
              <a:gd name="connsiteX5" fmla="*/ 4617450 w 5227821"/>
              <a:gd name="connsiteY5" fmla="*/ 827029 h 1257266"/>
              <a:gd name="connsiteX6" fmla="*/ 4610559 w 5227821"/>
              <a:gd name="connsiteY6" fmla="*/ 825984 h 1257266"/>
              <a:gd name="connsiteX7" fmla="*/ 4591373 w 5227821"/>
              <a:gd name="connsiteY7" fmla="*/ 828386 h 1257266"/>
              <a:gd name="connsiteX8" fmla="*/ 4584680 w 5227821"/>
              <a:gd name="connsiteY8" fmla="*/ 830752 h 1257266"/>
              <a:gd name="connsiteX9" fmla="*/ 4583122 w 5227821"/>
              <a:gd name="connsiteY9" fmla="*/ 831532 h 1257266"/>
              <a:gd name="connsiteX10" fmla="*/ 4598161 w 5227821"/>
              <a:gd name="connsiteY10" fmla="*/ 835298 h 1257266"/>
              <a:gd name="connsiteX11" fmla="*/ 4600041 w 5227821"/>
              <a:gd name="connsiteY11" fmla="*/ 833886 h 1257266"/>
              <a:gd name="connsiteX12" fmla="*/ 4763331 w 5227821"/>
              <a:gd name="connsiteY12" fmla="*/ 809097 h 1257266"/>
              <a:gd name="connsiteX13" fmla="*/ 4764025 w 5227821"/>
              <a:gd name="connsiteY13" fmla="*/ 815097 h 1257266"/>
              <a:gd name="connsiteX14" fmla="*/ 4768080 w 5227821"/>
              <a:gd name="connsiteY14" fmla="*/ 809559 h 1257266"/>
              <a:gd name="connsiteX15" fmla="*/ 4653526 w 5227821"/>
              <a:gd name="connsiteY15" fmla="*/ 808089 h 1257266"/>
              <a:gd name="connsiteX16" fmla="*/ 4644009 w 5227821"/>
              <a:gd name="connsiteY16" fmla="*/ 820856 h 1257266"/>
              <a:gd name="connsiteX17" fmla="*/ 4659047 w 5227821"/>
              <a:gd name="connsiteY17" fmla="*/ 828386 h 1257266"/>
              <a:gd name="connsiteX18" fmla="*/ 4642634 w 5227821"/>
              <a:gd name="connsiteY18" fmla="*/ 833009 h 1257266"/>
              <a:gd name="connsiteX19" fmla="*/ 4658317 w 5227821"/>
              <a:gd name="connsiteY19" fmla="*/ 846594 h 1257266"/>
              <a:gd name="connsiteX20" fmla="*/ 4684635 w 5227821"/>
              <a:gd name="connsiteY20" fmla="*/ 816471 h 1257266"/>
              <a:gd name="connsiteX21" fmla="*/ 4683861 w 5227821"/>
              <a:gd name="connsiteY21" fmla="*/ 813370 h 1257266"/>
              <a:gd name="connsiteX22" fmla="*/ 4669387 w 5227821"/>
              <a:gd name="connsiteY22" fmla="*/ 809089 h 1257266"/>
              <a:gd name="connsiteX23" fmla="*/ 4653526 w 5227821"/>
              <a:gd name="connsiteY23" fmla="*/ 808089 h 1257266"/>
              <a:gd name="connsiteX24" fmla="*/ 4720496 w 5227821"/>
              <a:gd name="connsiteY24" fmla="*/ 800558 h 1257266"/>
              <a:gd name="connsiteX25" fmla="*/ 4704165 w 5227821"/>
              <a:gd name="connsiteY25" fmla="*/ 809559 h 1257266"/>
              <a:gd name="connsiteX26" fmla="*/ 4711684 w 5227821"/>
              <a:gd name="connsiteY26" fmla="*/ 817090 h 1257266"/>
              <a:gd name="connsiteX27" fmla="*/ 4703433 w 5227821"/>
              <a:gd name="connsiteY27" fmla="*/ 816325 h 1257266"/>
              <a:gd name="connsiteX28" fmla="*/ 4703433 w 5227821"/>
              <a:gd name="connsiteY28" fmla="*/ 824001 h 1257266"/>
              <a:gd name="connsiteX29" fmla="*/ 4718473 w 5227821"/>
              <a:gd name="connsiteY29" fmla="*/ 820236 h 1257266"/>
              <a:gd name="connsiteX30" fmla="*/ 4733511 w 5227821"/>
              <a:gd name="connsiteY30" fmla="*/ 846594 h 1257266"/>
              <a:gd name="connsiteX31" fmla="*/ 4710953 w 5227821"/>
              <a:gd name="connsiteY31" fmla="*/ 850359 h 1257266"/>
              <a:gd name="connsiteX32" fmla="*/ 4692155 w 5227821"/>
              <a:gd name="connsiteY32" fmla="*/ 842828 h 1257266"/>
              <a:gd name="connsiteX33" fmla="*/ 4658317 w 5227821"/>
              <a:gd name="connsiteY33" fmla="*/ 854125 h 1257266"/>
              <a:gd name="connsiteX34" fmla="*/ 4677115 w 5227821"/>
              <a:gd name="connsiteY34" fmla="*/ 854125 h 1257266"/>
              <a:gd name="connsiteX35" fmla="*/ 4673355 w 5227821"/>
              <a:gd name="connsiteY35" fmla="*/ 857890 h 1257266"/>
              <a:gd name="connsiteX36" fmla="*/ 4741031 w 5227821"/>
              <a:gd name="connsiteY36" fmla="*/ 857890 h 1257266"/>
              <a:gd name="connsiteX37" fmla="*/ 4748551 w 5227821"/>
              <a:gd name="connsiteY37" fmla="*/ 861655 h 1257266"/>
              <a:gd name="connsiteX38" fmla="*/ 4752310 w 5227821"/>
              <a:gd name="connsiteY38" fmla="*/ 857890 h 1257266"/>
              <a:gd name="connsiteX39" fmla="*/ 4763589 w 5227821"/>
              <a:gd name="connsiteY39" fmla="*/ 854125 h 1257266"/>
              <a:gd name="connsiteX40" fmla="*/ 4752310 w 5227821"/>
              <a:gd name="connsiteY40" fmla="*/ 854125 h 1257266"/>
              <a:gd name="connsiteX41" fmla="*/ 4756070 w 5227821"/>
              <a:gd name="connsiteY41" fmla="*/ 835298 h 1257266"/>
              <a:gd name="connsiteX42" fmla="*/ 4744321 w 5227821"/>
              <a:gd name="connsiteY42" fmla="*/ 817412 h 1257266"/>
              <a:gd name="connsiteX43" fmla="*/ 4747974 w 5227821"/>
              <a:gd name="connsiteY43" fmla="*/ 806649 h 1257266"/>
              <a:gd name="connsiteX44" fmla="*/ 4736122 w 5227821"/>
              <a:gd name="connsiteY44" fmla="*/ 802499 h 1257266"/>
              <a:gd name="connsiteX45" fmla="*/ 4720496 w 5227821"/>
              <a:gd name="connsiteY45" fmla="*/ 800558 h 1257266"/>
              <a:gd name="connsiteX46" fmla="*/ 1676438 w 5227821"/>
              <a:gd name="connsiteY46" fmla="*/ 90716 h 1257266"/>
              <a:gd name="connsiteX47" fmla="*/ 1850993 w 5227821"/>
              <a:gd name="connsiteY47" fmla="*/ 94135 h 1257266"/>
              <a:gd name="connsiteX48" fmla="*/ 2046029 w 5227821"/>
              <a:gd name="connsiteY48" fmla="*/ 97900 h 1257266"/>
              <a:gd name="connsiteX49" fmla="*/ 2057308 w 5227821"/>
              <a:gd name="connsiteY49" fmla="*/ 101666 h 1257266"/>
              <a:gd name="connsiteX50" fmla="*/ 1850523 w 5227821"/>
              <a:gd name="connsiteY50" fmla="*/ 97900 h 1257266"/>
              <a:gd name="connsiteX51" fmla="*/ 1692614 w 5227821"/>
              <a:gd name="connsiteY51" fmla="*/ 94135 h 1257266"/>
              <a:gd name="connsiteX52" fmla="*/ 1675636 w 5227821"/>
              <a:gd name="connsiteY52" fmla="*/ 90546 h 1257266"/>
              <a:gd name="connsiteX53" fmla="*/ 1676438 w 5227821"/>
              <a:gd name="connsiteY53" fmla="*/ 90716 h 1257266"/>
              <a:gd name="connsiteX54" fmla="*/ 1674865 w 5227821"/>
              <a:gd name="connsiteY54" fmla="*/ 90685 h 1257266"/>
              <a:gd name="connsiteX55" fmla="*/ 2005634 w 5227821"/>
              <a:gd name="connsiteY55" fmla="*/ 36919 h 1257266"/>
              <a:gd name="connsiteX56" fmla="*/ 2008432 w 5227821"/>
              <a:gd name="connsiteY56" fmla="*/ 37654 h 1257266"/>
              <a:gd name="connsiteX57" fmla="*/ 2000912 w 5227821"/>
              <a:gd name="connsiteY57" fmla="*/ 37654 h 1257266"/>
              <a:gd name="connsiteX58" fmla="*/ 1594861 w 5227821"/>
              <a:gd name="connsiteY58" fmla="*/ 0 h 1257266"/>
              <a:gd name="connsiteX59" fmla="*/ 1655016 w 5227821"/>
              <a:gd name="connsiteY59" fmla="*/ 11296 h 1257266"/>
              <a:gd name="connsiteX60" fmla="*/ 1651257 w 5227821"/>
              <a:gd name="connsiteY60" fmla="*/ 18827 h 1257266"/>
              <a:gd name="connsiteX61" fmla="*/ 1767809 w 5227821"/>
              <a:gd name="connsiteY61" fmla="*/ 22593 h 1257266"/>
              <a:gd name="connsiteX62" fmla="*/ 2230256 w 5227821"/>
              <a:gd name="connsiteY62" fmla="*/ 26358 h 1257266"/>
              <a:gd name="connsiteX63" fmla="*/ 2275373 w 5227821"/>
              <a:gd name="connsiteY63" fmla="*/ 30123 h 1257266"/>
              <a:gd name="connsiteX64" fmla="*/ 2046029 w 5227821"/>
              <a:gd name="connsiteY64" fmla="*/ 33889 h 1257266"/>
              <a:gd name="connsiteX65" fmla="*/ 2022061 w 5227821"/>
              <a:gd name="connsiteY65" fmla="*/ 34359 h 1257266"/>
              <a:gd name="connsiteX66" fmla="*/ 2005634 w 5227821"/>
              <a:gd name="connsiteY66" fmla="*/ 36919 h 1257266"/>
              <a:gd name="connsiteX67" fmla="*/ 1983817 w 5227821"/>
              <a:gd name="connsiteY67" fmla="*/ 31183 h 1257266"/>
              <a:gd name="connsiteX68" fmla="*/ 1888120 w 5227821"/>
              <a:gd name="connsiteY68" fmla="*/ 30123 h 1257266"/>
              <a:gd name="connsiteX69" fmla="*/ 1662536 w 5227821"/>
              <a:gd name="connsiteY69" fmla="*/ 26358 h 1257266"/>
              <a:gd name="connsiteX70" fmla="*/ 1655016 w 5227821"/>
              <a:gd name="connsiteY70" fmla="*/ 37654 h 1257266"/>
              <a:gd name="connsiteX71" fmla="*/ 1609900 w 5227821"/>
              <a:gd name="connsiteY71" fmla="*/ 30123 h 1257266"/>
              <a:gd name="connsiteX72" fmla="*/ 1553503 w 5227821"/>
              <a:gd name="connsiteY72" fmla="*/ 52716 h 1257266"/>
              <a:gd name="connsiteX73" fmla="*/ 1587341 w 5227821"/>
              <a:gd name="connsiteY73" fmla="*/ 56481 h 1257266"/>
              <a:gd name="connsiteX74" fmla="*/ 1542224 w 5227821"/>
              <a:gd name="connsiteY74" fmla="*/ 56481 h 1257266"/>
              <a:gd name="connsiteX75" fmla="*/ 1527185 w 5227821"/>
              <a:gd name="connsiteY75" fmla="*/ 71543 h 1257266"/>
              <a:gd name="connsiteX76" fmla="*/ 1478309 w 5227821"/>
              <a:gd name="connsiteY76" fmla="*/ 79073 h 1257266"/>
              <a:gd name="connsiteX77" fmla="*/ 1658776 w 5227821"/>
              <a:gd name="connsiteY77" fmla="*/ 90370 h 1257266"/>
              <a:gd name="connsiteX78" fmla="*/ 1674865 w 5227821"/>
              <a:gd name="connsiteY78" fmla="*/ 90685 h 1257266"/>
              <a:gd name="connsiteX79" fmla="*/ 1658306 w 5227821"/>
              <a:gd name="connsiteY79" fmla="*/ 93664 h 1257266"/>
              <a:gd name="connsiteX80" fmla="*/ 1621179 w 5227821"/>
              <a:gd name="connsiteY80" fmla="*/ 101666 h 1257266"/>
              <a:gd name="connsiteX81" fmla="*/ 1579822 w 5227821"/>
              <a:gd name="connsiteY81" fmla="*/ 128024 h 1257266"/>
              <a:gd name="connsiteX82" fmla="*/ 1576062 w 5227821"/>
              <a:gd name="connsiteY82" fmla="*/ 120493 h 1257266"/>
              <a:gd name="connsiteX83" fmla="*/ 1598620 w 5227821"/>
              <a:gd name="connsiteY83" fmla="*/ 112962 h 1257266"/>
              <a:gd name="connsiteX84" fmla="*/ 1587341 w 5227821"/>
              <a:gd name="connsiteY84" fmla="*/ 109197 h 1257266"/>
              <a:gd name="connsiteX85" fmla="*/ 1564783 w 5227821"/>
              <a:gd name="connsiteY85" fmla="*/ 109197 h 1257266"/>
              <a:gd name="connsiteX86" fmla="*/ 1553503 w 5227821"/>
              <a:gd name="connsiteY86" fmla="*/ 105431 h 1257266"/>
              <a:gd name="connsiteX87" fmla="*/ 1621179 w 5227821"/>
              <a:gd name="connsiteY87" fmla="*/ 94135 h 1257266"/>
              <a:gd name="connsiteX88" fmla="*/ 1448231 w 5227821"/>
              <a:gd name="connsiteY88" fmla="*/ 86604 h 1257266"/>
              <a:gd name="connsiteX89" fmla="*/ 1410633 w 5227821"/>
              <a:gd name="connsiteY89" fmla="*/ 97900 h 1257266"/>
              <a:gd name="connsiteX90" fmla="*/ 1444471 w 5227821"/>
              <a:gd name="connsiteY90" fmla="*/ 101666 h 1257266"/>
              <a:gd name="connsiteX91" fmla="*/ 1380555 w 5227821"/>
              <a:gd name="connsiteY91" fmla="*/ 131789 h 1257266"/>
              <a:gd name="connsiteX92" fmla="*/ 1380555 w 5227821"/>
              <a:gd name="connsiteY92" fmla="*/ 112962 h 1257266"/>
              <a:gd name="connsiteX93" fmla="*/ 1369276 w 5227821"/>
              <a:gd name="connsiteY93" fmla="*/ 131789 h 1257266"/>
              <a:gd name="connsiteX94" fmla="*/ 1357997 w 5227821"/>
              <a:gd name="connsiteY94" fmla="*/ 131789 h 1257266"/>
              <a:gd name="connsiteX95" fmla="*/ 1354237 w 5227821"/>
              <a:gd name="connsiteY95" fmla="*/ 146851 h 1257266"/>
              <a:gd name="connsiteX96" fmla="*/ 1350478 w 5227821"/>
              <a:gd name="connsiteY96" fmla="*/ 139320 h 1257266"/>
              <a:gd name="connsiteX97" fmla="*/ 1327919 w 5227821"/>
              <a:gd name="connsiteY97" fmla="*/ 161912 h 1257266"/>
              <a:gd name="connsiteX98" fmla="*/ 1436952 w 5227821"/>
              <a:gd name="connsiteY98" fmla="*/ 173208 h 1257266"/>
              <a:gd name="connsiteX99" fmla="*/ 1459510 w 5227821"/>
              <a:gd name="connsiteY99" fmla="*/ 192035 h 1257266"/>
              <a:gd name="connsiteX100" fmla="*/ 1421913 w 5227821"/>
              <a:gd name="connsiteY100" fmla="*/ 207097 h 1257266"/>
              <a:gd name="connsiteX101" fmla="*/ 1451990 w 5227821"/>
              <a:gd name="connsiteY101" fmla="*/ 207097 h 1257266"/>
              <a:gd name="connsiteX102" fmla="*/ 1451990 w 5227821"/>
              <a:gd name="connsiteY102" fmla="*/ 210862 h 1257266"/>
              <a:gd name="connsiteX103" fmla="*/ 1512146 w 5227821"/>
              <a:gd name="connsiteY103" fmla="*/ 210862 h 1257266"/>
              <a:gd name="connsiteX104" fmla="*/ 1512146 w 5227821"/>
              <a:gd name="connsiteY104" fmla="*/ 214628 h 1257266"/>
              <a:gd name="connsiteX105" fmla="*/ 1534705 w 5227821"/>
              <a:gd name="connsiteY105" fmla="*/ 214628 h 1257266"/>
              <a:gd name="connsiteX106" fmla="*/ 1538464 w 5227821"/>
              <a:gd name="connsiteY106" fmla="*/ 210862 h 1257266"/>
              <a:gd name="connsiteX107" fmla="*/ 1538464 w 5227821"/>
              <a:gd name="connsiteY107" fmla="*/ 218393 h 1257266"/>
              <a:gd name="connsiteX108" fmla="*/ 1515906 w 5227821"/>
              <a:gd name="connsiteY108" fmla="*/ 225924 h 1257266"/>
              <a:gd name="connsiteX109" fmla="*/ 1549744 w 5227821"/>
              <a:gd name="connsiteY109" fmla="*/ 229689 h 1257266"/>
              <a:gd name="connsiteX110" fmla="*/ 1542224 w 5227821"/>
              <a:gd name="connsiteY110" fmla="*/ 237220 h 1257266"/>
              <a:gd name="connsiteX111" fmla="*/ 1722692 w 5227821"/>
              <a:gd name="connsiteY111" fmla="*/ 225924 h 1257266"/>
              <a:gd name="connsiteX112" fmla="*/ 1764049 w 5227821"/>
              <a:gd name="connsiteY112" fmla="*/ 218393 h 1257266"/>
              <a:gd name="connsiteX113" fmla="*/ 1801646 w 5227821"/>
              <a:gd name="connsiteY113" fmla="*/ 218393 h 1257266"/>
              <a:gd name="connsiteX114" fmla="*/ 1809166 w 5227821"/>
              <a:gd name="connsiteY114" fmla="*/ 214628 h 1257266"/>
              <a:gd name="connsiteX115" fmla="*/ 1940757 w 5227821"/>
              <a:gd name="connsiteY115" fmla="*/ 214628 h 1257266"/>
              <a:gd name="connsiteX116" fmla="*/ 2083627 w 5227821"/>
              <a:gd name="connsiteY116" fmla="*/ 203331 h 1257266"/>
              <a:gd name="connsiteX117" fmla="*/ 2124984 w 5227821"/>
              <a:gd name="connsiteY117" fmla="*/ 203331 h 1257266"/>
              <a:gd name="connsiteX118" fmla="*/ 2128744 w 5227821"/>
              <a:gd name="connsiteY118" fmla="*/ 199566 h 1257266"/>
              <a:gd name="connsiteX119" fmla="*/ 2117464 w 5227821"/>
              <a:gd name="connsiteY119" fmla="*/ 195801 h 1257266"/>
              <a:gd name="connsiteX120" fmla="*/ 2128744 w 5227821"/>
              <a:gd name="connsiteY120" fmla="*/ 192035 h 1257266"/>
              <a:gd name="connsiteX121" fmla="*/ 2121224 w 5227821"/>
              <a:gd name="connsiteY121" fmla="*/ 188270 h 1257266"/>
              <a:gd name="connsiteX122" fmla="*/ 2192659 w 5227821"/>
              <a:gd name="connsiteY122" fmla="*/ 184504 h 1257266"/>
              <a:gd name="connsiteX123" fmla="*/ 2196419 w 5227821"/>
              <a:gd name="connsiteY123" fmla="*/ 199566 h 1257266"/>
              <a:gd name="connsiteX124" fmla="*/ 2215218 w 5227821"/>
              <a:gd name="connsiteY124" fmla="*/ 195801 h 1257266"/>
              <a:gd name="connsiteX125" fmla="*/ 2203938 w 5227821"/>
              <a:gd name="connsiteY125" fmla="*/ 188270 h 1257266"/>
              <a:gd name="connsiteX126" fmla="*/ 2271614 w 5227821"/>
              <a:gd name="connsiteY126" fmla="*/ 188270 h 1257266"/>
              <a:gd name="connsiteX127" fmla="*/ 2395685 w 5227821"/>
              <a:gd name="connsiteY127" fmla="*/ 184504 h 1257266"/>
              <a:gd name="connsiteX128" fmla="*/ 2422003 w 5227821"/>
              <a:gd name="connsiteY128" fmla="*/ 169443 h 1257266"/>
              <a:gd name="connsiteX129" fmla="*/ 2564873 w 5227821"/>
              <a:gd name="connsiteY129" fmla="*/ 180739 h 1257266"/>
              <a:gd name="connsiteX130" fmla="*/ 2737821 w 5227821"/>
              <a:gd name="connsiteY130" fmla="*/ 176974 h 1257266"/>
              <a:gd name="connsiteX131" fmla="*/ 2737821 w 5227821"/>
              <a:gd name="connsiteY131" fmla="*/ 169443 h 1257266"/>
              <a:gd name="connsiteX132" fmla="*/ 2794217 w 5227821"/>
              <a:gd name="connsiteY132" fmla="*/ 176974 h 1257266"/>
              <a:gd name="connsiteX133" fmla="*/ 2805496 w 5227821"/>
              <a:gd name="connsiteY133" fmla="*/ 169443 h 1257266"/>
              <a:gd name="connsiteX134" fmla="*/ 3568723 w 5227821"/>
              <a:gd name="connsiteY134" fmla="*/ 165678 h 1257266"/>
              <a:gd name="connsiteX135" fmla="*/ 3673996 w 5227821"/>
              <a:gd name="connsiteY135" fmla="*/ 158147 h 1257266"/>
              <a:gd name="connsiteX136" fmla="*/ 3719113 w 5227821"/>
              <a:gd name="connsiteY136" fmla="*/ 161912 h 1257266"/>
              <a:gd name="connsiteX137" fmla="*/ 3880782 w 5227821"/>
              <a:gd name="connsiteY137" fmla="*/ 150616 h 1257266"/>
              <a:gd name="connsiteX138" fmla="*/ 3869503 w 5227821"/>
              <a:gd name="connsiteY138" fmla="*/ 161912 h 1257266"/>
              <a:gd name="connsiteX139" fmla="*/ 3922139 w 5227821"/>
              <a:gd name="connsiteY139" fmla="*/ 169443 h 1257266"/>
              <a:gd name="connsiteX140" fmla="*/ 4046210 w 5227821"/>
              <a:gd name="connsiteY140" fmla="*/ 165678 h 1257266"/>
              <a:gd name="connsiteX141" fmla="*/ 4083807 w 5227821"/>
              <a:gd name="connsiteY141" fmla="*/ 165678 h 1257266"/>
              <a:gd name="connsiteX142" fmla="*/ 4083807 w 5227821"/>
              <a:gd name="connsiteY142" fmla="*/ 169443 h 1257266"/>
              <a:gd name="connsiteX143" fmla="*/ 4181561 w 5227821"/>
              <a:gd name="connsiteY143" fmla="*/ 173208 h 1257266"/>
              <a:gd name="connsiteX144" fmla="*/ 4264275 w 5227821"/>
              <a:gd name="connsiteY144" fmla="*/ 173208 h 1257266"/>
              <a:gd name="connsiteX145" fmla="*/ 4316911 w 5227821"/>
              <a:gd name="connsiteY145" fmla="*/ 184504 h 1257266"/>
              <a:gd name="connsiteX146" fmla="*/ 4440983 w 5227821"/>
              <a:gd name="connsiteY146" fmla="*/ 184504 h 1257266"/>
              <a:gd name="connsiteX147" fmla="*/ 4433463 w 5227821"/>
              <a:gd name="connsiteY147" fmla="*/ 192035 h 1257266"/>
              <a:gd name="connsiteX148" fmla="*/ 4512418 w 5227821"/>
              <a:gd name="connsiteY148" fmla="*/ 199566 h 1257266"/>
              <a:gd name="connsiteX149" fmla="*/ 4550015 w 5227821"/>
              <a:gd name="connsiteY149" fmla="*/ 203331 h 1257266"/>
              <a:gd name="connsiteX150" fmla="*/ 4557535 w 5227821"/>
              <a:gd name="connsiteY150" fmla="*/ 199566 h 1257266"/>
              <a:gd name="connsiteX151" fmla="*/ 4568814 w 5227821"/>
              <a:gd name="connsiteY151" fmla="*/ 207097 h 1257266"/>
              <a:gd name="connsiteX152" fmla="*/ 4644009 w 5227821"/>
              <a:gd name="connsiteY152" fmla="*/ 233455 h 1257266"/>
              <a:gd name="connsiteX153" fmla="*/ 4775599 w 5227821"/>
              <a:gd name="connsiteY153" fmla="*/ 237220 h 1257266"/>
              <a:gd name="connsiteX154" fmla="*/ 4828236 w 5227821"/>
              <a:gd name="connsiteY154" fmla="*/ 199566 h 1257266"/>
              <a:gd name="connsiteX155" fmla="*/ 4783119 w 5227821"/>
              <a:gd name="connsiteY155" fmla="*/ 188270 h 1257266"/>
              <a:gd name="connsiteX156" fmla="*/ 4828236 w 5227821"/>
              <a:gd name="connsiteY156" fmla="*/ 195801 h 1257266"/>
              <a:gd name="connsiteX157" fmla="*/ 4850795 w 5227821"/>
              <a:gd name="connsiteY157" fmla="*/ 180739 h 1257266"/>
              <a:gd name="connsiteX158" fmla="*/ 4794399 w 5227821"/>
              <a:gd name="connsiteY158" fmla="*/ 150616 h 1257266"/>
              <a:gd name="connsiteX159" fmla="*/ 4813197 w 5227821"/>
              <a:gd name="connsiteY159" fmla="*/ 143085 h 1257266"/>
              <a:gd name="connsiteX160" fmla="*/ 4738002 w 5227821"/>
              <a:gd name="connsiteY160" fmla="*/ 135554 h 1257266"/>
              <a:gd name="connsiteX161" fmla="*/ 4677847 w 5227821"/>
              <a:gd name="connsiteY161" fmla="*/ 139320 h 1257266"/>
              <a:gd name="connsiteX162" fmla="*/ 4644009 w 5227821"/>
              <a:gd name="connsiteY162" fmla="*/ 116727 h 1257266"/>
              <a:gd name="connsiteX163" fmla="*/ 4516177 w 5227821"/>
              <a:gd name="connsiteY163" fmla="*/ 109197 h 1257266"/>
              <a:gd name="connsiteX164" fmla="*/ 4444743 w 5227821"/>
              <a:gd name="connsiteY164" fmla="*/ 90370 h 1257266"/>
              <a:gd name="connsiteX165" fmla="*/ 4380827 w 5227821"/>
              <a:gd name="connsiteY165" fmla="*/ 82839 h 1257266"/>
              <a:gd name="connsiteX166" fmla="*/ 4365788 w 5227821"/>
              <a:gd name="connsiteY166" fmla="*/ 90370 h 1257266"/>
              <a:gd name="connsiteX167" fmla="*/ 4354509 w 5227821"/>
              <a:gd name="connsiteY167" fmla="*/ 86604 h 1257266"/>
              <a:gd name="connsiteX168" fmla="*/ 4331951 w 5227821"/>
              <a:gd name="connsiteY168" fmla="*/ 82839 h 1257266"/>
              <a:gd name="connsiteX169" fmla="*/ 4335710 w 5227821"/>
              <a:gd name="connsiteY169" fmla="*/ 67777 h 1257266"/>
              <a:gd name="connsiteX170" fmla="*/ 4474821 w 5227821"/>
              <a:gd name="connsiteY170" fmla="*/ 79073 h 1257266"/>
              <a:gd name="connsiteX171" fmla="*/ 4561295 w 5227821"/>
              <a:gd name="connsiteY171" fmla="*/ 90370 h 1257266"/>
              <a:gd name="connsiteX172" fmla="*/ 4681606 w 5227821"/>
              <a:gd name="connsiteY172" fmla="*/ 94135 h 1257266"/>
              <a:gd name="connsiteX173" fmla="*/ 4685366 w 5227821"/>
              <a:gd name="connsiteY173" fmla="*/ 97900 h 1257266"/>
              <a:gd name="connsiteX174" fmla="*/ 4801918 w 5227821"/>
              <a:gd name="connsiteY174" fmla="*/ 109197 h 1257266"/>
              <a:gd name="connsiteX175" fmla="*/ 4809437 w 5227821"/>
              <a:gd name="connsiteY175" fmla="*/ 112962 h 1257266"/>
              <a:gd name="connsiteX176" fmla="*/ 4824476 w 5227821"/>
              <a:gd name="connsiteY176" fmla="*/ 105431 h 1257266"/>
              <a:gd name="connsiteX177" fmla="*/ 4828236 w 5227821"/>
              <a:gd name="connsiteY177" fmla="*/ 109197 h 1257266"/>
              <a:gd name="connsiteX178" fmla="*/ 4805677 w 5227821"/>
              <a:gd name="connsiteY178" fmla="*/ 124258 h 1257266"/>
              <a:gd name="connsiteX179" fmla="*/ 4903431 w 5227821"/>
              <a:gd name="connsiteY179" fmla="*/ 124258 h 1257266"/>
              <a:gd name="connsiteX180" fmla="*/ 4925989 w 5227821"/>
              <a:gd name="connsiteY180" fmla="*/ 143085 h 1257266"/>
              <a:gd name="connsiteX181" fmla="*/ 4941028 w 5227821"/>
              <a:gd name="connsiteY181" fmla="*/ 143085 h 1257266"/>
              <a:gd name="connsiteX182" fmla="*/ 4922229 w 5227821"/>
              <a:gd name="connsiteY182" fmla="*/ 109197 h 1257266"/>
              <a:gd name="connsiteX183" fmla="*/ 4956067 w 5227821"/>
              <a:gd name="connsiteY183" fmla="*/ 97900 h 1257266"/>
              <a:gd name="connsiteX184" fmla="*/ 4959827 w 5227821"/>
              <a:gd name="connsiteY184" fmla="*/ 94135 h 1257266"/>
              <a:gd name="connsiteX185" fmla="*/ 4922229 w 5227821"/>
              <a:gd name="connsiteY185" fmla="*/ 97900 h 1257266"/>
              <a:gd name="connsiteX186" fmla="*/ 4903431 w 5227821"/>
              <a:gd name="connsiteY186" fmla="*/ 86604 h 1257266"/>
              <a:gd name="connsiteX187" fmla="*/ 4933509 w 5227821"/>
              <a:gd name="connsiteY187" fmla="*/ 75308 h 1257266"/>
              <a:gd name="connsiteX188" fmla="*/ 4929749 w 5227821"/>
              <a:gd name="connsiteY188" fmla="*/ 71543 h 1257266"/>
              <a:gd name="connsiteX189" fmla="*/ 5068859 w 5227821"/>
              <a:gd name="connsiteY189" fmla="*/ 79073 h 1257266"/>
              <a:gd name="connsiteX190" fmla="*/ 5061339 w 5227821"/>
              <a:gd name="connsiteY190" fmla="*/ 75308 h 1257266"/>
              <a:gd name="connsiteX191" fmla="*/ 5132775 w 5227821"/>
              <a:gd name="connsiteY191" fmla="*/ 75308 h 1257266"/>
              <a:gd name="connsiteX192" fmla="*/ 5136535 w 5227821"/>
              <a:gd name="connsiteY192" fmla="*/ 71543 h 1257266"/>
              <a:gd name="connsiteX193" fmla="*/ 5087658 w 5227821"/>
              <a:gd name="connsiteY193" fmla="*/ 71543 h 1257266"/>
              <a:gd name="connsiteX194" fmla="*/ 5189171 w 5227821"/>
              <a:gd name="connsiteY194" fmla="*/ 52716 h 1257266"/>
              <a:gd name="connsiteX195" fmla="*/ 5095177 w 5227821"/>
              <a:gd name="connsiteY195" fmla="*/ 101666 h 1257266"/>
              <a:gd name="connsiteX196" fmla="*/ 5065099 w 5227821"/>
              <a:gd name="connsiteY196" fmla="*/ 131789 h 1257266"/>
              <a:gd name="connsiteX197" fmla="*/ 4971106 w 5227821"/>
              <a:gd name="connsiteY197" fmla="*/ 161912 h 1257266"/>
              <a:gd name="connsiteX198" fmla="*/ 5035021 w 5227821"/>
              <a:gd name="connsiteY198" fmla="*/ 165678 h 1257266"/>
              <a:gd name="connsiteX199" fmla="*/ 5023743 w 5227821"/>
              <a:gd name="connsiteY199" fmla="*/ 184504 h 1257266"/>
              <a:gd name="connsiteX200" fmla="*/ 4869593 w 5227821"/>
              <a:gd name="connsiteY200" fmla="*/ 263578 h 1257266"/>
              <a:gd name="connsiteX201" fmla="*/ 4884632 w 5227821"/>
              <a:gd name="connsiteY201" fmla="*/ 267343 h 1257266"/>
              <a:gd name="connsiteX202" fmla="*/ 4798158 w 5227821"/>
              <a:gd name="connsiteY202" fmla="*/ 312528 h 1257266"/>
              <a:gd name="connsiteX203" fmla="*/ 4809437 w 5227821"/>
              <a:gd name="connsiteY203" fmla="*/ 316293 h 1257266"/>
              <a:gd name="connsiteX204" fmla="*/ 4783119 w 5227821"/>
              <a:gd name="connsiteY204" fmla="*/ 327589 h 1257266"/>
              <a:gd name="connsiteX205" fmla="*/ 4783119 w 5227821"/>
              <a:gd name="connsiteY205" fmla="*/ 304997 h 1257266"/>
              <a:gd name="connsiteX206" fmla="*/ 4760561 w 5227821"/>
              <a:gd name="connsiteY206" fmla="*/ 335120 h 1257266"/>
              <a:gd name="connsiteX207" fmla="*/ 4801918 w 5227821"/>
              <a:gd name="connsiteY207" fmla="*/ 342651 h 1257266"/>
              <a:gd name="connsiteX208" fmla="*/ 4801918 w 5227821"/>
              <a:gd name="connsiteY208" fmla="*/ 350182 h 1257266"/>
              <a:gd name="connsiteX209" fmla="*/ 4820717 w 5227821"/>
              <a:gd name="connsiteY209" fmla="*/ 346416 h 1257266"/>
              <a:gd name="connsiteX210" fmla="*/ 4816957 w 5227821"/>
              <a:gd name="connsiteY210" fmla="*/ 342651 h 1257266"/>
              <a:gd name="connsiteX211" fmla="*/ 4850795 w 5227821"/>
              <a:gd name="connsiteY211" fmla="*/ 342651 h 1257266"/>
              <a:gd name="connsiteX212" fmla="*/ 4850795 w 5227821"/>
              <a:gd name="connsiteY212" fmla="*/ 331355 h 1257266"/>
              <a:gd name="connsiteX213" fmla="*/ 4910950 w 5227821"/>
              <a:gd name="connsiteY213" fmla="*/ 323824 h 1257266"/>
              <a:gd name="connsiteX214" fmla="*/ 4918469 w 5227821"/>
              <a:gd name="connsiteY214" fmla="*/ 293701 h 1257266"/>
              <a:gd name="connsiteX215" fmla="*/ 4937269 w 5227821"/>
              <a:gd name="connsiteY215" fmla="*/ 278639 h 1257266"/>
              <a:gd name="connsiteX216" fmla="*/ 4941028 w 5227821"/>
              <a:gd name="connsiteY216" fmla="*/ 278639 h 1257266"/>
              <a:gd name="connsiteX217" fmla="*/ 4997424 w 5227821"/>
              <a:gd name="connsiteY217" fmla="*/ 256047 h 1257266"/>
              <a:gd name="connsiteX218" fmla="*/ 5042541 w 5227821"/>
              <a:gd name="connsiteY218" fmla="*/ 263578 h 1257266"/>
              <a:gd name="connsiteX219" fmla="*/ 5027502 w 5227821"/>
              <a:gd name="connsiteY219" fmla="*/ 278639 h 1257266"/>
              <a:gd name="connsiteX220" fmla="*/ 5061339 w 5227821"/>
              <a:gd name="connsiteY220" fmla="*/ 278639 h 1257266"/>
              <a:gd name="connsiteX221" fmla="*/ 5019983 w 5227821"/>
              <a:gd name="connsiteY221" fmla="*/ 323824 h 1257266"/>
              <a:gd name="connsiteX222" fmla="*/ 5012463 w 5227821"/>
              <a:gd name="connsiteY222" fmla="*/ 342651 h 1257266"/>
              <a:gd name="connsiteX223" fmla="*/ 5001184 w 5227821"/>
              <a:gd name="connsiteY223" fmla="*/ 335120 h 1257266"/>
              <a:gd name="connsiteX224" fmla="*/ 5001184 w 5227821"/>
              <a:gd name="connsiteY224" fmla="*/ 327589 h 1257266"/>
              <a:gd name="connsiteX225" fmla="*/ 4986145 w 5227821"/>
              <a:gd name="connsiteY225" fmla="*/ 335120 h 1257266"/>
              <a:gd name="connsiteX226" fmla="*/ 4978625 w 5227821"/>
              <a:gd name="connsiteY226" fmla="*/ 335120 h 1257266"/>
              <a:gd name="connsiteX227" fmla="*/ 4993665 w 5227821"/>
              <a:gd name="connsiteY227" fmla="*/ 301232 h 1257266"/>
              <a:gd name="connsiteX228" fmla="*/ 5008703 w 5227821"/>
              <a:gd name="connsiteY228" fmla="*/ 297466 h 1257266"/>
              <a:gd name="connsiteX229" fmla="*/ 5012463 w 5227821"/>
              <a:gd name="connsiteY229" fmla="*/ 286170 h 1257266"/>
              <a:gd name="connsiteX230" fmla="*/ 5027502 w 5227821"/>
              <a:gd name="connsiteY230" fmla="*/ 282405 h 1257266"/>
              <a:gd name="connsiteX231" fmla="*/ 4982385 w 5227821"/>
              <a:gd name="connsiteY231" fmla="*/ 286170 h 1257266"/>
              <a:gd name="connsiteX232" fmla="*/ 4888392 w 5227821"/>
              <a:gd name="connsiteY232" fmla="*/ 353947 h 1257266"/>
              <a:gd name="connsiteX233" fmla="*/ 4884632 w 5227821"/>
              <a:gd name="connsiteY233" fmla="*/ 365243 h 1257266"/>
              <a:gd name="connsiteX234" fmla="*/ 4869593 w 5227821"/>
              <a:gd name="connsiteY234" fmla="*/ 369009 h 1257266"/>
              <a:gd name="connsiteX235" fmla="*/ 4880873 w 5227821"/>
              <a:gd name="connsiteY235" fmla="*/ 380305 h 1257266"/>
              <a:gd name="connsiteX236" fmla="*/ 4865833 w 5227821"/>
              <a:gd name="connsiteY236" fmla="*/ 387836 h 1257266"/>
              <a:gd name="connsiteX237" fmla="*/ 4903431 w 5227821"/>
              <a:gd name="connsiteY237" fmla="*/ 391601 h 1257266"/>
              <a:gd name="connsiteX238" fmla="*/ 4929749 w 5227821"/>
              <a:gd name="connsiteY238" fmla="*/ 384070 h 1257266"/>
              <a:gd name="connsiteX239" fmla="*/ 4918469 w 5227821"/>
              <a:gd name="connsiteY239" fmla="*/ 395366 h 1257266"/>
              <a:gd name="connsiteX240" fmla="*/ 4925989 w 5227821"/>
              <a:gd name="connsiteY240" fmla="*/ 399132 h 1257266"/>
              <a:gd name="connsiteX241" fmla="*/ 4971106 w 5227821"/>
              <a:gd name="connsiteY241" fmla="*/ 380305 h 1257266"/>
              <a:gd name="connsiteX242" fmla="*/ 4967347 w 5227821"/>
              <a:gd name="connsiteY242" fmla="*/ 429255 h 1257266"/>
              <a:gd name="connsiteX243" fmla="*/ 5001184 w 5227821"/>
              <a:gd name="connsiteY243" fmla="*/ 391601 h 1257266"/>
              <a:gd name="connsiteX244" fmla="*/ 5012463 w 5227821"/>
              <a:gd name="connsiteY244" fmla="*/ 391601 h 1257266"/>
              <a:gd name="connsiteX245" fmla="*/ 4974865 w 5227821"/>
              <a:gd name="connsiteY245" fmla="*/ 466909 h 1257266"/>
              <a:gd name="connsiteX246" fmla="*/ 4971106 w 5227821"/>
              <a:gd name="connsiteY246" fmla="*/ 466909 h 1257266"/>
              <a:gd name="connsiteX247" fmla="*/ 4963587 w 5227821"/>
              <a:gd name="connsiteY247" fmla="*/ 470674 h 1257266"/>
              <a:gd name="connsiteX248" fmla="*/ 4952307 w 5227821"/>
              <a:gd name="connsiteY248" fmla="*/ 470674 h 1257266"/>
              <a:gd name="connsiteX249" fmla="*/ 4929749 w 5227821"/>
              <a:gd name="connsiteY249" fmla="*/ 474440 h 1257266"/>
              <a:gd name="connsiteX250" fmla="*/ 4952307 w 5227821"/>
              <a:gd name="connsiteY250" fmla="*/ 470674 h 1257266"/>
              <a:gd name="connsiteX251" fmla="*/ 4963587 w 5227821"/>
              <a:gd name="connsiteY251" fmla="*/ 470674 h 1257266"/>
              <a:gd name="connsiteX252" fmla="*/ 4967347 w 5227821"/>
              <a:gd name="connsiteY252" fmla="*/ 470674 h 1257266"/>
              <a:gd name="connsiteX253" fmla="*/ 4944788 w 5227821"/>
              <a:gd name="connsiteY253" fmla="*/ 481970 h 1257266"/>
              <a:gd name="connsiteX254" fmla="*/ 4959827 w 5227821"/>
              <a:gd name="connsiteY254" fmla="*/ 485736 h 1257266"/>
              <a:gd name="connsiteX255" fmla="*/ 4974865 w 5227821"/>
              <a:gd name="connsiteY255" fmla="*/ 474440 h 1257266"/>
              <a:gd name="connsiteX256" fmla="*/ 4978625 w 5227821"/>
              <a:gd name="connsiteY256" fmla="*/ 478205 h 1257266"/>
              <a:gd name="connsiteX257" fmla="*/ 4993665 w 5227821"/>
              <a:gd name="connsiteY257" fmla="*/ 455613 h 1257266"/>
              <a:gd name="connsiteX258" fmla="*/ 5004943 w 5227821"/>
              <a:gd name="connsiteY258" fmla="*/ 455613 h 1257266"/>
              <a:gd name="connsiteX259" fmla="*/ 5019983 w 5227821"/>
              <a:gd name="connsiteY259" fmla="*/ 497032 h 1257266"/>
              <a:gd name="connsiteX260" fmla="*/ 5046301 w 5227821"/>
              <a:gd name="connsiteY260" fmla="*/ 466909 h 1257266"/>
              <a:gd name="connsiteX261" fmla="*/ 5042541 w 5227821"/>
              <a:gd name="connsiteY261" fmla="*/ 451847 h 1257266"/>
              <a:gd name="connsiteX262" fmla="*/ 5065099 w 5227821"/>
              <a:gd name="connsiteY262" fmla="*/ 448082 h 1257266"/>
              <a:gd name="connsiteX263" fmla="*/ 5065099 w 5227821"/>
              <a:gd name="connsiteY263" fmla="*/ 474440 h 1257266"/>
              <a:gd name="connsiteX264" fmla="*/ 5080139 w 5227821"/>
              <a:gd name="connsiteY264" fmla="*/ 470674 h 1257266"/>
              <a:gd name="connsiteX265" fmla="*/ 5095177 w 5227821"/>
              <a:gd name="connsiteY265" fmla="*/ 497032 h 1257266"/>
              <a:gd name="connsiteX266" fmla="*/ 5072619 w 5227821"/>
              <a:gd name="connsiteY266" fmla="*/ 500797 h 1257266"/>
              <a:gd name="connsiteX267" fmla="*/ 5053821 w 5227821"/>
              <a:gd name="connsiteY267" fmla="*/ 493267 h 1257266"/>
              <a:gd name="connsiteX268" fmla="*/ 5019983 w 5227821"/>
              <a:gd name="connsiteY268" fmla="*/ 504563 h 1257266"/>
              <a:gd name="connsiteX269" fmla="*/ 5038781 w 5227821"/>
              <a:gd name="connsiteY269" fmla="*/ 504563 h 1257266"/>
              <a:gd name="connsiteX270" fmla="*/ 5035021 w 5227821"/>
              <a:gd name="connsiteY270" fmla="*/ 508328 h 1257266"/>
              <a:gd name="connsiteX271" fmla="*/ 5102697 w 5227821"/>
              <a:gd name="connsiteY271" fmla="*/ 508328 h 1257266"/>
              <a:gd name="connsiteX272" fmla="*/ 5110217 w 5227821"/>
              <a:gd name="connsiteY272" fmla="*/ 512094 h 1257266"/>
              <a:gd name="connsiteX273" fmla="*/ 5113976 w 5227821"/>
              <a:gd name="connsiteY273" fmla="*/ 508328 h 1257266"/>
              <a:gd name="connsiteX274" fmla="*/ 5125255 w 5227821"/>
              <a:gd name="connsiteY274" fmla="*/ 504563 h 1257266"/>
              <a:gd name="connsiteX275" fmla="*/ 5113976 w 5227821"/>
              <a:gd name="connsiteY275" fmla="*/ 504563 h 1257266"/>
              <a:gd name="connsiteX276" fmla="*/ 5117736 w 5227821"/>
              <a:gd name="connsiteY276" fmla="*/ 485736 h 1257266"/>
              <a:gd name="connsiteX277" fmla="*/ 5113976 w 5227821"/>
              <a:gd name="connsiteY277" fmla="*/ 444317 h 1257266"/>
              <a:gd name="connsiteX278" fmla="*/ 5159093 w 5227821"/>
              <a:gd name="connsiteY278" fmla="*/ 489501 h 1257266"/>
              <a:gd name="connsiteX279" fmla="*/ 5162853 w 5227821"/>
              <a:gd name="connsiteY279" fmla="*/ 485736 h 1257266"/>
              <a:gd name="connsiteX280" fmla="*/ 5170372 w 5227821"/>
              <a:gd name="connsiteY280" fmla="*/ 489501 h 1257266"/>
              <a:gd name="connsiteX281" fmla="*/ 5170372 w 5227821"/>
              <a:gd name="connsiteY281" fmla="*/ 519624 h 1257266"/>
              <a:gd name="connsiteX282" fmla="*/ 5162853 w 5227821"/>
              <a:gd name="connsiteY282" fmla="*/ 508328 h 1257266"/>
              <a:gd name="connsiteX283" fmla="*/ 5144054 w 5227821"/>
              <a:gd name="connsiteY283" fmla="*/ 549748 h 1257266"/>
              <a:gd name="connsiteX284" fmla="*/ 5110217 w 5227821"/>
              <a:gd name="connsiteY284" fmla="*/ 564809 h 1257266"/>
              <a:gd name="connsiteX285" fmla="*/ 5129015 w 5227821"/>
              <a:gd name="connsiteY285" fmla="*/ 606228 h 1257266"/>
              <a:gd name="connsiteX286" fmla="*/ 5159093 w 5227821"/>
              <a:gd name="connsiteY286" fmla="*/ 591167 h 1257266"/>
              <a:gd name="connsiteX287" fmla="*/ 5129015 w 5227821"/>
              <a:gd name="connsiteY287" fmla="*/ 617524 h 1257266"/>
              <a:gd name="connsiteX288" fmla="*/ 5136535 w 5227821"/>
              <a:gd name="connsiteY288" fmla="*/ 681536 h 1257266"/>
              <a:gd name="connsiteX289" fmla="*/ 5159093 w 5227821"/>
              <a:gd name="connsiteY289" fmla="*/ 692832 h 1257266"/>
              <a:gd name="connsiteX290" fmla="*/ 5207969 w 5227821"/>
              <a:gd name="connsiteY290" fmla="*/ 670240 h 1257266"/>
              <a:gd name="connsiteX291" fmla="*/ 5215489 w 5227821"/>
              <a:gd name="connsiteY291" fmla="*/ 674005 h 1257266"/>
              <a:gd name="connsiteX292" fmla="*/ 5223009 w 5227821"/>
              <a:gd name="connsiteY292" fmla="*/ 670240 h 1257266"/>
              <a:gd name="connsiteX293" fmla="*/ 5226769 w 5227821"/>
              <a:gd name="connsiteY293" fmla="*/ 704128 h 1257266"/>
              <a:gd name="connsiteX294" fmla="*/ 5129015 w 5227821"/>
              <a:gd name="connsiteY294" fmla="*/ 745548 h 1257266"/>
              <a:gd name="connsiteX295" fmla="*/ 5113976 w 5227821"/>
              <a:gd name="connsiteY295" fmla="*/ 745548 h 1257266"/>
              <a:gd name="connsiteX296" fmla="*/ 5117736 w 5227821"/>
              <a:gd name="connsiteY296" fmla="*/ 741782 h 1257266"/>
              <a:gd name="connsiteX297" fmla="*/ 5095177 w 5227821"/>
              <a:gd name="connsiteY297" fmla="*/ 741782 h 1257266"/>
              <a:gd name="connsiteX298" fmla="*/ 5038781 w 5227821"/>
              <a:gd name="connsiteY298" fmla="*/ 749313 h 1257266"/>
              <a:gd name="connsiteX299" fmla="*/ 5117736 w 5227821"/>
              <a:gd name="connsiteY299" fmla="*/ 756844 h 1257266"/>
              <a:gd name="connsiteX300" fmla="*/ 5016223 w 5227821"/>
              <a:gd name="connsiteY300" fmla="*/ 775671 h 1257266"/>
              <a:gd name="connsiteX301" fmla="*/ 4933509 w 5227821"/>
              <a:gd name="connsiteY301" fmla="*/ 768140 h 1257266"/>
              <a:gd name="connsiteX302" fmla="*/ 4892151 w 5227821"/>
              <a:gd name="connsiteY302" fmla="*/ 790732 h 1257266"/>
              <a:gd name="connsiteX303" fmla="*/ 4888392 w 5227821"/>
              <a:gd name="connsiteY303" fmla="*/ 786967 h 1257266"/>
              <a:gd name="connsiteX304" fmla="*/ 4869593 w 5227821"/>
              <a:gd name="connsiteY304" fmla="*/ 809559 h 1257266"/>
              <a:gd name="connsiteX305" fmla="*/ 4873353 w 5227821"/>
              <a:gd name="connsiteY305" fmla="*/ 813325 h 1257266"/>
              <a:gd name="connsiteX306" fmla="*/ 4831995 w 5227821"/>
              <a:gd name="connsiteY306" fmla="*/ 805794 h 1257266"/>
              <a:gd name="connsiteX307" fmla="*/ 4771840 w 5227821"/>
              <a:gd name="connsiteY307" fmla="*/ 820856 h 1257266"/>
              <a:gd name="connsiteX308" fmla="*/ 4764275 w 5227821"/>
              <a:gd name="connsiteY308" fmla="*/ 817267 h 1257266"/>
              <a:gd name="connsiteX309" fmla="*/ 4765000 w 5227821"/>
              <a:gd name="connsiteY309" fmla="*/ 823531 h 1257266"/>
              <a:gd name="connsiteX310" fmla="*/ 4797427 w 5227821"/>
              <a:gd name="connsiteY310" fmla="*/ 839063 h 1257266"/>
              <a:gd name="connsiteX311" fmla="*/ 4801187 w 5227821"/>
              <a:gd name="connsiteY311" fmla="*/ 835298 h 1257266"/>
              <a:gd name="connsiteX312" fmla="*/ 4808706 w 5227821"/>
              <a:gd name="connsiteY312" fmla="*/ 839063 h 1257266"/>
              <a:gd name="connsiteX313" fmla="*/ 4808706 w 5227821"/>
              <a:gd name="connsiteY313" fmla="*/ 869186 h 1257266"/>
              <a:gd name="connsiteX314" fmla="*/ 4801187 w 5227821"/>
              <a:gd name="connsiteY314" fmla="*/ 857890 h 1257266"/>
              <a:gd name="connsiteX315" fmla="*/ 4782388 w 5227821"/>
              <a:gd name="connsiteY315" fmla="*/ 899309 h 1257266"/>
              <a:gd name="connsiteX316" fmla="*/ 4748551 w 5227821"/>
              <a:gd name="connsiteY316" fmla="*/ 914371 h 1257266"/>
              <a:gd name="connsiteX317" fmla="*/ 4767349 w 5227821"/>
              <a:gd name="connsiteY317" fmla="*/ 955790 h 1257266"/>
              <a:gd name="connsiteX318" fmla="*/ 4797427 w 5227821"/>
              <a:gd name="connsiteY318" fmla="*/ 940729 h 1257266"/>
              <a:gd name="connsiteX319" fmla="*/ 4767349 w 5227821"/>
              <a:gd name="connsiteY319" fmla="*/ 967086 h 1257266"/>
              <a:gd name="connsiteX320" fmla="*/ 4774869 w 5227821"/>
              <a:gd name="connsiteY320" fmla="*/ 1031098 h 1257266"/>
              <a:gd name="connsiteX321" fmla="*/ 4797427 w 5227821"/>
              <a:gd name="connsiteY321" fmla="*/ 1042394 h 1257266"/>
              <a:gd name="connsiteX322" fmla="*/ 4846303 w 5227821"/>
              <a:gd name="connsiteY322" fmla="*/ 1019802 h 1257266"/>
              <a:gd name="connsiteX323" fmla="*/ 4853823 w 5227821"/>
              <a:gd name="connsiteY323" fmla="*/ 1023567 h 1257266"/>
              <a:gd name="connsiteX324" fmla="*/ 4861343 w 5227821"/>
              <a:gd name="connsiteY324" fmla="*/ 1019802 h 1257266"/>
              <a:gd name="connsiteX325" fmla="*/ 4865103 w 5227821"/>
              <a:gd name="connsiteY325" fmla="*/ 1053690 h 1257266"/>
              <a:gd name="connsiteX326" fmla="*/ 4767349 w 5227821"/>
              <a:gd name="connsiteY326" fmla="*/ 1095110 h 1257266"/>
              <a:gd name="connsiteX327" fmla="*/ 4752310 w 5227821"/>
              <a:gd name="connsiteY327" fmla="*/ 1095110 h 1257266"/>
              <a:gd name="connsiteX328" fmla="*/ 4756070 w 5227821"/>
              <a:gd name="connsiteY328" fmla="*/ 1091344 h 1257266"/>
              <a:gd name="connsiteX329" fmla="*/ 4733511 w 5227821"/>
              <a:gd name="connsiteY329" fmla="*/ 1091344 h 1257266"/>
              <a:gd name="connsiteX330" fmla="*/ 4677115 w 5227821"/>
              <a:gd name="connsiteY330" fmla="*/ 1098875 h 1257266"/>
              <a:gd name="connsiteX331" fmla="*/ 4756070 w 5227821"/>
              <a:gd name="connsiteY331" fmla="*/ 1106406 h 1257266"/>
              <a:gd name="connsiteX332" fmla="*/ 4654557 w 5227821"/>
              <a:gd name="connsiteY332" fmla="*/ 1125233 h 1257266"/>
              <a:gd name="connsiteX333" fmla="*/ 4571843 w 5227821"/>
              <a:gd name="connsiteY333" fmla="*/ 1117702 h 1257266"/>
              <a:gd name="connsiteX334" fmla="*/ 4530485 w 5227821"/>
              <a:gd name="connsiteY334" fmla="*/ 1140294 h 1257266"/>
              <a:gd name="connsiteX335" fmla="*/ 4526726 w 5227821"/>
              <a:gd name="connsiteY335" fmla="*/ 1136529 h 1257266"/>
              <a:gd name="connsiteX336" fmla="*/ 4507927 w 5227821"/>
              <a:gd name="connsiteY336" fmla="*/ 1159121 h 1257266"/>
              <a:gd name="connsiteX337" fmla="*/ 4511687 w 5227821"/>
              <a:gd name="connsiteY337" fmla="*/ 1162887 h 1257266"/>
              <a:gd name="connsiteX338" fmla="*/ 4470329 w 5227821"/>
              <a:gd name="connsiteY338" fmla="*/ 1155356 h 1257266"/>
              <a:gd name="connsiteX339" fmla="*/ 4410174 w 5227821"/>
              <a:gd name="connsiteY339" fmla="*/ 1170418 h 1257266"/>
              <a:gd name="connsiteX340" fmla="*/ 4406414 w 5227821"/>
              <a:gd name="connsiteY340" fmla="*/ 1159121 h 1257266"/>
              <a:gd name="connsiteX341" fmla="*/ 4342499 w 5227821"/>
              <a:gd name="connsiteY341" fmla="*/ 1159121 h 1257266"/>
              <a:gd name="connsiteX342" fmla="*/ 4350018 w 5227821"/>
              <a:gd name="connsiteY342" fmla="*/ 1166652 h 1257266"/>
              <a:gd name="connsiteX343" fmla="*/ 4282343 w 5227821"/>
              <a:gd name="connsiteY343" fmla="*/ 1170418 h 1257266"/>
              <a:gd name="connsiteX344" fmla="*/ 4297381 w 5227821"/>
              <a:gd name="connsiteY344" fmla="*/ 1177948 h 1257266"/>
              <a:gd name="connsiteX345" fmla="*/ 4229707 w 5227821"/>
              <a:gd name="connsiteY345" fmla="*/ 1177948 h 1257266"/>
              <a:gd name="connsiteX346" fmla="*/ 4146992 w 5227821"/>
              <a:gd name="connsiteY346" fmla="*/ 1200541 h 1257266"/>
              <a:gd name="connsiteX347" fmla="*/ 4041719 w 5227821"/>
              <a:gd name="connsiteY347" fmla="*/ 1215602 h 1257266"/>
              <a:gd name="connsiteX348" fmla="*/ 3665745 w 5227821"/>
              <a:gd name="connsiteY348" fmla="*/ 1249491 h 1257266"/>
              <a:gd name="connsiteX349" fmla="*/ 3673265 w 5227821"/>
              <a:gd name="connsiteY349" fmla="*/ 1245725 h 1257266"/>
              <a:gd name="connsiteX350" fmla="*/ 3349927 w 5227821"/>
              <a:gd name="connsiteY350" fmla="*/ 1257022 h 1257266"/>
              <a:gd name="connsiteX351" fmla="*/ 3500317 w 5227821"/>
              <a:gd name="connsiteY351" fmla="*/ 1234429 h 1257266"/>
              <a:gd name="connsiteX352" fmla="*/ 3244655 w 5227821"/>
              <a:gd name="connsiteY352" fmla="*/ 1241960 h 1257266"/>
              <a:gd name="connsiteX353" fmla="*/ 3316090 w 5227821"/>
              <a:gd name="connsiteY353" fmla="*/ 1226898 h 1257266"/>
              <a:gd name="connsiteX354" fmla="*/ 3327369 w 5227821"/>
              <a:gd name="connsiteY354" fmla="*/ 1234429 h 1257266"/>
              <a:gd name="connsiteX355" fmla="*/ 3410083 w 5227821"/>
              <a:gd name="connsiteY355" fmla="*/ 1215602 h 1257266"/>
              <a:gd name="connsiteX356" fmla="*/ 3410083 w 5227821"/>
              <a:gd name="connsiteY356" fmla="*/ 1208071 h 1257266"/>
              <a:gd name="connsiteX357" fmla="*/ 3996603 w 5227821"/>
              <a:gd name="connsiteY357" fmla="*/ 1147825 h 1257266"/>
              <a:gd name="connsiteX358" fmla="*/ 4056759 w 5227821"/>
              <a:gd name="connsiteY358" fmla="*/ 1136529 h 1257266"/>
              <a:gd name="connsiteX359" fmla="*/ 4037960 w 5227821"/>
              <a:gd name="connsiteY359" fmla="*/ 1132764 h 1257266"/>
              <a:gd name="connsiteX360" fmla="*/ 4064278 w 5227821"/>
              <a:gd name="connsiteY360" fmla="*/ 1132764 h 1257266"/>
              <a:gd name="connsiteX361" fmla="*/ 4068037 w 5227821"/>
              <a:gd name="connsiteY361" fmla="*/ 1132764 h 1257266"/>
              <a:gd name="connsiteX362" fmla="*/ 4105635 w 5227821"/>
              <a:gd name="connsiteY362" fmla="*/ 1121467 h 1257266"/>
              <a:gd name="connsiteX363" fmla="*/ 4064278 w 5227821"/>
              <a:gd name="connsiteY363" fmla="*/ 1121467 h 1257266"/>
              <a:gd name="connsiteX364" fmla="*/ 3985323 w 5227821"/>
              <a:gd name="connsiteY364" fmla="*/ 1121467 h 1257266"/>
              <a:gd name="connsiteX365" fmla="*/ 3631908 w 5227821"/>
              <a:gd name="connsiteY365" fmla="*/ 1132764 h 1257266"/>
              <a:gd name="connsiteX366" fmla="*/ 3470239 w 5227821"/>
              <a:gd name="connsiteY366" fmla="*/ 1140294 h 1257266"/>
              <a:gd name="connsiteX367" fmla="*/ 2981473 w 5227821"/>
              <a:gd name="connsiteY367" fmla="*/ 1170418 h 1257266"/>
              <a:gd name="connsiteX368" fmla="*/ 2789726 w 5227821"/>
              <a:gd name="connsiteY368" fmla="*/ 1166652 h 1257266"/>
              <a:gd name="connsiteX369" fmla="*/ 2519025 w 5227821"/>
              <a:gd name="connsiteY369" fmla="*/ 1159121 h 1257266"/>
              <a:gd name="connsiteX370" fmla="*/ 2511506 w 5227821"/>
              <a:gd name="connsiteY370" fmla="*/ 1162887 h 1257266"/>
              <a:gd name="connsiteX371" fmla="*/ 2488947 w 5227821"/>
              <a:gd name="connsiteY371" fmla="*/ 1166652 h 1257266"/>
              <a:gd name="connsiteX372" fmla="*/ 2368636 w 5227821"/>
              <a:gd name="connsiteY372" fmla="*/ 1177948 h 1257266"/>
              <a:gd name="connsiteX373" fmla="*/ 2225766 w 5227821"/>
              <a:gd name="connsiteY373" fmla="*/ 1196775 h 1257266"/>
              <a:gd name="connsiteX374" fmla="*/ 1466298 w 5227821"/>
              <a:gd name="connsiteY374" fmla="*/ 1189245 h 1257266"/>
              <a:gd name="connsiteX375" fmla="*/ 1259513 w 5227821"/>
              <a:gd name="connsiteY375" fmla="*/ 1177948 h 1257266"/>
              <a:gd name="connsiteX376" fmla="*/ 992571 w 5227821"/>
              <a:gd name="connsiteY376" fmla="*/ 1162887 h 1257266"/>
              <a:gd name="connsiteX377" fmla="*/ 891058 w 5227821"/>
              <a:gd name="connsiteY377" fmla="*/ 1155356 h 1257266"/>
              <a:gd name="connsiteX378" fmla="*/ 883995 w 5227821"/>
              <a:gd name="connsiteY378" fmla="*/ 1158893 h 1257266"/>
              <a:gd name="connsiteX379" fmla="*/ 876489 w 5227821"/>
              <a:gd name="connsiteY379" fmla="*/ 1158650 h 1257266"/>
              <a:gd name="connsiteX380" fmla="*/ 774506 w 5227821"/>
              <a:gd name="connsiteY380" fmla="*/ 1155356 h 1257266"/>
              <a:gd name="connsiteX381" fmla="*/ 710591 w 5227821"/>
              <a:gd name="connsiteY381" fmla="*/ 1166652 h 1257266"/>
              <a:gd name="connsiteX382" fmla="*/ 530123 w 5227821"/>
              <a:gd name="connsiteY382" fmla="*/ 1166652 h 1257266"/>
              <a:gd name="connsiteX383" fmla="*/ 511325 w 5227821"/>
              <a:gd name="connsiteY383" fmla="*/ 1170418 h 1257266"/>
              <a:gd name="connsiteX384" fmla="*/ 507565 w 5227821"/>
              <a:gd name="connsiteY384" fmla="*/ 1170418 h 1257266"/>
              <a:gd name="connsiteX385" fmla="*/ 488766 w 5227821"/>
              <a:gd name="connsiteY385" fmla="*/ 1174183 h 1257266"/>
              <a:gd name="connsiteX386" fmla="*/ 424851 w 5227821"/>
              <a:gd name="connsiteY386" fmla="*/ 1170418 h 1257266"/>
              <a:gd name="connsiteX387" fmla="*/ 421091 w 5227821"/>
              <a:gd name="connsiteY387" fmla="*/ 1162887 h 1257266"/>
              <a:gd name="connsiteX388" fmla="*/ 398533 w 5227821"/>
              <a:gd name="connsiteY388" fmla="*/ 1170418 h 1257266"/>
              <a:gd name="connsiteX389" fmla="*/ 357175 w 5227821"/>
              <a:gd name="connsiteY389" fmla="*/ 1159121 h 1257266"/>
              <a:gd name="connsiteX390" fmla="*/ 334617 w 5227821"/>
              <a:gd name="connsiteY390" fmla="*/ 1162887 h 1257266"/>
              <a:gd name="connsiteX391" fmla="*/ 338376 w 5227821"/>
              <a:gd name="connsiteY391" fmla="*/ 1155356 h 1257266"/>
              <a:gd name="connsiteX392" fmla="*/ 300779 w 5227821"/>
              <a:gd name="connsiteY392" fmla="*/ 1155356 h 1257266"/>
              <a:gd name="connsiteX393" fmla="*/ 233104 w 5227821"/>
              <a:gd name="connsiteY393" fmla="*/ 1140294 h 1257266"/>
              <a:gd name="connsiteX394" fmla="*/ 353415 w 5227821"/>
              <a:gd name="connsiteY394" fmla="*/ 1125233 h 1257266"/>
              <a:gd name="connsiteX395" fmla="*/ 315818 w 5227821"/>
              <a:gd name="connsiteY395" fmla="*/ 1125233 h 1257266"/>
              <a:gd name="connsiteX396" fmla="*/ 327097 w 5227821"/>
              <a:gd name="connsiteY396" fmla="*/ 1110171 h 1257266"/>
              <a:gd name="connsiteX397" fmla="*/ 274461 w 5227821"/>
              <a:gd name="connsiteY397" fmla="*/ 1102641 h 1257266"/>
              <a:gd name="connsiteX398" fmla="*/ 387253 w 5227821"/>
              <a:gd name="connsiteY398" fmla="*/ 1095110 h 1257266"/>
              <a:gd name="connsiteX399" fmla="*/ 334617 w 5227821"/>
              <a:gd name="connsiteY399" fmla="*/ 1095110 h 1257266"/>
              <a:gd name="connsiteX400" fmla="*/ 312058 w 5227821"/>
              <a:gd name="connsiteY400" fmla="*/ 1083814 h 1257266"/>
              <a:gd name="connsiteX401" fmla="*/ 338376 w 5227821"/>
              <a:gd name="connsiteY401" fmla="*/ 1072517 h 1257266"/>
              <a:gd name="connsiteX402" fmla="*/ 372214 w 5227821"/>
              <a:gd name="connsiteY402" fmla="*/ 1046160 h 1257266"/>
              <a:gd name="connsiteX403" fmla="*/ 293259 w 5227821"/>
              <a:gd name="connsiteY403" fmla="*/ 1064987 h 1257266"/>
              <a:gd name="connsiteX404" fmla="*/ 281980 w 5227821"/>
              <a:gd name="connsiteY404" fmla="*/ 1034863 h 1257266"/>
              <a:gd name="connsiteX405" fmla="*/ 308298 w 5227821"/>
              <a:gd name="connsiteY405" fmla="*/ 985913 h 1257266"/>
              <a:gd name="connsiteX406" fmla="*/ 323337 w 5227821"/>
              <a:gd name="connsiteY406" fmla="*/ 978383 h 1257266"/>
              <a:gd name="connsiteX407" fmla="*/ 263181 w 5227821"/>
              <a:gd name="connsiteY407" fmla="*/ 970852 h 1257266"/>
              <a:gd name="connsiteX408" fmla="*/ 300779 w 5227821"/>
              <a:gd name="connsiteY408" fmla="*/ 918136 h 1257266"/>
              <a:gd name="connsiteX409" fmla="*/ 330857 w 5227821"/>
              <a:gd name="connsiteY409" fmla="*/ 914371 h 1257266"/>
              <a:gd name="connsiteX410" fmla="*/ 67675 w 5227821"/>
              <a:gd name="connsiteY410" fmla="*/ 831532 h 1257266"/>
              <a:gd name="connsiteX411" fmla="*/ 11279 w 5227821"/>
              <a:gd name="connsiteY411" fmla="*/ 824001 h 1257266"/>
              <a:gd name="connsiteX412" fmla="*/ 0 w 5227821"/>
              <a:gd name="connsiteY412" fmla="*/ 820236 h 1257266"/>
              <a:gd name="connsiteX413" fmla="*/ 30078 w 5227821"/>
              <a:gd name="connsiteY413" fmla="*/ 820236 h 1257266"/>
              <a:gd name="connsiteX414" fmla="*/ 33837 w 5227821"/>
              <a:gd name="connsiteY414" fmla="*/ 824001 h 1257266"/>
              <a:gd name="connsiteX415" fmla="*/ 45117 w 5227821"/>
              <a:gd name="connsiteY415" fmla="*/ 820236 h 1257266"/>
              <a:gd name="connsiteX416" fmla="*/ 45117 w 5227821"/>
              <a:gd name="connsiteY416" fmla="*/ 812705 h 1257266"/>
              <a:gd name="connsiteX417" fmla="*/ 236863 w 5227821"/>
              <a:gd name="connsiteY417" fmla="*/ 865421 h 1257266"/>
              <a:gd name="connsiteX418" fmla="*/ 240623 w 5227821"/>
              <a:gd name="connsiteY418" fmla="*/ 861655 h 1257266"/>
              <a:gd name="connsiteX419" fmla="*/ 259422 w 5227821"/>
              <a:gd name="connsiteY419" fmla="*/ 869186 h 1257266"/>
              <a:gd name="connsiteX420" fmla="*/ 270701 w 5227821"/>
              <a:gd name="connsiteY420" fmla="*/ 861655 h 1257266"/>
              <a:gd name="connsiteX421" fmla="*/ 274461 w 5227821"/>
              <a:gd name="connsiteY421" fmla="*/ 865421 h 1257266"/>
              <a:gd name="connsiteX422" fmla="*/ 278220 w 5227821"/>
              <a:gd name="connsiteY422" fmla="*/ 861655 h 1257266"/>
              <a:gd name="connsiteX423" fmla="*/ 233104 w 5227821"/>
              <a:gd name="connsiteY423" fmla="*/ 857890 h 1257266"/>
              <a:gd name="connsiteX424" fmla="*/ 278220 w 5227821"/>
              <a:gd name="connsiteY424" fmla="*/ 842828 h 1257266"/>
              <a:gd name="connsiteX425" fmla="*/ 293259 w 5227821"/>
              <a:gd name="connsiteY425" fmla="*/ 842828 h 1257266"/>
              <a:gd name="connsiteX426" fmla="*/ 278220 w 5227821"/>
              <a:gd name="connsiteY426" fmla="*/ 854125 h 1257266"/>
              <a:gd name="connsiteX427" fmla="*/ 312058 w 5227821"/>
              <a:gd name="connsiteY427" fmla="*/ 857890 h 1257266"/>
              <a:gd name="connsiteX428" fmla="*/ 312058 w 5227821"/>
              <a:gd name="connsiteY428" fmla="*/ 842828 h 1257266"/>
              <a:gd name="connsiteX429" fmla="*/ 308298 w 5227821"/>
              <a:gd name="connsiteY429" fmla="*/ 839063 h 1257266"/>
              <a:gd name="connsiteX430" fmla="*/ 304539 w 5227821"/>
              <a:gd name="connsiteY430" fmla="*/ 839063 h 1257266"/>
              <a:gd name="connsiteX431" fmla="*/ 308298 w 5227821"/>
              <a:gd name="connsiteY431" fmla="*/ 835298 h 1257266"/>
              <a:gd name="connsiteX432" fmla="*/ 297019 w 5227821"/>
              <a:gd name="connsiteY432" fmla="*/ 831532 h 1257266"/>
              <a:gd name="connsiteX433" fmla="*/ 270701 w 5227821"/>
              <a:gd name="connsiteY433" fmla="*/ 835298 h 1257266"/>
              <a:gd name="connsiteX434" fmla="*/ 312058 w 5227821"/>
              <a:gd name="connsiteY434" fmla="*/ 820236 h 1257266"/>
              <a:gd name="connsiteX435" fmla="*/ 308298 w 5227821"/>
              <a:gd name="connsiteY435" fmla="*/ 816471 h 1257266"/>
              <a:gd name="connsiteX436" fmla="*/ 353415 w 5227821"/>
              <a:gd name="connsiteY436" fmla="*/ 793878 h 1257266"/>
              <a:gd name="connsiteX437" fmla="*/ 334617 w 5227821"/>
              <a:gd name="connsiteY437" fmla="*/ 790113 h 1257266"/>
              <a:gd name="connsiteX438" fmla="*/ 233104 w 5227821"/>
              <a:gd name="connsiteY438" fmla="*/ 824001 h 1257266"/>
              <a:gd name="connsiteX439" fmla="*/ 161669 w 5227821"/>
              <a:gd name="connsiteY439" fmla="*/ 839063 h 1257266"/>
              <a:gd name="connsiteX440" fmla="*/ 184227 w 5227821"/>
              <a:gd name="connsiteY440" fmla="*/ 827767 h 1257266"/>
              <a:gd name="connsiteX441" fmla="*/ 176707 w 5227821"/>
              <a:gd name="connsiteY441" fmla="*/ 827767 h 1257266"/>
              <a:gd name="connsiteX442" fmla="*/ 251902 w 5227821"/>
              <a:gd name="connsiteY442" fmla="*/ 805175 h 1257266"/>
              <a:gd name="connsiteX443" fmla="*/ 274461 w 5227821"/>
              <a:gd name="connsiteY443" fmla="*/ 797644 h 1257266"/>
              <a:gd name="connsiteX444" fmla="*/ 281980 w 5227821"/>
              <a:gd name="connsiteY444" fmla="*/ 797644 h 1257266"/>
              <a:gd name="connsiteX445" fmla="*/ 297019 w 5227821"/>
              <a:gd name="connsiteY445" fmla="*/ 790113 h 1257266"/>
              <a:gd name="connsiteX446" fmla="*/ 293259 w 5227821"/>
              <a:gd name="connsiteY446" fmla="*/ 786348 h 1257266"/>
              <a:gd name="connsiteX447" fmla="*/ 327097 w 5227821"/>
              <a:gd name="connsiteY447" fmla="*/ 763755 h 1257266"/>
              <a:gd name="connsiteX448" fmla="*/ 236863 w 5227821"/>
              <a:gd name="connsiteY448" fmla="*/ 786348 h 1257266"/>
              <a:gd name="connsiteX449" fmla="*/ 199266 w 5227821"/>
              <a:gd name="connsiteY449" fmla="*/ 790113 h 1257266"/>
              <a:gd name="connsiteX450" fmla="*/ 330857 w 5227821"/>
              <a:gd name="connsiteY450" fmla="*/ 726101 h 1257266"/>
              <a:gd name="connsiteX451" fmla="*/ 357175 w 5227821"/>
              <a:gd name="connsiteY451" fmla="*/ 699743 h 1257266"/>
              <a:gd name="connsiteX452" fmla="*/ 364695 w 5227821"/>
              <a:gd name="connsiteY452" fmla="*/ 699743 h 1257266"/>
              <a:gd name="connsiteX453" fmla="*/ 364695 w 5227821"/>
              <a:gd name="connsiteY453" fmla="*/ 688447 h 1257266"/>
              <a:gd name="connsiteX454" fmla="*/ 402292 w 5227821"/>
              <a:gd name="connsiteY454" fmla="*/ 650793 h 1257266"/>
              <a:gd name="connsiteX455" fmla="*/ 511325 w 5227821"/>
              <a:gd name="connsiteY455" fmla="*/ 579251 h 1257266"/>
              <a:gd name="connsiteX456" fmla="*/ 551742 w 5227821"/>
              <a:gd name="connsiteY456" fmla="*/ 534537 h 1257266"/>
              <a:gd name="connsiteX457" fmla="*/ 561872 w 5227821"/>
              <a:gd name="connsiteY457" fmla="*/ 527136 h 1257266"/>
              <a:gd name="connsiteX458" fmla="*/ 558113 w 5227821"/>
              <a:gd name="connsiteY458" fmla="*/ 526214 h 1257266"/>
              <a:gd name="connsiteX459" fmla="*/ 429342 w 5227821"/>
              <a:gd name="connsiteY459" fmla="*/ 481970 h 1257266"/>
              <a:gd name="connsiteX460" fmla="*/ 372945 w 5227821"/>
              <a:gd name="connsiteY460" fmla="*/ 474440 h 1257266"/>
              <a:gd name="connsiteX461" fmla="*/ 361666 w 5227821"/>
              <a:gd name="connsiteY461" fmla="*/ 470674 h 1257266"/>
              <a:gd name="connsiteX462" fmla="*/ 391744 w 5227821"/>
              <a:gd name="connsiteY462" fmla="*/ 470674 h 1257266"/>
              <a:gd name="connsiteX463" fmla="*/ 395504 w 5227821"/>
              <a:gd name="connsiteY463" fmla="*/ 474440 h 1257266"/>
              <a:gd name="connsiteX464" fmla="*/ 406783 w 5227821"/>
              <a:gd name="connsiteY464" fmla="*/ 470674 h 1257266"/>
              <a:gd name="connsiteX465" fmla="*/ 406783 w 5227821"/>
              <a:gd name="connsiteY465" fmla="*/ 463144 h 1257266"/>
              <a:gd name="connsiteX466" fmla="*/ 495607 w 5227821"/>
              <a:gd name="connsiteY466" fmla="*/ 493737 h 1257266"/>
              <a:gd name="connsiteX467" fmla="*/ 582131 w 5227821"/>
              <a:gd name="connsiteY467" fmla="*/ 512335 h 1257266"/>
              <a:gd name="connsiteX468" fmla="*/ 609078 w 5227821"/>
              <a:gd name="connsiteY468" fmla="*/ 492647 h 1257266"/>
              <a:gd name="connsiteX469" fmla="*/ 618947 w 5227821"/>
              <a:gd name="connsiteY469" fmla="*/ 494530 h 1257266"/>
              <a:gd name="connsiteX470" fmla="*/ 624178 w 5227821"/>
              <a:gd name="connsiteY470" fmla="*/ 495306 h 1257266"/>
              <a:gd name="connsiteX471" fmla="*/ 639060 w 5227821"/>
              <a:gd name="connsiteY471" fmla="*/ 493374 h 1257266"/>
              <a:gd name="connsiteX472" fmla="*/ 653196 w 5227821"/>
              <a:gd name="connsiteY472" fmla="*/ 487588 h 1257266"/>
              <a:gd name="connsiteX473" fmla="*/ 661962 w 5227821"/>
              <a:gd name="connsiteY473" fmla="*/ 483064 h 1257266"/>
              <a:gd name="connsiteX474" fmla="*/ 658686 w 5227821"/>
              <a:gd name="connsiteY474" fmla="*/ 481970 h 1257266"/>
              <a:gd name="connsiteX475" fmla="*/ 632367 w 5227821"/>
              <a:gd name="connsiteY475" fmla="*/ 485736 h 1257266"/>
              <a:gd name="connsiteX476" fmla="*/ 673725 w 5227821"/>
              <a:gd name="connsiteY476" fmla="*/ 470674 h 1257266"/>
              <a:gd name="connsiteX477" fmla="*/ 669965 w 5227821"/>
              <a:gd name="connsiteY477" fmla="*/ 466909 h 1257266"/>
              <a:gd name="connsiteX478" fmla="*/ 715082 w 5227821"/>
              <a:gd name="connsiteY478" fmla="*/ 444317 h 1257266"/>
              <a:gd name="connsiteX479" fmla="*/ 696283 w 5227821"/>
              <a:gd name="connsiteY479" fmla="*/ 440551 h 1257266"/>
              <a:gd name="connsiteX480" fmla="*/ 594770 w 5227821"/>
              <a:gd name="connsiteY480" fmla="*/ 474440 h 1257266"/>
              <a:gd name="connsiteX481" fmla="*/ 523335 w 5227821"/>
              <a:gd name="connsiteY481" fmla="*/ 489501 h 1257266"/>
              <a:gd name="connsiteX482" fmla="*/ 545893 w 5227821"/>
              <a:gd name="connsiteY482" fmla="*/ 478205 h 1257266"/>
              <a:gd name="connsiteX483" fmla="*/ 538374 w 5227821"/>
              <a:gd name="connsiteY483" fmla="*/ 478205 h 1257266"/>
              <a:gd name="connsiteX484" fmla="*/ 613569 w 5227821"/>
              <a:gd name="connsiteY484" fmla="*/ 455613 h 1257266"/>
              <a:gd name="connsiteX485" fmla="*/ 636127 w 5227821"/>
              <a:gd name="connsiteY485" fmla="*/ 448082 h 1257266"/>
              <a:gd name="connsiteX486" fmla="*/ 643647 w 5227821"/>
              <a:gd name="connsiteY486" fmla="*/ 448082 h 1257266"/>
              <a:gd name="connsiteX487" fmla="*/ 658686 w 5227821"/>
              <a:gd name="connsiteY487" fmla="*/ 440551 h 1257266"/>
              <a:gd name="connsiteX488" fmla="*/ 654926 w 5227821"/>
              <a:gd name="connsiteY488" fmla="*/ 436786 h 1257266"/>
              <a:gd name="connsiteX489" fmla="*/ 688764 w 5227821"/>
              <a:gd name="connsiteY489" fmla="*/ 414193 h 1257266"/>
              <a:gd name="connsiteX490" fmla="*/ 598530 w 5227821"/>
              <a:gd name="connsiteY490" fmla="*/ 436786 h 1257266"/>
              <a:gd name="connsiteX491" fmla="*/ 560932 w 5227821"/>
              <a:gd name="connsiteY491" fmla="*/ 440551 h 1257266"/>
              <a:gd name="connsiteX492" fmla="*/ 692523 w 5227821"/>
              <a:gd name="connsiteY492" fmla="*/ 376539 h 1257266"/>
              <a:gd name="connsiteX493" fmla="*/ 718841 w 5227821"/>
              <a:gd name="connsiteY493" fmla="*/ 350182 h 1257266"/>
              <a:gd name="connsiteX494" fmla="*/ 726361 w 5227821"/>
              <a:gd name="connsiteY494" fmla="*/ 350182 h 1257266"/>
              <a:gd name="connsiteX495" fmla="*/ 726361 w 5227821"/>
              <a:gd name="connsiteY495" fmla="*/ 338886 h 1257266"/>
              <a:gd name="connsiteX496" fmla="*/ 763958 w 5227821"/>
              <a:gd name="connsiteY496" fmla="*/ 301232 h 1257266"/>
              <a:gd name="connsiteX497" fmla="*/ 872991 w 5227821"/>
              <a:gd name="connsiteY497" fmla="*/ 229689 h 1257266"/>
              <a:gd name="connsiteX498" fmla="*/ 970744 w 5227821"/>
              <a:gd name="connsiteY498" fmla="*/ 143085 h 1257266"/>
              <a:gd name="connsiteX499" fmla="*/ 993302 w 5227821"/>
              <a:gd name="connsiteY499" fmla="*/ 146851 h 1257266"/>
              <a:gd name="connsiteX500" fmla="*/ 1087296 w 5227821"/>
              <a:gd name="connsiteY500" fmla="*/ 124258 h 1257266"/>
              <a:gd name="connsiteX501" fmla="*/ 1109854 w 5227821"/>
              <a:gd name="connsiteY501" fmla="*/ 120493 h 1257266"/>
              <a:gd name="connsiteX502" fmla="*/ 1109854 w 5227821"/>
              <a:gd name="connsiteY502" fmla="*/ 112962 h 1257266"/>
              <a:gd name="connsiteX503" fmla="*/ 1173770 w 5227821"/>
              <a:gd name="connsiteY503" fmla="*/ 120493 h 1257266"/>
              <a:gd name="connsiteX504" fmla="*/ 1166250 w 5227821"/>
              <a:gd name="connsiteY504" fmla="*/ 131789 h 1257266"/>
              <a:gd name="connsiteX505" fmla="*/ 1290322 w 5227821"/>
              <a:gd name="connsiteY505" fmla="*/ 154381 h 1257266"/>
              <a:gd name="connsiteX506" fmla="*/ 1286562 w 5227821"/>
              <a:gd name="connsiteY506" fmla="*/ 158147 h 1257266"/>
              <a:gd name="connsiteX507" fmla="*/ 1316640 w 5227821"/>
              <a:gd name="connsiteY507" fmla="*/ 161912 h 1257266"/>
              <a:gd name="connsiteX508" fmla="*/ 1399354 w 5227821"/>
              <a:gd name="connsiteY508" fmla="*/ 101666 h 1257266"/>
              <a:gd name="connsiteX509" fmla="*/ 1380555 w 5227821"/>
              <a:gd name="connsiteY509" fmla="*/ 82839 h 1257266"/>
              <a:gd name="connsiteX510" fmla="*/ 1369276 w 5227821"/>
              <a:gd name="connsiteY510" fmla="*/ 90370 h 1257266"/>
              <a:gd name="connsiteX511" fmla="*/ 1369276 w 5227821"/>
              <a:gd name="connsiteY511" fmla="*/ 86604 h 1257266"/>
              <a:gd name="connsiteX512" fmla="*/ 1275283 w 5227821"/>
              <a:gd name="connsiteY512" fmla="*/ 86604 h 1257266"/>
              <a:gd name="connsiteX513" fmla="*/ 1252724 w 5227821"/>
              <a:gd name="connsiteY513" fmla="*/ 97900 h 1257266"/>
              <a:gd name="connsiteX514" fmla="*/ 1282802 w 5227821"/>
              <a:gd name="connsiteY514" fmla="*/ 71543 h 1257266"/>
              <a:gd name="connsiteX515" fmla="*/ 1309120 w 5227821"/>
              <a:gd name="connsiteY515" fmla="*/ 67777 h 1257266"/>
              <a:gd name="connsiteX516" fmla="*/ 1399354 w 5227821"/>
              <a:gd name="connsiteY516" fmla="*/ 82839 h 1257266"/>
              <a:gd name="connsiteX517" fmla="*/ 1455750 w 5227821"/>
              <a:gd name="connsiteY517" fmla="*/ 56481 h 1257266"/>
              <a:gd name="connsiteX518" fmla="*/ 1440711 w 5227821"/>
              <a:gd name="connsiteY518" fmla="*/ 52716 h 1257266"/>
              <a:gd name="connsiteX519" fmla="*/ 1508387 w 5227821"/>
              <a:gd name="connsiteY519" fmla="*/ 22593 h 1257266"/>
              <a:gd name="connsiteX520" fmla="*/ 1474549 w 5227821"/>
              <a:gd name="connsiteY520" fmla="*/ 18827 h 1257266"/>
              <a:gd name="connsiteX521" fmla="*/ 1594861 w 5227821"/>
              <a:gd name="connsiteY521" fmla="*/ 0 h 1257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</a:cxnLst>
            <a:rect l="l" t="t" r="r" b="b"/>
            <a:pathLst>
              <a:path w="5227821" h="1257266">
                <a:moveTo>
                  <a:pt x="883995" y="1158893"/>
                </a:moveTo>
                <a:lnTo>
                  <a:pt x="891058" y="1159121"/>
                </a:lnTo>
                <a:cubicBezTo>
                  <a:pt x="883539" y="1159121"/>
                  <a:pt x="883539" y="1159121"/>
                  <a:pt x="883539" y="1159121"/>
                </a:cubicBezTo>
                <a:close/>
                <a:moveTo>
                  <a:pt x="4615788" y="826594"/>
                </a:moveTo>
                <a:lnTo>
                  <a:pt x="4616959" y="827767"/>
                </a:lnTo>
                <a:lnTo>
                  <a:pt x="4617450" y="827029"/>
                </a:lnTo>
                <a:close/>
                <a:moveTo>
                  <a:pt x="4610559" y="825984"/>
                </a:moveTo>
                <a:lnTo>
                  <a:pt x="4591373" y="828386"/>
                </a:lnTo>
                <a:lnTo>
                  <a:pt x="4584680" y="830752"/>
                </a:lnTo>
                <a:lnTo>
                  <a:pt x="4583122" y="831532"/>
                </a:lnTo>
                <a:cubicBezTo>
                  <a:pt x="4583122" y="835298"/>
                  <a:pt x="4590641" y="835298"/>
                  <a:pt x="4598161" y="835298"/>
                </a:cubicBezTo>
                <a:cubicBezTo>
                  <a:pt x="4598161" y="835298"/>
                  <a:pt x="4598161" y="835298"/>
                  <a:pt x="4600041" y="833886"/>
                </a:cubicBezTo>
                <a:close/>
                <a:moveTo>
                  <a:pt x="4763331" y="809097"/>
                </a:moveTo>
                <a:lnTo>
                  <a:pt x="4764025" y="815097"/>
                </a:lnTo>
                <a:lnTo>
                  <a:pt x="4768080" y="809559"/>
                </a:lnTo>
                <a:close/>
                <a:moveTo>
                  <a:pt x="4653526" y="808089"/>
                </a:moveTo>
                <a:cubicBezTo>
                  <a:pt x="4649178" y="809559"/>
                  <a:pt x="4645889" y="813325"/>
                  <a:pt x="4644009" y="820856"/>
                </a:cubicBezTo>
                <a:cubicBezTo>
                  <a:pt x="4647769" y="824621"/>
                  <a:pt x="4655288" y="824621"/>
                  <a:pt x="4659047" y="828386"/>
                </a:cubicBezTo>
                <a:lnTo>
                  <a:pt x="4642634" y="833009"/>
                </a:lnTo>
                <a:lnTo>
                  <a:pt x="4658317" y="846594"/>
                </a:lnTo>
                <a:cubicBezTo>
                  <a:pt x="4680875" y="839063"/>
                  <a:pt x="4677115" y="827767"/>
                  <a:pt x="4684635" y="816471"/>
                </a:cubicBezTo>
                <a:lnTo>
                  <a:pt x="4683861" y="813370"/>
                </a:lnTo>
                <a:lnTo>
                  <a:pt x="4669387" y="809089"/>
                </a:lnTo>
                <a:cubicBezTo>
                  <a:pt x="4663277" y="807441"/>
                  <a:pt x="4657873" y="806618"/>
                  <a:pt x="4653526" y="808089"/>
                </a:cubicBezTo>
                <a:close/>
                <a:moveTo>
                  <a:pt x="4720496" y="800558"/>
                </a:moveTo>
                <a:cubicBezTo>
                  <a:pt x="4715209" y="801322"/>
                  <a:pt x="4709804" y="803911"/>
                  <a:pt x="4704165" y="809559"/>
                </a:cubicBezTo>
                <a:cubicBezTo>
                  <a:pt x="4704165" y="809559"/>
                  <a:pt x="4704165" y="809559"/>
                  <a:pt x="4711684" y="817090"/>
                </a:cubicBezTo>
                <a:lnTo>
                  <a:pt x="4703433" y="816325"/>
                </a:lnTo>
                <a:lnTo>
                  <a:pt x="4703433" y="824001"/>
                </a:lnTo>
                <a:cubicBezTo>
                  <a:pt x="4703433" y="824001"/>
                  <a:pt x="4703433" y="824001"/>
                  <a:pt x="4718473" y="820236"/>
                </a:cubicBezTo>
                <a:cubicBezTo>
                  <a:pt x="4725992" y="827767"/>
                  <a:pt x="4729751" y="839063"/>
                  <a:pt x="4733511" y="846594"/>
                </a:cubicBezTo>
                <a:cubicBezTo>
                  <a:pt x="4725992" y="842828"/>
                  <a:pt x="4718473" y="842828"/>
                  <a:pt x="4710953" y="850359"/>
                </a:cubicBezTo>
                <a:cubicBezTo>
                  <a:pt x="4710953" y="850359"/>
                  <a:pt x="4710953" y="850359"/>
                  <a:pt x="4692155" y="842828"/>
                </a:cubicBezTo>
                <a:cubicBezTo>
                  <a:pt x="4680875" y="846594"/>
                  <a:pt x="4665836" y="846594"/>
                  <a:pt x="4658317" y="854125"/>
                </a:cubicBezTo>
                <a:cubicBezTo>
                  <a:pt x="4658317" y="854125"/>
                  <a:pt x="4658317" y="854125"/>
                  <a:pt x="4677115" y="854125"/>
                </a:cubicBezTo>
                <a:cubicBezTo>
                  <a:pt x="4677115" y="854125"/>
                  <a:pt x="4677115" y="854125"/>
                  <a:pt x="4673355" y="857890"/>
                </a:cubicBezTo>
                <a:cubicBezTo>
                  <a:pt x="4707193" y="854125"/>
                  <a:pt x="4722232" y="861655"/>
                  <a:pt x="4741031" y="857890"/>
                </a:cubicBezTo>
                <a:cubicBezTo>
                  <a:pt x="4744791" y="861655"/>
                  <a:pt x="4744791" y="861655"/>
                  <a:pt x="4748551" y="861655"/>
                </a:cubicBezTo>
                <a:cubicBezTo>
                  <a:pt x="4752310" y="861655"/>
                  <a:pt x="4752310" y="857890"/>
                  <a:pt x="4752310" y="857890"/>
                </a:cubicBezTo>
                <a:cubicBezTo>
                  <a:pt x="4756070" y="854125"/>
                  <a:pt x="4759829" y="854125"/>
                  <a:pt x="4763589" y="854125"/>
                </a:cubicBezTo>
                <a:cubicBezTo>
                  <a:pt x="4763589" y="850359"/>
                  <a:pt x="4759829" y="854125"/>
                  <a:pt x="4752310" y="854125"/>
                </a:cubicBezTo>
                <a:cubicBezTo>
                  <a:pt x="4752310" y="846594"/>
                  <a:pt x="4748551" y="842828"/>
                  <a:pt x="4756070" y="835298"/>
                </a:cubicBezTo>
                <a:cubicBezTo>
                  <a:pt x="4750430" y="829650"/>
                  <a:pt x="4745731" y="824001"/>
                  <a:pt x="4744321" y="817412"/>
                </a:cubicBezTo>
                <a:lnTo>
                  <a:pt x="4747974" y="806649"/>
                </a:lnTo>
                <a:lnTo>
                  <a:pt x="4736122" y="802499"/>
                </a:lnTo>
                <a:cubicBezTo>
                  <a:pt x="4730953" y="800852"/>
                  <a:pt x="4725783" y="799793"/>
                  <a:pt x="4720496" y="800558"/>
                </a:cubicBezTo>
                <a:close/>
                <a:moveTo>
                  <a:pt x="1676438" y="90716"/>
                </a:moveTo>
                <a:lnTo>
                  <a:pt x="1850993" y="94135"/>
                </a:lnTo>
                <a:cubicBezTo>
                  <a:pt x="1918198" y="94135"/>
                  <a:pt x="1985874" y="94135"/>
                  <a:pt x="2046029" y="97900"/>
                </a:cubicBezTo>
                <a:cubicBezTo>
                  <a:pt x="2046029" y="97900"/>
                  <a:pt x="2046029" y="97900"/>
                  <a:pt x="2057308" y="101666"/>
                </a:cubicBezTo>
                <a:cubicBezTo>
                  <a:pt x="1997153" y="97900"/>
                  <a:pt x="1910679" y="112962"/>
                  <a:pt x="1850523" y="97900"/>
                </a:cubicBezTo>
                <a:cubicBezTo>
                  <a:pt x="1797886" y="101666"/>
                  <a:pt x="1737731" y="94135"/>
                  <a:pt x="1692614" y="94135"/>
                </a:cubicBezTo>
                <a:close/>
                <a:moveTo>
                  <a:pt x="1675636" y="90546"/>
                </a:moveTo>
                <a:lnTo>
                  <a:pt x="1676438" y="90716"/>
                </a:lnTo>
                <a:lnTo>
                  <a:pt x="1674865" y="90685"/>
                </a:lnTo>
                <a:close/>
                <a:moveTo>
                  <a:pt x="2005634" y="36919"/>
                </a:moveTo>
                <a:lnTo>
                  <a:pt x="2008432" y="37654"/>
                </a:lnTo>
                <a:cubicBezTo>
                  <a:pt x="2000912" y="37654"/>
                  <a:pt x="2000912" y="37654"/>
                  <a:pt x="2000912" y="37654"/>
                </a:cubicBezTo>
                <a:close/>
                <a:moveTo>
                  <a:pt x="1594861" y="0"/>
                </a:moveTo>
                <a:cubicBezTo>
                  <a:pt x="1621179" y="0"/>
                  <a:pt x="1651257" y="0"/>
                  <a:pt x="1655016" y="11296"/>
                </a:cubicBezTo>
                <a:cubicBezTo>
                  <a:pt x="1658776" y="15062"/>
                  <a:pt x="1655016" y="15062"/>
                  <a:pt x="1651257" y="18827"/>
                </a:cubicBezTo>
                <a:cubicBezTo>
                  <a:pt x="1685094" y="22593"/>
                  <a:pt x="1730211" y="22593"/>
                  <a:pt x="1767809" y="22593"/>
                </a:cubicBezTo>
                <a:cubicBezTo>
                  <a:pt x="1925718" y="26358"/>
                  <a:pt x="2079867" y="30123"/>
                  <a:pt x="2230256" y="26358"/>
                </a:cubicBezTo>
                <a:cubicBezTo>
                  <a:pt x="2241536" y="30123"/>
                  <a:pt x="2256575" y="33889"/>
                  <a:pt x="2275373" y="30123"/>
                </a:cubicBezTo>
                <a:cubicBezTo>
                  <a:pt x="2218977" y="41420"/>
                  <a:pt x="2117464" y="33889"/>
                  <a:pt x="2046029" y="33889"/>
                </a:cubicBezTo>
                <a:cubicBezTo>
                  <a:pt x="2036630" y="32006"/>
                  <a:pt x="2029111" y="32947"/>
                  <a:pt x="2022061" y="34359"/>
                </a:cubicBezTo>
                <a:lnTo>
                  <a:pt x="2005634" y="36919"/>
                </a:lnTo>
                <a:lnTo>
                  <a:pt x="1983817" y="31183"/>
                </a:lnTo>
                <a:cubicBezTo>
                  <a:pt x="1955091" y="28711"/>
                  <a:pt x="1916318" y="35772"/>
                  <a:pt x="1888120" y="30123"/>
                </a:cubicBezTo>
                <a:cubicBezTo>
                  <a:pt x="1805406" y="30123"/>
                  <a:pt x="1749010" y="22593"/>
                  <a:pt x="1662536" y="26358"/>
                </a:cubicBezTo>
                <a:cubicBezTo>
                  <a:pt x="1655016" y="30123"/>
                  <a:pt x="1655016" y="33889"/>
                  <a:pt x="1655016" y="37654"/>
                </a:cubicBezTo>
                <a:cubicBezTo>
                  <a:pt x="1636218" y="37654"/>
                  <a:pt x="1617419" y="37654"/>
                  <a:pt x="1609900" y="30123"/>
                </a:cubicBezTo>
                <a:cubicBezTo>
                  <a:pt x="1591101" y="41420"/>
                  <a:pt x="1572302" y="41420"/>
                  <a:pt x="1553503" y="52716"/>
                </a:cubicBezTo>
                <a:cubicBezTo>
                  <a:pt x="1553503" y="52716"/>
                  <a:pt x="1553503" y="52716"/>
                  <a:pt x="1587341" y="56481"/>
                </a:cubicBezTo>
                <a:cubicBezTo>
                  <a:pt x="1579822" y="64012"/>
                  <a:pt x="1557263" y="64012"/>
                  <a:pt x="1542224" y="56481"/>
                </a:cubicBezTo>
                <a:cubicBezTo>
                  <a:pt x="1515906" y="56481"/>
                  <a:pt x="1549744" y="67777"/>
                  <a:pt x="1527185" y="71543"/>
                </a:cubicBezTo>
                <a:cubicBezTo>
                  <a:pt x="1527185" y="71543"/>
                  <a:pt x="1527185" y="71543"/>
                  <a:pt x="1478309" y="79073"/>
                </a:cubicBezTo>
                <a:cubicBezTo>
                  <a:pt x="1527185" y="90370"/>
                  <a:pt x="1609900" y="82839"/>
                  <a:pt x="1658776" y="90370"/>
                </a:cubicBezTo>
                <a:lnTo>
                  <a:pt x="1674865" y="90685"/>
                </a:lnTo>
                <a:lnTo>
                  <a:pt x="1658306" y="93664"/>
                </a:lnTo>
                <a:cubicBezTo>
                  <a:pt x="1646557" y="96959"/>
                  <a:pt x="1634338" y="101666"/>
                  <a:pt x="1621179" y="101666"/>
                </a:cubicBezTo>
                <a:cubicBezTo>
                  <a:pt x="1613659" y="109197"/>
                  <a:pt x="1598620" y="116727"/>
                  <a:pt x="1579822" y="128024"/>
                </a:cubicBezTo>
                <a:cubicBezTo>
                  <a:pt x="1579822" y="128024"/>
                  <a:pt x="1579822" y="128024"/>
                  <a:pt x="1576062" y="120493"/>
                </a:cubicBezTo>
                <a:cubicBezTo>
                  <a:pt x="1579822" y="112962"/>
                  <a:pt x="1598620" y="124258"/>
                  <a:pt x="1598620" y="112962"/>
                </a:cubicBezTo>
                <a:cubicBezTo>
                  <a:pt x="1598620" y="112962"/>
                  <a:pt x="1598620" y="112962"/>
                  <a:pt x="1587341" y="109197"/>
                </a:cubicBezTo>
                <a:cubicBezTo>
                  <a:pt x="1583581" y="112962"/>
                  <a:pt x="1572302" y="109197"/>
                  <a:pt x="1564783" y="109197"/>
                </a:cubicBezTo>
                <a:cubicBezTo>
                  <a:pt x="1564783" y="109197"/>
                  <a:pt x="1564783" y="109197"/>
                  <a:pt x="1553503" y="105431"/>
                </a:cubicBezTo>
                <a:cubicBezTo>
                  <a:pt x="1583581" y="101666"/>
                  <a:pt x="1609900" y="109197"/>
                  <a:pt x="1621179" y="94135"/>
                </a:cubicBezTo>
                <a:cubicBezTo>
                  <a:pt x="1564783" y="82839"/>
                  <a:pt x="1508387" y="94135"/>
                  <a:pt x="1448231" y="86604"/>
                </a:cubicBezTo>
                <a:cubicBezTo>
                  <a:pt x="1433192" y="82839"/>
                  <a:pt x="1425672" y="94135"/>
                  <a:pt x="1410633" y="97900"/>
                </a:cubicBezTo>
                <a:cubicBezTo>
                  <a:pt x="1410633" y="97900"/>
                  <a:pt x="1410633" y="97900"/>
                  <a:pt x="1444471" y="101666"/>
                </a:cubicBezTo>
                <a:cubicBezTo>
                  <a:pt x="1440711" y="109197"/>
                  <a:pt x="1384315" y="116727"/>
                  <a:pt x="1380555" y="131789"/>
                </a:cubicBezTo>
                <a:cubicBezTo>
                  <a:pt x="1373036" y="124258"/>
                  <a:pt x="1399354" y="120493"/>
                  <a:pt x="1380555" y="112962"/>
                </a:cubicBezTo>
                <a:cubicBezTo>
                  <a:pt x="1380555" y="120493"/>
                  <a:pt x="1350478" y="124258"/>
                  <a:pt x="1369276" y="131789"/>
                </a:cubicBezTo>
                <a:cubicBezTo>
                  <a:pt x="1365517" y="128024"/>
                  <a:pt x="1361757" y="131789"/>
                  <a:pt x="1357997" y="131789"/>
                </a:cubicBezTo>
                <a:cubicBezTo>
                  <a:pt x="1365517" y="146851"/>
                  <a:pt x="1361757" y="143085"/>
                  <a:pt x="1354237" y="146851"/>
                </a:cubicBezTo>
                <a:cubicBezTo>
                  <a:pt x="1357997" y="143085"/>
                  <a:pt x="1357997" y="143085"/>
                  <a:pt x="1350478" y="139320"/>
                </a:cubicBezTo>
                <a:cubicBezTo>
                  <a:pt x="1350478" y="139320"/>
                  <a:pt x="1350478" y="139320"/>
                  <a:pt x="1327919" y="161912"/>
                </a:cubicBezTo>
                <a:cubicBezTo>
                  <a:pt x="1365517" y="161912"/>
                  <a:pt x="1391835" y="184504"/>
                  <a:pt x="1436952" y="173208"/>
                </a:cubicBezTo>
                <a:cubicBezTo>
                  <a:pt x="1455750" y="173208"/>
                  <a:pt x="1451990" y="184504"/>
                  <a:pt x="1459510" y="192035"/>
                </a:cubicBezTo>
                <a:cubicBezTo>
                  <a:pt x="1440711" y="192035"/>
                  <a:pt x="1436952" y="199566"/>
                  <a:pt x="1421913" y="207097"/>
                </a:cubicBezTo>
                <a:cubicBezTo>
                  <a:pt x="1429432" y="210862"/>
                  <a:pt x="1440711" y="207097"/>
                  <a:pt x="1451990" y="207097"/>
                </a:cubicBezTo>
                <a:cubicBezTo>
                  <a:pt x="1451990" y="207097"/>
                  <a:pt x="1451990" y="207097"/>
                  <a:pt x="1451990" y="210862"/>
                </a:cubicBezTo>
                <a:cubicBezTo>
                  <a:pt x="1474549" y="214628"/>
                  <a:pt x="1485828" y="210862"/>
                  <a:pt x="1512146" y="210862"/>
                </a:cubicBezTo>
                <a:cubicBezTo>
                  <a:pt x="1512146" y="210862"/>
                  <a:pt x="1512146" y="210862"/>
                  <a:pt x="1512146" y="214628"/>
                </a:cubicBezTo>
                <a:cubicBezTo>
                  <a:pt x="1512146" y="214628"/>
                  <a:pt x="1512146" y="214628"/>
                  <a:pt x="1534705" y="214628"/>
                </a:cubicBezTo>
                <a:cubicBezTo>
                  <a:pt x="1534705" y="210862"/>
                  <a:pt x="1538464" y="210862"/>
                  <a:pt x="1538464" y="210862"/>
                </a:cubicBezTo>
                <a:cubicBezTo>
                  <a:pt x="1534705" y="214628"/>
                  <a:pt x="1530945" y="218393"/>
                  <a:pt x="1538464" y="218393"/>
                </a:cubicBezTo>
                <a:cubicBezTo>
                  <a:pt x="1530945" y="222158"/>
                  <a:pt x="1523426" y="222158"/>
                  <a:pt x="1515906" y="225924"/>
                </a:cubicBezTo>
                <a:cubicBezTo>
                  <a:pt x="1523426" y="229689"/>
                  <a:pt x="1538464" y="225924"/>
                  <a:pt x="1549744" y="229689"/>
                </a:cubicBezTo>
                <a:cubicBezTo>
                  <a:pt x="1549744" y="229689"/>
                  <a:pt x="1549744" y="233455"/>
                  <a:pt x="1542224" y="237220"/>
                </a:cubicBezTo>
                <a:cubicBezTo>
                  <a:pt x="1609900" y="252282"/>
                  <a:pt x="1651257" y="222158"/>
                  <a:pt x="1722692" y="225924"/>
                </a:cubicBezTo>
                <a:cubicBezTo>
                  <a:pt x="1730211" y="222158"/>
                  <a:pt x="1745250" y="214628"/>
                  <a:pt x="1764049" y="218393"/>
                </a:cubicBezTo>
                <a:cubicBezTo>
                  <a:pt x="1767809" y="225924"/>
                  <a:pt x="1790367" y="218393"/>
                  <a:pt x="1801646" y="218393"/>
                </a:cubicBezTo>
                <a:cubicBezTo>
                  <a:pt x="1801646" y="218393"/>
                  <a:pt x="1801646" y="218393"/>
                  <a:pt x="1809166" y="214628"/>
                </a:cubicBezTo>
                <a:cubicBezTo>
                  <a:pt x="1846763" y="225924"/>
                  <a:pt x="1899399" y="214628"/>
                  <a:pt x="1940757" y="214628"/>
                </a:cubicBezTo>
                <a:cubicBezTo>
                  <a:pt x="1985873" y="188270"/>
                  <a:pt x="2030990" y="225924"/>
                  <a:pt x="2083627" y="203331"/>
                </a:cubicBezTo>
                <a:cubicBezTo>
                  <a:pt x="2091146" y="207097"/>
                  <a:pt x="2109945" y="203331"/>
                  <a:pt x="2124984" y="203331"/>
                </a:cubicBezTo>
                <a:cubicBezTo>
                  <a:pt x="2124984" y="203331"/>
                  <a:pt x="2124984" y="203331"/>
                  <a:pt x="2128744" y="199566"/>
                </a:cubicBezTo>
                <a:cubicBezTo>
                  <a:pt x="2128744" y="199566"/>
                  <a:pt x="2128744" y="199566"/>
                  <a:pt x="2117464" y="195801"/>
                </a:cubicBezTo>
                <a:cubicBezTo>
                  <a:pt x="2124984" y="195801"/>
                  <a:pt x="2128744" y="195801"/>
                  <a:pt x="2128744" y="192035"/>
                </a:cubicBezTo>
                <a:cubicBezTo>
                  <a:pt x="2128744" y="192035"/>
                  <a:pt x="2128744" y="192035"/>
                  <a:pt x="2121224" y="188270"/>
                </a:cubicBezTo>
                <a:cubicBezTo>
                  <a:pt x="2143782" y="195801"/>
                  <a:pt x="2170101" y="176974"/>
                  <a:pt x="2192659" y="184504"/>
                </a:cubicBezTo>
                <a:cubicBezTo>
                  <a:pt x="2196419" y="188270"/>
                  <a:pt x="2185140" y="195801"/>
                  <a:pt x="2196419" y="199566"/>
                </a:cubicBezTo>
                <a:cubicBezTo>
                  <a:pt x="2203938" y="199566"/>
                  <a:pt x="2207698" y="199566"/>
                  <a:pt x="2215218" y="195801"/>
                </a:cubicBezTo>
                <a:cubicBezTo>
                  <a:pt x="2215218" y="195801"/>
                  <a:pt x="2215218" y="195801"/>
                  <a:pt x="2203938" y="188270"/>
                </a:cubicBezTo>
                <a:cubicBezTo>
                  <a:pt x="2218977" y="184504"/>
                  <a:pt x="2245295" y="192035"/>
                  <a:pt x="2271614" y="188270"/>
                </a:cubicBezTo>
                <a:cubicBezTo>
                  <a:pt x="2309211" y="188270"/>
                  <a:pt x="2354328" y="176974"/>
                  <a:pt x="2395685" y="184504"/>
                </a:cubicBezTo>
                <a:cubicBezTo>
                  <a:pt x="2391925" y="180739"/>
                  <a:pt x="2406964" y="169443"/>
                  <a:pt x="2422003" y="169443"/>
                </a:cubicBezTo>
                <a:cubicBezTo>
                  <a:pt x="2478399" y="176974"/>
                  <a:pt x="2534795" y="150616"/>
                  <a:pt x="2564873" y="180739"/>
                </a:cubicBezTo>
                <a:cubicBezTo>
                  <a:pt x="2628789" y="180739"/>
                  <a:pt x="2673906" y="184504"/>
                  <a:pt x="2737821" y="176974"/>
                </a:cubicBezTo>
                <a:cubicBezTo>
                  <a:pt x="2737821" y="176974"/>
                  <a:pt x="2737821" y="176974"/>
                  <a:pt x="2737821" y="169443"/>
                </a:cubicBezTo>
                <a:cubicBezTo>
                  <a:pt x="2756620" y="173208"/>
                  <a:pt x="2775419" y="173208"/>
                  <a:pt x="2794217" y="176974"/>
                </a:cubicBezTo>
                <a:cubicBezTo>
                  <a:pt x="2794217" y="176974"/>
                  <a:pt x="2794217" y="176974"/>
                  <a:pt x="2805496" y="169443"/>
                </a:cubicBezTo>
                <a:cubicBezTo>
                  <a:pt x="3076198" y="161912"/>
                  <a:pt x="3290503" y="158147"/>
                  <a:pt x="3568723" y="165678"/>
                </a:cubicBezTo>
                <a:cubicBezTo>
                  <a:pt x="3568723" y="165678"/>
                  <a:pt x="3568723" y="165678"/>
                  <a:pt x="3673996" y="158147"/>
                </a:cubicBezTo>
                <a:cubicBezTo>
                  <a:pt x="3673996" y="169443"/>
                  <a:pt x="3707834" y="158147"/>
                  <a:pt x="3719113" y="161912"/>
                </a:cubicBezTo>
                <a:cubicBezTo>
                  <a:pt x="3786788" y="154381"/>
                  <a:pt x="3828145" y="176974"/>
                  <a:pt x="3880782" y="150616"/>
                </a:cubicBezTo>
                <a:cubicBezTo>
                  <a:pt x="3880782" y="150616"/>
                  <a:pt x="3880782" y="150616"/>
                  <a:pt x="3869503" y="161912"/>
                </a:cubicBezTo>
                <a:cubicBezTo>
                  <a:pt x="3884541" y="169443"/>
                  <a:pt x="3914619" y="158147"/>
                  <a:pt x="3922139" y="169443"/>
                </a:cubicBezTo>
                <a:cubicBezTo>
                  <a:pt x="3959736" y="154381"/>
                  <a:pt x="4001093" y="169443"/>
                  <a:pt x="4046210" y="165678"/>
                </a:cubicBezTo>
                <a:cubicBezTo>
                  <a:pt x="4046210" y="165678"/>
                  <a:pt x="4046210" y="165678"/>
                  <a:pt x="4083807" y="165678"/>
                </a:cubicBezTo>
                <a:cubicBezTo>
                  <a:pt x="4083807" y="165678"/>
                  <a:pt x="4083807" y="165678"/>
                  <a:pt x="4083807" y="169443"/>
                </a:cubicBezTo>
                <a:cubicBezTo>
                  <a:pt x="4102606" y="176974"/>
                  <a:pt x="4162762" y="165678"/>
                  <a:pt x="4181561" y="173208"/>
                </a:cubicBezTo>
                <a:cubicBezTo>
                  <a:pt x="4211639" y="161912"/>
                  <a:pt x="4234197" y="184504"/>
                  <a:pt x="4264275" y="173208"/>
                </a:cubicBezTo>
                <a:cubicBezTo>
                  <a:pt x="4275554" y="184504"/>
                  <a:pt x="4298113" y="176974"/>
                  <a:pt x="4316911" y="184504"/>
                </a:cubicBezTo>
                <a:cubicBezTo>
                  <a:pt x="4350749" y="184504"/>
                  <a:pt x="4399626" y="195801"/>
                  <a:pt x="4440983" y="184504"/>
                </a:cubicBezTo>
                <a:cubicBezTo>
                  <a:pt x="4433463" y="184504"/>
                  <a:pt x="4433463" y="188270"/>
                  <a:pt x="4433463" y="192035"/>
                </a:cubicBezTo>
                <a:cubicBezTo>
                  <a:pt x="4467301" y="195801"/>
                  <a:pt x="4493619" y="192035"/>
                  <a:pt x="4512418" y="199566"/>
                </a:cubicBezTo>
                <a:cubicBezTo>
                  <a:pt x="4508658" y="214628"/>
                  <a:pt x="4534976" y="203331"/>
                  <a:pt x="4550015" y="203331"/>
                </a:cubicBezTo>
                <a:cubicBezTo>
                  <a:pt x="4550015" y="203331"/>
                  <a:pt x="4550015" y="203331"/>
                  <a:pt x="4557535" y="199566"/>
                </a:cubicBezTo>
                <a:cubicBezTo>
                  <a:pt x="4550015" y="210862"/>
                  <a:pt x="4595132" y="199566"/>
                  <a:pt x="4568814" y="207097"/>
                </a:cubicBezTo>
                <a:cubicBezTo>
                  <a:pt x="4583853" y="225924"/>
                  <a:pt x="4640249" y="210862"/>
                  <a:pt x="4644009" y="233455"/>
                </a:cubicBezTo>
                <a:cubicBezTo>
                  <a:pt x="4700405" y="218393"/>
                  <a:pt x="4722963" y="248516"/>
                  <a:pt x="4775599" y="237220"/>
                </a:cubicBezTo>
                <a:cubicBezTo>
                  <a:pt x="4794399" y="214628"/>
                  <a:pt x="4790639" y="214628"/>
                  <a:pt x="4828236" y="199566"/>
                </a:cubicBezTo>
                <a:cubicBezTo>
                  <a:pt x="4816957" y="192035"/>
                  <a:pt x="4771840" y="207097"/>
                  <a:pt x="4783119" y="188270"/>
                </a:cubicBezTo>
                <a:cubicBezTo>
                  <a:pt x="4801918" y="192035"/>
                  <a:pt x="4835755" y="173208"/>
                  <a:pt x="4828236" y="195801"/>
                </a:cubicBezTo>
                <a:cubicBezTo>
                  <a:pt x="4835755" y="188270"/>
                  <a:pt x="4854554" y="188270"/>
                  <a:pt x="4850795" y="180739"/>
                </a:cubicBezTo>
                <a:cubicBezTo>
                  <a:pt x="4824476" y="173208"/>
                  <a:pt x="4847035" y="143085"/>
                  <a:pt x="4794399" y="150616"/>
                </a:cubicBezTo>
                <a:cubicBezTo>
                  <a:pt x="4794399" y="150616"/>
                  <a:pt x="4794399" y="150616"/>
                  <a:pt x="4813197" y="143085"/>
                </a:cubicBezTo>
                <a:cubicBezTo>
                  <a:pt x="4805677" y="128024"/>
                  <a:pt x="4764321" y="139320"/>
                  <a:pt x="4738002" y="135554"/>
                </a:cubicBezTo>
                <a:cubicBezTo>
                  <a:pt x="4722963" y="146851"/>
                  <a:pt x="4696645" y="131789"/>
                  <a:pt x="4677847" y="139320"/>
                </a:cubicBezTo>
                <a:cubicBezTo>
                  <a:pt x="4689125" y="128024"/>
                  <a:pt x="4659047" y="124258"/>
                  <a:pt x="4644009" y="116727"/>
                </a:cubicBezTo>
                <a:cubicBezTo>
                  <a:pt x="4591373" y="128024"/>
                  <a:pt x="4565054" y="105431"/>
                  <a:pt x="4516177" y="109197"/>
                </a:cubicBezTo>
                <a:cubicBezTo>
                  <a:pt x="4508658" y="101666"/>
                  <a:pt x="4452262" y="112962"/>
                  <a:pt x="4444743" y="90370"/>
                </a:cubicBezTo>
                <a:cubicBezTo>
                  <a:pt x="4418425" y="90370"/>
                  <a:pt x="4403385" y="90370"/>
                  <a:pt x="4380827" y="82839"/>
                </a:cubicBezTo>
                <a:cubicBezTo>
                  <a:pt x="4380827" y="82839"/>
                  <a:pt x="4380827" y="82839"/>
                  <a:pt x="4365788" y="90370"/>
                </a:cubicBezTo>
                <a:cubicBezTo>
                  <a:pt x="4365788" y="90370"/>
                  <a:pt x="4362028" y="86604"/>
                  <a:pt x="4354509" y="86604"/>
                </a:cubicBezTo>
                <a:cubicBezTo>
                  <a:pt x="4346989" y="86604"/>
                  <a:pt x="4343229" y="79073"/>
                  <a:pt x="4331951" y="82839"/>
                </a:cubicBezTo>
                <a:cubicBezTo>
                  <a:pt x="4331951" y="82839"/>
                  <a:pt x="4331951" y="82839"/>
                  <a:pt x="4335710" y="67777"/>
                </a:cubicBezTo>
                <a:cubicBezTo>
                  <a:pt x="4380827" y="71543"/>
                  <a:pt x="4429703" y="75308"/>
                  <a:pt x="4474821" y="79073"/>
                </a:cubicBezTo>
                <a:cubicBezTo>
                  <a:pt x="4474821" y="101666"/>
                  <a:pt x="4531217" y="86604"/>
                  <a:pt x="4561295" y="90370"/>
                </a:cubicBezTo>
                <a:cubicBezTo>
                  <a:pt x="4602651" y="97900"/>
                  <a:pt x="4655288" y="82839"/>
                  <a:pt x="4681606" y="94135"/>
                </a:cubicBezTo>
                <a:cubicBezTo>
                  <a:pt x="4681606" y="94135"/>
                  <a:pt x="4681606" y="94135"/>
                  <a:pt x="4685366" y="97900"/>
                </a:cubicBezTo>
                <a:cubicBezTo>
                  <a:pt x="4719203" y="101666"/>
                  <a:pt x="4749281" y="120493"/>
                  <a:pt x="4801918" y="109197"/>
                </a:cubicBezTo>
                <a:cubicBezTo>
                  <a:pt x="4801918" y="109197"/>
                  <a:pt x="4801918" y="109197"/>
                  <a:pt x="4809437" y="112962"/>
                </a:cubicBezTo>
                <a:cubicBezTo>
                  <a:pt x="4809437" y="112962"/>
                  <a:pt x="4809437" y="112962"/>
                  <a:pt x="4824476" y="105431"/>
                </a:cubicBezTo>
                <a:cubicBezTo>
                  <a:pt x="4824476" y="105431"/>
                  <a:pt x="4824476" y="105431"/>
                  <a:pt x="4828236" y="109197"/>
                </a:cubicBezTo>
                <a:cubicBezTo>
                  <a:pt x="4824476" y="112962"/>
                  <a:pt x="4801918" y="116727"/>
                  <a:pt x="4805677" y="124258"/>
                </a:cubicBezTo>
                <a:cubicBezTo>
                  <a:pt x="4839515" y="128024"/>
                  <a:pt x="4865833" y="128024"/>
                  <a:pt x="4903431" y="124258"/>
                </a:cubicBezTo>
                <a:cubicBezTo>
                  <a:pt x="4888392" y="131789"/>
                  <a:pt x="4899671" y="150616"/>
                  <a:pt x="4925989" y="143085"/>
                </a:cubicBezTo>
                <a:cubicBezTo>
                  <a:pt x="4925989" y="143085"/>
                  <a:pt x="4925989" y="143085"/>
                  <a:pt x="4941028" y="143085"/>
                </a:cubicBezTo>
                <a:cubicBezTo>
                  <a:pt x="4971106" y="120493"/>
                  <a:pt x="4914710" y="128024"/>
                  <a:pt x="4922229" y="109197"/>
                </a:cubicBezTo>
                <a:cubicBezTo>
                  <a:pt x="4933509" y="105431"/>
                  <a:pt x="4948547" y="105431"/>
                  <a:pt x="4956067" y="97900"/>
                </a:cubicBezTo>
                <a:cubicBezTo>
                  <a:pt x="4956067" y="97900"/>
                  <a:pt x="4956067" y="97900"/>
                  <a:pt x="4959827" y="94135"/>
                </a:cubicBezTo>
                <a:cubicBezTo>
                  <a:pt x="4952307" y="86604"/>
                  <a:pt x="4937269" y="97900"/>
                  <a:pt x="4922229" y="97900"/>
                </a:cubicBezTo>
                <a:cubicBezTo>
                  <a:pt x="4922229" y="90370"/>
                  <a:pt x="4914710" y="86604"/>
                  <a:pt x="4903431" y="86604"/>
                </a:cubicBezTo>
                <a:cubicBezTo>
                  <a:pt x="4910950" y="82839"/>
                  <a:pt x="4922229" y="79073"/>
                  <a:pt x="4933509" y="75308"/>
                </a:cubicBezTo>
                <a:cubicBezTo>
                  <a:pt x="4937269" y="75308"/>
                  <a:pt x="4933509" y="71543"/>
                  <a:pt x="4929749" y="71543"/>
                </a:cubicBezTo>
                <a:cubicBezTo>
                  <a:pt x="4989905" y="67777"/>
                  <a:pt x="5004943" y="97900"/>
                  <a:pt x="5068859" y="79073"/>
                </a:cubicBezTo>
                <a:cubicBezTo>
                  <a:pt x="5068859" y="79073"/>
                  <a:pt x="5068859" y="79073"/>
                  <a:pt x="5061339" y="75308"/>
                </a:cubicBezTo>
                <a:cubicBezTo>
                  <a:pt x="5068859" y="75308"/>
                  <a:pt x="5117736" y="79073"/>
                  <a:pt x="5132775" y="75308"/>
                </a:cubicBezTo>
                <a:cubicBezTo>
                  <a:pt x="5132775" y="75308"/>
                  <a:pt x="5132775" y="75308"/>
                  <a:pt x="5136535" y="71543"/>
                </a:cubicBezTo>
                <a:cubicBezTo>
                  <a:pt x="5125255" y="67777"/>
                  <a:pt x="5102697" y="71543"/>
                  <a:pt x="5087658" y="71543"/>
                </a:cubicBezTo>
                <a:cubicBezTo>
                  <a:pt x="5125255" y="60247"/>
                  <a:pt x="5147813" y="60247"/>
                  <a:pt x="5189171" y="52716"/>
                </a:cubicBezTo>
                <a:cubicBezTo>
                  <a:pt x="5189171" y="52716"/>
                  <a:pt x="5189171" y="52716"/>
                  <a:pt x="5095177" y="101666"/>
                </a:cubicBezTo>
                <a:cubicBezTo>
                  <a:pt x="5129015" y="112962"/>
                  <a:pt x="5083898" y="120493"/>
                  <a:pt x="5065099" y="131789"/>
                </a:cubicBezTo>
                <a:cubicBezTo>
                  <a:pt x="5042541" y="150616"/>
                  <a:pt x="4997424" y="135554"/>
                  <a:pt x="4971106" y="161912"/>
                </a:cubicBezTo>
                <a:cubicBezTo>
                  <a:pt x="5001184" y="158147"/>
                  <a:pt x="5004943" y="158147"/>
                  <a:pt x="5035021" y="165678"/>
                </a:cubicBezTo>
                <a:cubicBezTo>
                  <a:pt x="5035021" y="165678"/>
                  <a:pt x="5035021" y="165678"/>
                  <a:pt x="5023743" y="184504"/>
                </a:cubicBezTo>
                <a:cubicBezTo>
                  <a:pt x="4971106" y="207097"/>
                  <a:pt x="4910950" y="237220"/>
                  <a:pt x="4869593" y="263578"/>
                </a:cubicBezTo>
                <a:cubicBezTo>
                  <a:pt x="4873353" y="267343"/>
                  <a:pt x="4880873" y="267343"/>
                  <a:pt x="4884632" y="267343"/>
                </a:cubicBezTo>
                <a:cubicBezTo>
                  <a:pt x="4843275" y="278639"/>
                  <a:pt x="4839515" y="304997"/>
                  <a:pt x="4798158" y="312528"/>
                </a:cubicBezTo>
                <a:cubicBezTo>
                  <a:pt x="4801918" y="316293"/>
                  <a:pt x="4801918" y="320059"/>
                  <a:pt x="4809437" y="316293"/>
                </a:cubicBezTo>
                <a:cubicBezTo>
                  <a:pt x="4813197" y="327589"/>
                  <a:pt x="4790639" y="320059"/>
                  <a:pt x="4783119" y="327589"/>
                </a:cubicBezTo>
                <a:cubicBezTo>
                  <a:pt x="4783119" y="320059"/>
                  <a:pt x="4798158" y="308762"/>
                  <a:pt x="4783119" y="304997"/>
                </a:cubicBezTo>
                <a:cubicBezTo>
                  <a:pt x="4760561" y="312528"/>
                  <a:pt x="4756801" y="327589"/>
                  <a:pt x="4760561" y="335120"/>
                </a:cubicBezTo>
                <a:cubicBezTo>
                  <a:pt x="4768080" y="346416"/>
                  <a:pt x="4783119" y="346416"/>
                  <a:pt x="4801918" y="342651"/>
                </a:cubicBezTo>
                <a:cubicBezTo>
                  <a:pt x="4798158" y="346416"/>
                  <a:pt x="4801918" y="346416"/>
                  <a:pt x="4801918" y="350182"/>
                </a:cubicBezTo>
                <a:cubicBezTo>
                  <a:pt x="4809437" y="350182"/>
                  <a:pt x="4816957" y="350182"/>
                  <a:pt x="4820717" y="346416"/>
                </a:cubicBezTo>
                <a:cubicBezTo>
                  <a:pt x="4820717" y="346416"/>
                  <a:pt x="4820717" y="346416"/>
                  <a:pt x="4816957" y="342651"/>
                </a:cubicBezTo>
                <a:cubicBezTo>
                  <a:pt x="4816957" y="342651"/>
                  <a:pt x="4816957" y="342651"/>
                  <a:pt x="4850795" y="342651"/>
                </a:cubicBezTo>
                <a:cubicBezTo>
                  <a:pt x="4862073" y="338886"/>
                  <a:pt x="4854554" y="335120"/>
                  <a:pt x="4850795" y="331355"/>
                </a:cubicBezTo>
                <a:cubicBezTo>
                  <a:pt x="4862073" y="327589"/>
                  <a:pt x="4892151" y="335120"/>
                  <a:pt x="4910950" y="323824"/>
                </a:cubicBezTo>
                <a:cubicBezTo>
                  <a:pt x="4877113" y="312528"/>
                  <a:pt x="4937269" y="304997"/>
                  <a:pt x="4918469" y="293701"/>
                </a:cubicBezTo>
                <a:cubicBezTo>
                  <a:pt x="4910950" y="293701"/>
                  <a:pt x="4937269" y="289935"/>
                  <a:pt x="4937269" y="278639"/>
                </a:cubicBezTo>
                <a:cubicBezTo>
                  <a:pt x="4937269" y="278639"/>
                  <a:pt x="4937269" y="278639"/>
                  <a:pt x="4941028" y="278639"/>
                </a:cubicBezTo>
                <a:cubicBezTo>
                  <a:pt x="4959827" y="263578"/>
                  <a:pt x="4989905" y="274874"/>
                  <a:pt x="4997424" y="256047"/>
                </a:cubicBezTo>
                <a:cubicBezTo>
                  <a:pt x="5050061" y="244751"/>
                  <a:pt x="4993665" y="271108"/>
                  <a:pt x="5042541" y="263578"/>
                </a:cubicBezTo>
                <a:cubicBezTo>
                  <a:pt x="5038781" y="271108"/>
                  <a:pt x="5027502" y="271108"/>
                  <a:pt x="5027502" y="278639"/>
                </a:cubicBezTo>
                <a:cubicBezTo>
                  <a:pt x="5027502" y="278639"/>
                  <a:pt x="5027502" y="278639"/>
                  <a:pt x="5061339" y="278639"/>
                </a:cubicBezTo>
                <a:cubicBezTo>
                  <a:pt x="5068859" y="301232"/>
                  <a:pt x="4986145" y="308762"/>
                  <a:pt x="5019983" y="323824"/>
                </a:cubicBezTo>
                <a:cubicBezTo>
                  <a:pt x="5019983" y="323824"/>
                  <a:pt x="5019983" y="323824"/>
                  <a:pt x="5012463" y="342651"/>
                </a:cubicBezTo>
                <a:cubicBezTo>
                  <a:pt x="4997424" y="346416"/>
                  <a:pt x="5004943" y="338886"/>
                  <a:pt x="5001184" y="335120"/>
                </a:cubicBezTo>
                <a:cubicBezTo>
                  <a:pt x="5001184" y="331355"/>
                  <a:pt x="5004943" y="327589"/>
                  <a:pt x="5001184" y="327589"/>
                </a:cubicBezTo>
                <a:cubicBezTo>
                  <a:pt x="4993665" y="327589"/>
                  <a:pt x="4982385" y="331355"/>
                  <a:pt x="4986145" y="335120"/>
                </a:cubicBezTo>
                <a:cubicBezTo>
                  <a:pt x="4986145" y="335120"/>
                  <a:pt x="4986145" y="335120"/>
                  <a:pt x="4978625" y="335120"/>
                </a:cubicBezTo>
                <a:cubicBezTo>
                  <a:pt x="4978625" y="335120"/>
                  <a:pt x="4978625" y="335120"/>
                  <a:pt x="4993665" y="301232"/>
                </a:cubicBezTo>
                <a:cubicBezTo>
                  <a:pt x="5001184" y="304997"/>
                  <a:pt x="5008703" y="301232"/>
                  <a:pt x="5008703" y="297466"/>
                </a:cubicBezTo>
                <a:cubicBezTo>
                  <a:pt x="5008703" y="297466"/>
                  <a:pt x="5008703" y="297466"/>
                  <a:pt x="5012463" y="286170"/>
                </a:cubicBezTo>
                <a:cubicBezTo>
                  <a:pt x="5019983" y="286170"/>
                  <a:pt x="5019983" y="286170"/>
                  <a:pt x="5027502" y="282405"/>
                </a:cubicBezTo>
                <a:cubicBezTo>
                  <a:pt x="5023743" y="271108"/>
                  <a:pt x="4989905" y="274874"/>
                  <a:pt x="4982385" y="286170"/>
                </a:cubicBezTo>
                <a:cubicBezTo>
                  <a:pt x="4963587" y="308762"/>
                  <a:pt x="4925989" y="335120"/>
                  <a:pt x="4888392" y="353947"/>
                </a:cubicBezTo>
                <a:cubicBezTo>
                  <a:pt x="4888392" y="353947"/>
                  <a:pt x="4888392" y="353947"/>
                  <a:pt x="4884632" y="365243"/>
                </a:cubicBezTo>
                <a:cubicBezTo>
                  <a:pt x="4877113" y="365243"/>
                  <a:pt x="4873353" y="365243"/>
                  <a:pt x="4869593" y="369009"/>
                </a:cubicBezTo>
                <a:cubicBezTo>
                  <a:pt x="4865833" y="376539"/>
                  <a:pt x="4880873" y="372774"/>
                  <a:pt x="4880873" y="380305"/>
                </a:cubicBezTo>
                <a:cubicBezTo>
                  <a:pt x="4877113" y="384070"/>
                  <a:pt x="4865833" y="384070"/>
                  <a:pt x="4865833" y="387836"/>
                </a:cubicBezTo>
                <a:cubicBezTo>
                  <a:pt x="4880873" y="395366"/>
                  <a:pt x="4888392" y="380305"/>
                  <a:pt x="4903431" y="391601"/>
                </a:cubicBezTo>
                <a:cubicBezTo>
                  <a:pt x="4910950" y="391601"/>
                  <a:pt x="4918469" y="387836"/>
                  <a:pt x="4929749" y="384070"/>
                </a:cubicBezTo>
                <a:cubicBezTo>
                  <a:pt x="4925989" y="387836"/>
                  <a:pt x="4925989" y="391601"/>
                  <a:pt x="4918469" y="395366"/>
                </a:cubicBezTo>
                <a:cubicBezTo>
                  <a:pt x="4918469" y="395366"/>
                  <a:pt x="4918469" y="395366"/>
                  <a:pt x="4925989" y="399132"/>
                </a:cubicBezTo>
                <a:cubicBezTo>
                  <a:pt x="4925989" y="399132"/>
                  <a:pt x="4925989" y="399132"/>
                  <a:pt x="4971106" y="380305"/>
                </a:cubicBezTo>
                <a:cubicBezTo>
                  <a:pt x="4982385" y="395366"/>
                  <a:pt x="4941028" y="421724"/>
                  <a:pt x="4967347" y="429255"/>
                </a:cubicBezTo>
                <a:cubicBezTo>
                  <a:pt x="4989905" y="414193"/>
                  <a:pt x="4982385" y="406663"/>
                  <a:pt x="5001184" y="391601"/>
                </a:cubicBezTo>
                <a:cubicBezTo>
                  <a:pt x="5001184" y="391601"/>
                  <a:pt x="5001184" y="391601"/>
                  <a:pt x="5012463" y="391601"/>
                </a:cubicBezTo>
                <a:cubicBezTo>
                  <a:pt x="4989905" y="414193"/>
                  <a:pt x="4974865" y="448082"/>
                  <a:pt x="4974865" y="466909"/>
                </a:cubicBezTo>
                <a:cubicBezTo>
                  <a:pt x="4974865" y="466909"/>
                  <a:pt x="4974865" y="466909"/>
                  <a:pt x="4971106" y="466909"/>
                </a:cubicBezTo>
                <a:cubicBezTo>
                  <a:pt x="4971106" y="466909"/>
                  <a:pt x="4971106" y="466909"/>
                  <a:pt x="4963587" y="470674"/>
                </a:cubicBezTo>
                <a:cubicBezTo>
                  <a:pt x="4959827" y="466909"/>
                  <a:pt x="4956067" y="470674"/>
                  <a:pt x="4952307" y="470674"/>
                </a:cubicBezTo>
                <a:cubicBezTo>
                  <a:pt x="4944788" y="470674"/>
                  <a:pt x="4937269" y="474440"/>
                  <a:pt x="4929749" y="474440"/>
                </a:cubicBezTo>
                <a:cubicBezTo>
                  <a:pt x="4952307" y="470674"/>
                  <a:pt x="4952307" y="470674"/>
                  <a:pt x="4952307" y="470674"/>
                </a:cubicBezTo>
                <a:cubicBezTo>
                  <a:pt x="4952307" y="470674"/>
                  <a:pt x="4952307" y="470674"/>
                  <a:pt x="4963587" y="470674"/>
                </a:cubicBezTo>
                <a:cubicBezTo>
                  <a:pt x="4963587" y="470674"/>
                  <a:pt x="4963587" y="470674"/>
                  <a:pt x="4967347" y="470674"/>
                </a:cubicBezTo>
                <a:cubicBezTo>
                  <a:pt x="4967347" y="470674"/>
                  <a:pt x="4967347" y="470674"/>
                  <a:pt x="4944788" y="481970"/>
                </a:cubicBezTo>
                <a:cubicBezTo>
                  <a:pt x="4944788" y="485736"/>
                  <a:pt x="4952307" y="485736"/>
                  <a:pt x="4959827" y="485736"/>
                </a:cubicBezTo>
                <a:cubicBezTo>
                  <a:pt x="4959827" y="485736"/>
                  <a:pt x="4959827" y="485736"/>
                  <a:pt x="4974865" y="474440"/>
                </a:cubicBezTo>
                <a:cubicBezTo>
                  <a:pt x="4974865" y="474440"/>
                  <a:pt x="4974865" y="474440"/>
                  <a:pt x="4978625" y="478205"/>
                </a:cubicBezTo>
                <a:cubicBezTo>
                  <a:pt x="4997424" y="470674"/>
                  <a:pt x="4974865" y="463144"/>
                  <a:pt x="4993665" y="455613"/>
                </a:cubicBezTo>
                <a:cubicBezTo>
                  <a:pt x="4993665" y="455613"/>
                  <a:pt x="4993665" y="455613"/>
                  <a:pt x="5004943" y="455613"/>
                </a:cubicBezTo>
                <a:cubicBezTo>
                  <a:pt x="5001184" y="474440"/>
                  <a:pt x="4997424" y="493267"/>
                  <a:pt x="5019983" y="497032"/>
                </a:cubicBezTo>
                <a:cubicBezTo>
                  <a:pt x="5042541" y="489501"/>
                  <a:pt x="5038781" y="478205"/>
                  <a:pt x="5046301" y="466909"/>
                </a:cubicBezTo>
                <a:cubicBezTo>
                  <a:pt x="5038781" y="463144"/>
                  <a:pt x="5038781" y="459378"/>
                  <a:pt x="5042541" y="451847"/>
                </a:cubicBezTo>
                <a:cubicBezTo>
                  <a:pt x="5053821" y="451847"/>
                  <a:pt x="5061339" y="455613"/>
                  <a:pt x="5065099" y="448082"/>
                </a:cubicBezTo>
                <a:cubicBezTo>
                  <a:pt x="5065099" y="448082"/>
                  <a:pt x="5065099" y="448082"/>
                  <a:pt x="5065099" y="474440"/>
                </a:cubicBezTo>
                <a:cubicBezTo>
                  <a:pt x="5065099" y="474440"/>
                  <a:pt x="5065099" y="474440"/>
                  <a:pt x="5080139" y="470674"/>
                </a:cubicBezTo>
                <a:cubicBezTo>
                  <a:pt x="5087658" y="478205"/>
                  <a:pt x="5091417" y="489501"/>
                  <a:pt x="5095177" y="497032"/>
                </a:cubicBezTo>
                <a:cubicBezTo>
                  <a:pt x="5087658" y="493267"/>
                  <a:pt x="5080139" y="493267"/>
                  <a:pt x="5072619" y="500797"/>
                </a:cubicBezTo>
                <a:cubicBezTo>
                  <a:pt x="5072619" y="500797"/>
                  <a:pt x="5072619" y="500797"/>
                  <a:pt x="5053821" y="493267"/>
                </a:cubicBezTo>
                <a:cubicBezTo>
                  <a:pt x="5042541" y="497032"/>
                  <a:pt x="5027502" y="497032"/>
                  <a:pt x="5019983" y="504563"/>
                </a:cubicBezTo>
                <a:cubicBezTo>
                  <a:pt x="5019983" y="504563"/>
                  <a:pt x="5019983" y="504563"/>
                  <a:pt x="5038781" y="504563"/>
                </a:cubicBezTo>
                <a:cubicBezTo>
                  <a:pt x="5038781" y="504563"/>
                  <a:pt x="5038781" y="504563"/>
                  <a:pt x="5035021" y="508328"/>
                </a:cubicBezTo>
                <a:cubicBezTo>
                  <a:pt x="5068859" y="504563"/>
                  <a:pt x="5083898" y="512094"/>
                  <a:pt x="5102697" y="508328"/>
                </a:cubicBezTo>
                <a:cubicBezTo>
                  <a:pt x="5106457" y="512094"/>
                  <a:pt x="5106457" y="512094"/>
                  <a:pt x="5110217" y="512094"/>
                </a:cubicBezTo>
                <a:cubicBezTo>
                  <a:pt x="5113976" y="512094"/>
                  <a:pt x="5113976" y="508328"/>
                  <a:pt x="5113976" y="508328"/>
                </a:cubicBezTo>
                <a:cubicBezTo>
                  <a:pt x="5117736" y="504563"/>
                  <a:pt x="5121495" y="504563"/>
                  <a:pt x="5125255" y="504563"/>
                </a:cubicBezTo>
                <a:cubicBezTo>
                  <a:pt x="5125255" y="500797"/>
                  <a:pt x="5121495" y="504563"/>
                  <a:pt x="5113976" y="504563"/>
                </a:cubicBezTo>
                <a:cubicBezTo>
                  <a:pt x="5113976" y="497032"/>
                  <a:pt x="5110217" y="493267"/>
                  <a:pt x="5117736" y="485736"/>
                </a:cubicBezTo>
                <a:cubicBezTo>
                  <a:pt x="5106457" y="474440"/>
                  <a:pt x="5098937" y="463144"/>
                  <a:pt x="5113976" y="444317"/>
                </a:cubicBezTo>
                <a:cubicBezTo>
                  <a:pt x="5140295" y="455613"/>
                  <a:pt x="5106457" y="497032"/>
                  <a:pt x="5159093" y="489501"/>
                </a:cubicBezTo>
                <a:cubicBezTo>
                  <a:pt x="5159093" y="489501"/>
                  <a:pt x="5159093" y="489501"/>
                  <a:pt x="5162853" y="485736"/>
                </a:cubicBezTo>
                <a:cubicBezTo>
                  <a:pt x="5162853" y="485736"/>
                  <a:pt x="5166613" y="489501"/>
                  <a:pt x="5170372" y="489501"/>
                </a:cubicBezTo>
                <a:cubicBezTo>
                  <a:pt x="5177891" y="497032"/>
                  <a:pt x="5181651" y="508328"/>
                  <a:pt x="5170372" y="519624"/>
                </a:cubicBezTo>
                <a:cubicBezTo>
                  <a:pt x="5170372" y="519624"/>
                  <a:pt x="5170372" y="519624"/>
                  <a:pt x="5162853" y="508328"/>
                </a:cubicBezTo>
                <a:cubicBezTo>
                  <a:pt x="5155333" y="519624"/>
                  <a:pt x="5132775" y="534686"/>
                  <a:pt x="5144054" y="549748"/>
                </a:cubicBezTo>
                <a:cubicBezTo>
                  <a:pt x="5136535" y="545982"/>
                  <a:pt x="5121495" y="557278"/>
                  <a:pt x="5110217" y="564809"/>
                </a:cubicBezTo>
                <a:cubicBezTo>
                  <a:pt x="5113976" y="579870"/>
                  <a:pt x="5113976" y="594932"/>
                  <a:pt x="5129015" y="606228"/>
                </a:cubicBezTo>
                <a:cubicBezTo>
                  <a:pt x="5129015" y="606228"/>
                  <a:pt x="5129015" y="606228"/>
                  <a:pt x="5159093" y="591167"/>
                </a:cubicBezTo>
                <a:cubicBezTo>
                  <a:pt x="5174132" y="602463"/>
                  <a:pt x="5129015" y="606228"/>
                  <a:pt x="5129015" y="617524"/>
                </a:cubicBezTo>
                <a:cubicBezTo>
                  <a:pt x="5129015" y="640117"/>
                  <a:pt x="5147813" y="662709"/>
                  <a:pt x="5136535" y="681536"/>
                </a:cubicBezTo>
                <a:cubicBezTo>
                  <a:pt x="5151573" y="685301"/>
                  <a:pt x="5147813" y="689067"/>
                  <a:pt x="5159093" y="692832"/>
                </a:cubicBezTo>
                <a:cubicBezTo>
                  <a:pt x="5159093" y="692832"/>
                  <a:pt x="5159093" y="692832"/>
                  <a:pt x="5207969" y="670240"/>
                </a:cubicBezTo>
                <a:cubicBezTo>
                  <a:pt x="5207969" y="670240"/>
                  <a:pt x="5207969" y="670240"/>
                  <a:pt x="5215489" y="674005"/>
                </a:cubicBezTo>
                <a:cubicBezTo>
                  <a:pt x="5215489" y="674005"/>
                  <a:pt x="5215489" y="674005"/>
                  <a:pt x="5223009" y="670240"/>
                </a:cubicBezTo>
                <a:cubicBezTo>
                  <a:pt x="5223009" y="681536"/>
                  <a:pt x="5230528" y="692832"/>
                  <a:pt x="5226769" y="704128"/>
                </a:cubicBezTo>
                <a:cubicBezTo>
                  <a:pt x="5200450" y="722955"/>
                  <a:pt x="5162853" y="730486"/>
                  <a:pt x="5129015" y="745548"/>
                </a:cubicBezTo>
                <a:cubicBezTo>
                  <a:pt x="5129015" y="745548"/>
                  <a:pt x="5129015" y="745548"/>
                  <a:pt x="5113976" y="745548"/>
                </a:cubicBezTo>
                <a:cubicBezTo>
                  <a:pt x="5113976" y="745548"/>
                  <a:pt x="5113976" y="745548"/>
                  <a:pt x="5117736" y="741782"/>
                </a:cubicBezTo>
                <a:cubicBezTo>
                  <a:pt x="5117736" y="734252"/>
                  <a:pt x="5102697" y="741782"/>
                  <a:pt x="5095177" y="741782"/>
                </a:cubicBezTo>
                <a:cubicBezTo>
                  <a:pt x="5095177" y="741782"/>
                  <a:pt x="5095177" y="741782"/>
                  <a:pt x="5038781" y="749313"/>
                </a:cubicBezTo>
                <a:cubicBezTo>
                  <a:pt x="5061339" y="756844"/>
                  <a:pt x="5102697" y="753079"/>
                  <a:pt x="5117736" y="756844"/>
                </a:cubicBezTo>
                <a:cubicBezTo>
                  <a:pt x="5087658" y="771905"/>
                  <a:pt x="5046301" y="756844"/>
                  <a:pt x="5016223" y="775671"/>
                </a:cubicBezTo>
                <a:cubicBezTo>
                  <a:pt x="5008703" y="760609"/>
                  <a:pt x="4959827" y="771905"/>
                  <a:pt x="4933509" y="768140"/>
                </a:cubicBezTo>
                <a:cubicBezTo>
                  <a:pt x="4918469" y="775671"/>
                  <a:pt x="4910950" y="786967"/>
                  <a:pt x="4892151" y="790732"/>
                </a:cubicBezTo>
                <a:cubicBezTo>
                  <a:pt x="4892151" y="790732"/>
                  <a:pt x="4892151" y="790732"/>
                  <a:pt x="4888392" y="786967"/>
                </a:cubicBezTo>
                <a:cubicBezTo>
                  <a:pt x="4873353" y="790732"/>
                  <a:pt x="4862073" y="805794"/>
                  <a:pt x="4869593" y="809559"/>
                </a:cubicBezTo>
                <a:cubicBezTo>
                  <a:pt x="4869593" y="809559"/>
                  <a:pt x="4869593" y="809559"/>
                  <a:pt x="4873353" y="813325"/>
                </a:cubicBezTo>
                <a:cubicBezTo>
                  <a:pt x="4858314" y="813325"/>
                  <a:pt x="4839515" y="813325"/>
                  <a:pt x="4831995" y="805794"/>
                </a:cubicBezTo>
                <a:cubicBezTo>
                  <a:pt x="4809437" y="809559"/>
                  <a:pt x="4786879" y="813325"/>
                  <a:pt x="4771840" y="820856"/>
                </a:cubicBezTo>
                <a:lnTo>
                  <a:pt x="4764275" y="817267"/>
                </a:lnTo>
                <a:lnTo>
                  <a:pt x="4765000" y="823531"/>
                </a:lnTo>
                <a:cubicBezTo>
                  <a:pt x="4766410" y="834357"/>
                  <a:pt x="4771109" y="842828"/>
                  <a:pt x="4797427" y="839063"/>
                </a:cubicBezTo>
                <a:cubicBezTo>
                  <a:pt x="4797427" y="839063"/>
                  <a:pt x="4797427" y="839063"/>
                  <a:pt x="4801187" y="835298"/>
                </a:cubicBezTo>
                <a:cubicBezTo>
                  <a:pt x="4801187" y="835298"/>
                  <a:pt x="4804947" y="839063"/>
                  <a:pt x="4808706" y="839063"/>
                </a:cubicBezTo>
                <a:cubicBezTo>
                  <a:pt x="4816225" y="846594"/>
                  <a:pt x="4819985" y="857890"/>
                  <a:pt x="4808706" y="869186"/>
                </a:cubicBezTo>
                <a:cubicBezTo>
                  <a:pt x="4808706" y="869186"/>
                  <a:pt x="4808706" y="869186"/>
                  <a:pt x="4801187" y="857890"/>
                </a:cubicBezTo>
                <a:cubicBezTo>
                  <a:pt x="4793667" y="869186"/>
                  <a:pt x="4771109" y="884248"/>
                  <a:pt x="4782388" y="899309"/>
                </a:cubicBezTo>
                <a:cubicBezTo>
                  <a:pt x="4774869" y="895544"/>
                  <a:pt x="4759829" y="906840"/>
                  <a:pt x="4748551" y="914371"/>
                </a:cubicBezTo>
                <a:cubicBezTo>
                  <a:pt x="4752310" y="929432"/>
                  <a:pt x="4752310" y="944494"/>
                  <a:pt x="4767349" y="955790"/>
                </a:cubicBezTo>
                <a:cubicBezTo>
                  <a:pt x="4767349" y="955790"/>
                  <a:pt x="4767349" y="955790"/>
                  <a:pt x="4797427" y="940729"/>
                </a:cubicBezTo>
                <a:cubicBezTo>
                  <a:pt x="4812466" y="952025"/>
                  <a:pt x="4767349" y="955790"/>
                  <a:pt x="4767349" y="967086"/>
                </a:cubicBezTo>
                <a:cubicBezTo>
                  <a:pt x="4767349" y="989679"/>
                  <a:pt x="4786147" y="1012271"/>
                  <a:pt x="4774869" y="1031098"/>
                </a:cubicBezTo>
                <a:cubicBezTo>
                  <a:pt x="4789907" y="1034863"/>
                  <a:pt x="4786147" y="1038629"/>
                  <a:pt x="4797427" y="1042394"/>
                </a:cubicBezTo>
                <a:cubicBezTo>
                  <a:pt x="4797427" y="1042394"/>
                  <a:pt x="4797427" y="1042394"/>
                  <a:pt x="4846303" y="1019802"/>
                </a:cubicBezTo>
                <a:cubicBezTo>
                  <a:pt x="4846303" y="1019802"/>
                  <a:pt x="4846303" y="1019802"/>
                  <a:pt x="4853823" y="1023567"/>
                </a:cubicBezTo>
                <a:cubicBezTo>
                  <a:pt x="4853823" y="1023567"/>
                  <a:pt x="4853823" y="1023567"/>
                  <a:pt x="4861343" y="1019802"/>
                </a:cubicBezTo>
                <a:cubicBezTo>
                  <a:pt x="4861343" y="1031098"/>
                  <a:pt x="4868862" y="1042394"/>
                  <a:pt x="4865103" y="1053690"/>
                </a:cubicBezTo>
                <a:cubicBezTo>
                  <a:pt x="4838784" y="1072517"/>
                  <a:pt x="4801187" y="1080048"/>
                  <a:pt x="4767349" y="1095110"/>
                </a:cubicBezTo>
                <a:cubicBezTo>
                  <a:pt x="4767349" y="1095110"/>
                  <a:pt x="4767349" y="1095110"/>
                  <a:pt x="4752310" y="1095110"/>
                </a:cubicBezTo>
                <a:cubicBezTo>
                  <a:pt x="4752310" y="1095110"/>
                  <a:pt x="4752310" y="1095110"/>
                  <a:pt x="4756070" y="1091344"/>
                </a:cubicBezTo>
                <a:cubicBezTo>
                  <a:pt x="4756070" y="1083814"/>
                  <a:pt x="4741031" y="1091344"/>
                  <a:pt x="4733511" y="1091344"/>
                </a:cubicBezTo>
                <a:cubicBezTo>
                  <a:pt x="4733511" y="1091344"/>
                  <a:pt x="4733511" y="1091344"/>
                  <a:pt x="4677115" y="1098875"/>
                </a:cubicBezTo>
                <a:cubicBezTo>
                  <a:pt x="4699673" y="1106406"/>
                  <a:pt x="4741031" y="1102641"/>
                  <a:pt x="4756070" y="1106406"/>
                </a:cubicBezTo>
                <a:cubicBezTo>
                  <a:pt x="4725992" y="1121467"/>
                  <a:pt x="4684635" y="1106406"/>
                  <a:pt x="4654557" y="1125233"/>
                </a:cubicBezTo>
                <a:cubicBezTo>
                  <a:pt x="4647037" y="1110171"/>
                  <a:pt x="4598161" y="1121467"/>
                  <a:pt x="4571843" y="1117702"/>
                </a:cubicBezTo>
                <a:cubicBezTo>
                  <a:pt x="4556803" y="1125233"/>
                  <a:pt x="4549284" y="1136529"/>
                  <a:pt x="4530485" y="1140294"/>
                </a:cubicBezTo>
                <a:cubicBezTo>
                  <a:pt x="4530485" y="1140294"/>
                  <a:pt x="4530485" y="1140294"/>
                  <a:pt x="4526726" y="1136529"/>
                </a:cubicBezTo>
                <a:cubicBezTo>
                  <a:pt x="4511687" y="1140294"/>
                  <a:pt x="4500407" y="1155356"/>
                  <a:pt x="4507927" y="1159121"/>
                </a:cubicBezTo>
                <a:cubicBezTo>
                  <a:pt x="4507927" y="1159121"/>
                  <a:pt x="4507927" y="1159121"/>
                  <a:pt x="4511687" y="1162887"/>
                </a:cubicBezTo>
                <a:cubicBezTo>
                  <a:pt x="4496648" y="1162887"/>
                  <a:pt x="4477849" y="1162887"/>
                  <a:pt x="4470329" y="1155356"/>
                </a:cubicBezTo>
                <a:cubicBezTo>
                  <a:pt x="4447771" y="1159121"/>
                  <a:pt x="4425213" y="1162887"/>
                  <a:pt x="4410174" y="1170418"/>
                </a:cubicBezTo>
                <a:cubicBezTo>
                  <a:pt x="4413933" y="1166652"/>
                  <a:pt x="4383855" y="1166652"/>
                  <a:pt x="4406414" y="1159121"/>
                </a:cubicBezTo>
                <a:cubicBezTo>
                  <a:pt x="4383855" y="1162887"/>
                  <a:pt x="4365057" y="1136529"/>
                  <a:pt x="4342499" y="1159121"/>
                </a:cubicBezTo>
                <a:cubicBezTo>
                  <a:pt x="4342499" y="1159121"/>
                  <a:pt x="4342499" y="1159121"/>
                  <a:pt x="4350018" y="1166652"/>
                </a:cubicBezTo>
                <a:cubicBezTo>
                  <a:pt x="4319940" y="1170418"/>
                  <a:pt x="4289862" y="1140294"/>
                  <a:pt x="4282343" y="1170418"/>
                </a:cubicBezTo>
                <a:cubicBezTo>
                  <a:pt x="4286103" y="1174183"/>
                  <a:pt x="4293622" y="1174183"/>
                  <a:pt x="4297381" y="1177948"/>
                </a:cubicBezTo>
                <a:cubicBezTo>
                  <a:pt x="4271063" y="1193010"/>
                  <a:pt x="4263544" y="1166652"/>
                  <a:pt x="4229707" y="1177948"/>
                </a:cubicBezTo>
                <a:cubicBezTo>
                  <a:pt x="4203388" y="1185479"/>
                  <a:pt x="4177070" y="1200541"/>
                  <a:pt x="4146992" y="1200541"/>
                </a:cubicBezTo>
                <a:cubicBezTo>
                  <a:pt x="4109395" y="1208071"/>
                  <a:pt x="4079317" y="1208071"/>
                  <a:pt x="4041719" y="1215602"/>
                </a:cubicBezTo>
                <a:cubicBezTo>
                  <a:pt x="3913888" y="1238195"/>
                  <a:pt x="3782297" y="1245725"/>
                  <a:pt x="3665745" y="1249491"/>
                </a:cubicBezTo>
                <a:cubicBezTo>
                  <a:pt x="3669505" y="1249491"/>
                  <a:pt x="3669505" y="1249491"/>
                  <a:pt x="3673265" y="1245725"/>
                </a:cubicBezTo>
                <a:cubicBezTo>
                  <a:pt x="3583031" y="1219368"/>
                  <a:pt x="3447681" y="1260787"/>
                  <a:pt x="3349927" y="1257022"/>
                </a:cubicBezTo>
                <a:cubicBezTo>
                  <a:pt x="3402564" y="1253256"/>
                  <a:pt x="3447681" y="1245725"/>
                  <a:pt x="3500317" y="1234429"/>
                </a:cubicBezTo>
                <a:cubicBezTo>
                  <a:pt x="3417603" y="1226898"/>
                  <a:pt x="3327369" y="1238195"/>
                  <a:pt x="3244655" y="1241960"/>
                </a:cubicBezTo>
                <a:cubicBezTo>
                  <a:pt x="3267213" y="1230664"/>
                  <a:pt x="3297291" y="1234429"/>
                  <a:pt x="3316090" y="1226898"/>
                </a:cubicBezTo>
                <a:cubicBezTo>
                  <a:pt x="3316090" y="1226898"/>
                  <a:pt x="3316090" y="1226898"/>
                  <a:pt x="3327369" y="1234429"/>
                </a:cubicBezTo>
                <a:cubicBezTo>
                  <a:pt x="3353687" y="1230664"/>
                  <a:pt x="3380005" y="1211837"/>
                  <a:pt x="3410083" y="1215602"/>
                </a:cubicBezTo>
                <a:cubicBezTo>
                  <a:pt x="3410083" y="1215602"/>
                  <a:pt x="3410083" y="1215602"/>
                  <a:pt x="3410083" y="1208071"/>
                </a:cubicBezTo>
                <a:cubicBezTo>
                  <a:pt x="3598070" y="1193010"/>
                  <a:pt x="3804856" y="1185479"/>
                  <a:pt x="3996603" y="1147825"/>
                </a:cubicBezTo>
                <a:cubicBezTo>
                  <a:pt x="4015401" y="1144060"/>
                  <a:pt x="4045479" y="1151591"/>
                  <a:pt x="4056759" y="1136529"/>
                </a:cubicBezTo>
                <a:cubicBezTo>
                  <a:pt x="4056759" y="1136529"/>
                  <a:pt x="4056759" y="1136529"/>
                  <a:pt x="4037960" y="1132764"/>
                </a:cubicBezTo>
                <a:cubicBezTo>
                  <a:pt x="4045479" y="1125233"/>
                  <a:pt x="4060518" y="1128998"/>
                  <a:pt x="4064278" y="1132764"/>
                </a:cubicBezTo>
                <a:cubicBezTo>
                  <a:pt x="4064278" y="1132764"/>
                  <a:pt x="4064278" y="1132764"/>
                  <a:pt x="4068037" y="1132764"/>
                </a:cubicBezTo>
                <a:cubicBezTo>
                  <a:pt x="4075557" y="1121467"/>
                  <a:pt x="4094356" y="1136529"/>
                  <a:pt x="4105635" y="1121467"/>
                </a:cubicBezTo>
                <a:cubicBezTo>
                  <a:pt x="4101875" y="1110171"/>
                  <a:pt x="4079317" y="1121467"/>
                  <a:pt x="4064278" y="1121467"/>
                </a:cubicBezTo>
                <a:cubicBezTo>
                  <a:pt x="4049239" y="1117702"/>
                  <a:pt x="4022921" y="1106406"/>
                  <a:pt x="3985323" y="1121467"/>
                </a:cubicBezTo>
                <a:cubicBezTo>
                  <a:pt x="3868771" y="1106406"/>
                  <a:pt x="3748460" y="1147825"/>
                  <a:pt x="3631908" y="1132764"/>
                </a:cubicBezTo>
                <a:cubicBezTo>
                  <a:pt x="3594311" y="1117702"/>
                  <a:pt x="3526635" y="1140294"/>
                  <a:pt x="3470239" y="1140294"/>
                </a:cubicBezTo>
                <a:cubicBezTo>
                  <a:pt x="3308570" y="1159121"/>
                  <a:pt x="3146901" y="1147825"/>
                  <a:pt x="2981473" y="1170418"/>
                </a:cubicBezTo>
                <a:cubicBezTo>
                  <a:pt x="2913798" y="1159121"/>
                  <a:pt x="2846123" y="1181714"/>
                  <a:pt x="2789726" y="1166652"/>
                </a:cubicBezTo>
                <a:cubicBezTo>
                  <a:pt x="2691973" y="1159121"/>
                  <a:pt x="2601740" y="1174183"/>
                  <a:pt x="2519025" y="1159121"/>
                </a:cubicBezTo>
                <a:cubicBezTo>
                  <a:pt x="2519025" y="1159121"/>
                  <a:pt x="2519025" y="1159121"/>
                  <a:pt x="2511506" y="1162887"/>
                </a:cubicBezTo>
                <a:cubicBezTo>
                  <a:pt x="2503986" y="1155356"/>
                  <a:pt x="2492707" y="1166652"/>
                  <a:pt x="2488947" y="1166652"/>
                </a:cubicBezTo>
                <a:cubicBezTo>
                  <a:pt x="2451350" y="1177948"/>
                  <a:pt x="2406233" y="1177948"/>
                  <a:pt x="2368636" y="1177948"/>
                </a:cubicBezTo>
                <a:cubicBezTo>
                  <a:pt x="2323519" y="1196775"/>
                  <a:pt x="2274642" y="1193010"/>
                  <a:pt x="2225766" y="1196775"/>
                </a:cubicBezTo>
                <a:cubicBezTo>
                  <a:pt x="2000181" y="1196775"/>
                  <a:pt x="1706922" y="1193010"/>
                  <a:pt x="1466298" y="1189245"/>
                </a:cubicBezTo>
                <a:cubicBezTo>
                  <a:pt x="1402383" y="1174183"/>
                  <a:pt x="1327188" y="1189245"/>
                  <a:pt x="1259513" y="1177948"/>
                </a:cubicBezTo>
                <a:cubicBezTo>
                  <a:pt x="1165519" y="1174183"/>
                  <a:pt x="1086565" y="1162887"/>
                  <a:pt x="992571" y="1162887"/>
                </a:cubicBezTo>
                <a:cubicBezTo>
                  <a:pt x="966253" y="1162887"/>
                  <a:pt x="917377" y="1162887"/>
                  <a:pt x="891058" y="1155356"/>
                </a:cubicBezTo>
                <a:lnTo>
                  <a:pt x="883995" y="1158893"/>
                </a:lnTo>
                <a:lnTo>
                  <a:pt x="876489" y="1158650"/>
                </a:lnTo>
                <a:cubicBezTo>
                  <a:pt x="861920" y="1158180"/>
                  <a:pt x="832782" y="1157239"/>
                  <a:pt x="774506" y="1155356"/>
                </a:cubicBezTo>
                <a:cubicBezTo>
                  <a:pt x="755708" y="1166652"/>
                  <a:pt x="733149" y="1155356"/>
                  <a:pt x="710591" y="1166652"/>
                </a:cubicBezTo>
                <a:cubicBezTo>
                  <a:pt x="661714" y="1162887"/>
                  <a:pt x="590279" y="1166652"/>
                  <a:pt x="530123" y="1166652"/>
                </a:cubicBezTo>
                <a:cubicBezTo>
                  <a:pt x="522604" y="1166652"/>
                  <a:pt x="522604" y="1174183"/>
                  <a:pt x="511325" y="1170418"/>
                </a:cubicBezTo>
                <a:cubicBezTo>
                  <a:pt x="511325" y="1170418"/>
                  <a:pt x="511325" y="1170418"/>
                  <a:pt x="507565" y="1170418"/>
                </a:cubicBezTo>
                <a:cubicBezTo>
                  <a:pt x="500046" y="1174183"/>
                  <a:pt x="496286" y="1177948"/>
                  <a:pt x="488766" y="1174183"/>
                </a:cubicBezTo>
                <a:cubicBezTo>
                  <a:pt x="469968" y="1170418"/>
                  <a:pt x="443649" y="1166652"/>
                  <a:pt x="424851" y="1170418"/>
                </a:cubicBezTo>
                <a:cubicBezTo>
                  <a:pt x="424851" y="1170418"/>
                  <a:pt x="424851" y="1170418"/>
                  <a:pt x="421091" y="1162887"/>
                </a:cubicBezTo>
                <a:cubicBezTo>
                  <a:pt x="413572" y="1166652"/>
                  <a:pt x="409812" y="1170418"/>
                  <a:pt x="398533" y="1170418"/>
                </a:cubicBezTo>
                <a:cubicBezTo>
                  <a:pt x="406052" y="1151591"/>
                  <a:pt x="368455" y="1166652"/>
                  <a:pt x="357175" y="1159121"/>
                </a:cubicBezTo>
                <a:cubicBezTo>
                  <a:pt x="349655" y="1162887"/>
                  <a:pt x="342136" y="1159121"/>
                  <a:pt x="334617" y="1162887"/>
                </a:cubicBezTo>
                <a:cubicBezTo>
                  <a:pt x="338376" y="1159121"/>
                  <a:pt x="334617" y="1159121"/>
                  <a:pt x="338376" y="1155356"/>
                </a:cubicBezTo>
                <a:cubicBezTo>
                  <a:pt x="323337" y="1155356"/>
                  <a:pt x="315818" y="1151591"/>
                  <a:pt x="300779" y="1155356"/>
                </a:cubicBezTo>
                <a:cubicBezTo>
                  <a:pt x="289500" y="1140294"/>
                  <a:pt x="263181" y="1140294"/>
                  <a:pt x="233104" y="1140294"/>
                </a:cubicBezTo>
                <a:cubicBezTo>
                  <a:pt x="266941" y="1136529"/>
                  <a:pt x="323337" y="1136529"/>
                  <a:pt x="353415" y="1125233"/>
                </a:cubicBezTo>
                <a:cubicBezTo>
                  <a:pt x="345896" y="1121467"/>
                  <a:pt x="330857" y="1125233"/>
                  <a:pt x="315818" y="1125233"/>
                </a:cubicBezTo>
                <a:cubicBezTo>
                  <a:pt x="312058" y="1117702"/>
                  <a:pt x="323337" y="1113937"/>
                  <a:pt x="327097" y="1110171"/>
                </a:cubicBezTo>
                <a:cubicBezTo>
                  <a:pt x="327097" y="1110171"/>
                  <a:pt x="327097" y="1110171"/>
                  <a:pt x="274461" y="1102641"/>
                </a:cubicBezTo>
                <a:cubicBezTo>
                  <a:pt x="297019" y="1102641"/>
                  <a:pt x="360935" y="1106406"/>
                  <a:pt x="387253" y="1095110"/>
                </a:cubicBezTo>
                <a:cubicBezTo>
                  <a:pt x="364695" y="1091344"/>
                  <a:pt x="349655" y="1095110"/>
                  <a:pt x="334617" y="1095110"/>
                </a:cubicBezTo>
                <a:cubicBezTo>
                  <a:pt x="338376" y="1087579"/>
                  <a:pt x="319578" y="1083814"/>
                  <a:pt x="312058" y="1083814"/>
                </a:cubicBezTo>
                <a:cubicBezTo>
                  <a:pt x="308298" y="1080048"/>
                  <a:pt x="353415" y="1083814"/>
                  <a:pt x="338376" y="1072517"/>
                </a:cubicBezTo>
                <a:cubicBezTo>
                  <a:pt x="360935" y="1068752"/>
                  <a:pt x="342136" y="1049925"/>
                  <a:pt x="372214" y="1046160"/>
                </a:cubicBezTo>
                <a:cubicBezTo>
                  <a:pt x="338376" y="1042394"/>
                  <a:pt x="323337" y="1080048"/>
                  <a:pt x="293259" y="1064987"/>
                </a:cubicBezTo>
                <a:cubicBezTo>
                  <a:pt x="281980" y="1057456"/>
                  <a:pt x="315818" y="1031098"/>
                  <a:pt x="281980" y="1034863"/>
                </a:cubicBezTo>
                <a:cubicBezTo>
                  <a:pt x="236863" y="1016037"/>
                  <a:pt x="334617" y="1012271"/>
                  <a:pt x="308298" y="985913"/>
                </a:cubicBezTo>
                <a:cubicBezTo>
                  <a:pt x="315818" y="982148"/>
                  <a:pt x="315818" y="978383"/>
                  <a:pt x="323337" y="978383"/>
                </a:cubicBezTo>
                <a:cubicBezTo>
                  <a:pt x="300779" y="978383"/>
                  <a:pt x="289500" y="963321"/>
                  <a:pt x="263181" y="970852"/>
                </a:cubicBezTo>
                <a:cubicBezTo>
                  <a:pt x="206785" y="948259"/>
                  <a:pt x="289500" y="940729"/>
                  <a:pt x="300779" y="918136"/>
                </a:cubicBezTo>
                <a:cubicBezTo>
                  <a:pt x="312058" y="918136"/>
                  <a:pt x="327097" y="918136"/>
                  <a:pt x="330857" y="914371"/>
                </a:cubicBezTo>
                <a:cubicBezTo>
                  <a:pt x="251902" y="880482"/>
                  <a:pt x="139110" y="872952"/>
                  <a:pt x="67675" y="831532"/>
                </a:cubicBezTo>
                <a:cubicBezTo>
                  <a:pt x="52636" y="827767"/>
                  <a:pt x="33837" y="824001"/>
                  <a:pt x="11279" y="824001"/>
                </a:cubicBezTo>
                <a:cubicBezTo>
                  <a:pt x="11279" y="824001"/>
                  <a:pt x="11279" y="824001"/>
                  <a:pt x="0" y="820236"/>
                </a:cubicBezTo>
                <a:cubicBezTo>
                  <a:pt x="0" y="820236"/>
                  <a:pt x="0" y="820236"/>
                  <a:pt x="30078" y="820236"/>
                </a:cubicBezTo>
                <a:cubicBezTo>
                  <a:pt x="26318" y="820236"/>
                  <a:pt x="33837" y="824001"/>
                  <a:pt x="33837" y="824001"/>
                </a:cubicBezTo>
                <a:cubicBezTo>
                  <a:pt x="41357" y="824001"/>
                  <a:pt x="41357" y="820236"/>
                  <a:pt x="45117" y="820236"/>
                </a:cubicBezTo>
                <a:cubicBezTo>
                  <a:pt x="45117" y="820236"/>
                  <a:pt x="45117" y="820236"/>
                  <a:pt x="45117" y="812705"/>
                </a:cubicBezTo>
                <a:cubicBezTo>
                  <a:pt x="101513" y="831532"/>
                  <a:pt x="161669" y="857890"/>
                  <a:pt x="236863" y="865421"/>
                </a:cubicBezTo>
                <a:cubicBezTo>
                  <a:pt x="236863" y="865421"/>
                  <a:pt x="236863" y="865421"/>
                  <a:pt x="240623" y="861655"/>
                </a:cubicBezTo>
                <a:cubicBezTo>
                  <a:pt x="236863" y="872952"/>
                  <a:pt x="251902" y="869186"/>
                  <a:pt x="259422" y="869186"/>
                </a:cubicBezTo>
                <a:cubicBezTo>
                  <a:pt x="259422" y="869186"/>
                  <a:pt x="259422" y="869186"/>
                  <a:pt x="270701" y="861655"/>
                </a:cubicBezTo>
                <a:cubicBezTo>
                  <a:pt x="270701" y="861655"/>
                  <a:pt x="270701" y="861655"/>
                  <a:pt x="274461" y="865421"/>
                </a:cubicBezTo>
                <a:cubicBezTo>
                  <a:pt x="274461" y="865421"/>
                  <a:pt x="274461" y="865421"/>
                  <a:pt x="278220" y="861655"/>
                </a:cubicBezTo>
                <a:cubicBezTo>
                  <a:pt x="274461" y="854125"/>
                  <a:pt x="251902" y="854125"/>
                  <a:pt x="233104" y="857890"/>
                </a:cubicBezTo>
                <a:cubicBezTo>
                  <a:pt x="233104" y="839063"/>
                  <a:pt x="270701" y="850359"/>
                  <a:pt x="278220" y="842828"/>
                </a:cubicBezTo>
                <a:cubicBezTo>
                  <a:pt x="278220" y="842828"/>
                  <a:pt x="278220" y="842828"/>
                  <a:pt x="293259" y="842828"/>
                </a:cubicBezTo>
                <a:cubicBezTo>
                  <a:pt x="297019" y="846594"/>
                  <a:pt x="281980" y="850359"/>
                  <a:pt x="278220" y="854125"/>
                </a:cubicBezTo>
                <a:cubicBezTo>
                  <a:pt x="289500" y="854125"/>
                  <a:pt x="300779" y="865421"/>
                  <a:pt x="312058" y="857890"/>
                </a:cubicBezTo>
                <a:cubicBezTo>
                  <a:pt x="297019" y="850359"/>
                  <a:pt x="315818" y="850359"/>
                  <a:pt x="312058" y="842828"/>
                </a:cubicBezTo>
                <a:cubicBezTo>
                  <a:pt x="312058" y="842828"/>
                  <a:pt x="312058" y="842828"/>
                  <a:pt x="308298" y="839063"/>
                </a:cubicBezTo>
                <a:cubicBezTo>
                  <a:pt x="308298" y="839063"/>
                  <a:pt x="308298" y="839063"/>
                  <a:pt x="304539" y="839063"/>
                </a:cubicBezTo>
                <a:cubicBezTo>
                  <a:pt x="308298" y="839063"/>
                  <a:pt x="308298" y="839063"/>
                  <a:pt x="308298" y="835298"/>
                </a:cubicBezTo>
                <a:cubicBezTo>
                  <a:pt x="308298" y="835298"/>
                  <a:pt x="308298" y="835298"/>
                  <a:pt x="297019" y="831532"/>
                </a:cubicBezTo>
                <a:cubicBezTo>
                  <a:pt x="289500" y="835298"/>
                  <a:pt x="278220" y="839063"/>
                  <a:pt x="270701" y="835298"/>
                </a:cubicBezTo>
                <a:cubicBezTo>
                  <a:pt x="274461" y="827767"/>
                  <a:pt x="300779" y="827767"/>
                  <a:pt x="312058" y="820236"/>
                </a:cubicBezTo>
                <a:cubicBezTo>
                  <a:pt x="312058" y="820236"/>
                  <a:pt x="312058" y="820236"/>
                  <a:pt x="308298" y="816471"/>
                </a:cubicBezTo>
                <a:cubicBezTo>
                  <a:pt x="319578" y="808940"/>
                  <a:pt x="383494" y="812705"/>
                  <a:pt x="353415" y="793878"/>
                </a:cubicBezTo>
                <a:cubicBezTo>
                  <a:pt x="349655" y="790113"/>
                  <a:pt x="342136" y="790113"/>
                  <a:pt x="334617" y="790113"/>
                </a:cubicBezTo>
                <a:cubicBezTo>
                  <a:pt x="304539" y="801409"/>
                  <a:pt x="270701" y="835298"/>
                  <a:pt x="233104" y="824001"/>
                </a:cubicBezTo>
                <a:cubicBezTo>
                  <a:pt x="210545" y="839063"/>
                  <a:pt x="191746" y="835298"/>
                  <a:pt x="161669" y="839063"/>
                </a:cubicBezTo>
                <a:cubicBezTo>
                  <a:pt x="161669" y="839063"/>
                  <a:pt x="161669" y="839063"/>
                  <a:pt x="184227" y="827767"/>
                </a:cubicBezTo>
                <a:cubicBezTo>
                  <a:pt x="184227" y="827767"/>
                  <a:pt x="184227" y="827767"/>
                  <a:pt x="176707" y="827767"/>
                </a:cubicBezTo>
                <a:cubicBezTo>
                  <a:pt x="199266" y="827767"/>
                  <a:pt x="214305" y="805175"/>
                  <a:pt x="251902" y="805175"/>
                </a:cubicBezTo>
                <a:cubicBezTo>
                  <a:pt x="259422" y="801409"/>
                  <a:pt x="259422" y="793878"/>
                  <a:pt x="274461" y="797644"/>
                </a:cubicBezTo>
                <a:cubicBezTo>
                  <a:pt x="274461" y="797644"/>
                  <a:pt x="274461" y="797644"/>
                  <a:pt x="281980" y="797644"/>
                </a:cubicBezTo>
                <a:cubicBezTo>
                  <a:pt x="281980" y="797644"/>
                  <a:pt x="281980" y="797644"/>
                  <a:pt x="297019" y="790113"/>
                </a:cubicBezTo>
                <a:cubicBezTo>
                  <a:pt x="297019" y="790113"/>
                  <a:pt x="297019" y="790113"/>
                  <a:pt x="293259" y="786348"/>
                </a:cubicBezTo>
                <a:cubicBezTo>
                  <a:pt x="281980" y="778817"/>
                  <a:pt x="372214" y="782582"/>
                  <a:pt x="327097" y="763755"/>
                </a:cubicBezTo>
                <a:cubicBezTo>
                  <a:pt x="300779" y="778817"/>
                  <a:pt x="255662" y="771286"/>
                  <a:pt x="236863" y="786348"/>
                </a:cubicBezTo>
                <a:cubicBezTo>
                  <a:pt x="236863" y="786348"/>
                  <a:pt x="236863" y="786348"/>
                  <a:pt x="199266" y="790113"/>
                </a:cubicBezTo>
                <a:cubicBezTo>
                  <a:pt x="244383" y="771286"/>
                  <a:pt x="330857" y="763755"/>
                  <a:pt x="330857" y="726101"/>
                </a:cubicBezTo>
                <a:cubicBezTo>
                  <a:pt x="345896" y="718570"/>
                  <a:pt x="353415" y="711040"/>
                  <a:pt x="357175" y="699743"/>
                </a:cubicBezTo>
                <a:cubicBezTo>
                  <a:pt x="360935" y="703509"/>
                  <a:pt x="360935" y="699743"/>
                  <a:pt x="364695" y="699743"/>
                </a:cubicBezTo>
                <a:cubicBezTo>
                  <a:pt x="364695" y="699743"/>
                  <a:pt x="364695" y="699743"/>
                  <a:pt x="364695" y="688447"/>
                </a:cubicBezTo>
                <a:cubicBezTo>
                  <a:pt x="387253" y="680917"/>
                  <a:pt x="398533" y="665855"/>
                  <a:pt x="402292" y="650793"/>
                </a:cubicBezTo>
                <a:cubicBezTo>
                  <a:pt x="439890" y="628201"/>
                  <a:pt x="417331" y="575486"/>
                  <a:pt x="511325" y="579251"/>
                </a:cubicBezTo>
                <a:cubicBezTo>
                  <a:pt x="526364" y="564190"/>
                  <a:pt x="537643" y="549128"/>
                  <a:pt x="551742" y="534537"/>
                </a:cubicBezTo>
                <a:lnTo>
                  <a:pt x="561872" y="527136"/>
                </a:lnTo>
                <a:lnTo>
                  <a:pt x="558113" y="526214"/>
                </a:lnTo>
                <a:cubicBezTo>
                  <a:pt x="511116" y="514918"/>
                  <a:pt x="465059" y="502680"/>
                  <a:pt x="429342" y="481970"/>
                </a:cubicBezTo>
                <a:cubicBezTo>
                  <a:pt x="414303" y="478205"/>
                  <a:pt x="395504" y="474440"/>
                  <a:pt x="372945" y="474440"/>
                </a:cubicBezTo>
                <a:cubicBezTo>
                  <a:pt x="372945" y="474440"/>
                  <a:pt x="372945" y="474440"/>
                  <a:pt x="361666" y="470674"/>
                </a:cubicBezTo>
                <a:cubicBezTo>
                  <a:pt x="361666" y="470674"/>
                  <a:pt x="361666" y="470674"/>
                  <a:pt x="391744" y="470674"/>
                </a:cubicBezTo>
                <a:cubicBezTo>
                  <a:pt x="387984" y="470674"/>
                  <a:pt x="395504" y="474440"/>
                  <a:pt x="395504" y="474440"/>
                </a:cubicBezTo>
                <a:cubicBezTo>
                  <a:pt x="403023" y="474440"/>
                  <a:pt x="403023" y="470674"/>
                  <a:pt x="406783" y="470674"/>
                </a:cubicBezTo>
                <a:cubicBezTo>
                  <a:pt x="406783" y="470674"/>
                  <a:pt x="406783" y="470674"/>
                  <a:pt x="406783" y="463144"/>
                </a:cubicBezTo>
                <a:cubicBezTo>
                  <a:pt x="434981" y="472557"/>
                  <a:pt x="464119" y="483853"/>
                  <a:pt x="495607" y="493737"/>
                </a:cubicBezTo>
                <a:lnTo>
                  <a:pt x="582131" y="512335"/>
                </a:lnTo>
                <a:lnTo>
                  <a:pt x="609078" y="492647"/>
                </a:lnTo>
                <a:cubicBezTo>
                  <a:pt x="610958" y="494530"/>
                  <a:pt x="614718" y="494530"/>
                  <a:pt x="618947" y="494530"/>
                </a:cubicBezTo>
                <a:lnTo>
                  <a:pt x="624178" y="495306"/>
                </a:lnTo>
                <a:lnTo>
                  <a:pt x="639060" y="493374"/>
                </a:lnTo>
                <a:lnTo>
                  <a:pt x="653196" y="487588"/>
                </a:lnTo>
                <a:lnTo>
                  <a:pt x="661962" y="483064"/>
                </a:lnTo>
                <a:lnTo>
                  <a:pt x="658686" y="481970"/>
                </a:lnTo>
                <a:cubicBezTo>
                  <a:pt x="651166" y="485736"/>
                  <a:pt x="639887" y="489501"/>
                  <a:pt x="632367" y="485736"/>
                </a:cubicBezTo>
                <a:cubicBezTo>
                  <a:pt x="636127" y="478205"/>
                  <a:pt x="662445" y="478205"/>
                  <a:pt x="673725" y="470674"/>
                </a:cubicBezTo>
                <a:cubicBezTo>
                  <a:pt x="673725" y="470674"/>
                  <a:pt x="673725" y="470674"/>
                  <a:pt x="669965" y="466909"/>
                </a:cubicBezTo>
                <a:cubicBezTo>
                  <a:pt x="681244" y="459378"/>
                  <a:pt x="745160" y="463144"/>
                  <a:pt x="715082" y="444317"/>
                </a:cubicBezTo>
                <a:cubicBezTo>
                  <a:pt x="711322" y="440551"/>
                  <a:pt x="703802" y="440551"/>
                  <a:pt x="696283" y="440551"/>
                </a:cubicBezTo>
                <a:cubicBezTo>
                  <a:pt x="666205" y="451847"/>
                  <a:pt x="632367" y="485736"/>
                  <a:pt x="594770" y="474440"/>
                </a:cubicBezTo>
                <a:cubicBezTo>
                  <a:pt x="572212" y="489501"/>
                  <a:pt x="553413" y="485736"/>
                  <a:pt x="523335" y="489501"/>
                </a:cubicBezTo>
                <a:cubicBezTo>
                  <a:pt x="523335" y="489501"/>
                  <a:pt x="523335" y="489501"/>
                  <a:pt x="545893" y="478205"/>
                </a:cubicBezTo>
                <a:cubicBezTo>
                  <a:pt x="545893" y="478205"/>
                  <a:pt x="545893" y="478205"/>
                  <a:pt x="538374" y="478205"/>
                </a:cubicBezTo>
                <a:cubicBezTo>
                  <a:pt x="560932" y="478205"/>
                  <a:pt x="575971" y="455613"/>
                  <a:pt x="613569" y="455613"/>
                </a:cubicBezTo>
                <a:cubicBezTo>
                  <a:pt x="621088" y="451847"/>
                  <a:pt x="621088" y="444317"/>
                  <a:pt x="636127" y="448082"/>
                </a:cubicBezTo>
                <a:cubicBezTo>
                  <a:pt x="636127" y="448082"/>
                  <a:pt x="636127" y="448082"/>
                  <a:pt x="643647" y="448082"/>
                </a:cubicBezTo>
                <a:cubicBezTo>
                  <a:pt x="643647" y="448082"/>
                  <a:pt x="643647" y="448082"/>
                  <a:pt x="658686" y="440551"/>
                </a:cubicBezTo>
                <a:cubicBezTo>
                  <a:pt x="658686" y="440551"/>
                  <a:pt x="658686" y="440551"/>
                  <a:pt x="654926" y="436786"/>
                </a:cubicBezTo>
                <a:cubicBezTo>
                  <a:pt x="643647" y="429255"/>
                  <a:pt x="733880" y="433020"/>
                  <a:pt x="688764" y="414193"/>
                </a:cubicBezTo>
                <a:cubicBezTo>
                  <a:pt x="662445" y="429255"/>
                  <a:pt x="617328" y="421724"/>
                  <a:pt x="598530" y="436786"/>
                </a:cubicBezTo>
                <a:cubicBezTo>
                  <a:pt x="598530" y="436786"/>
                  <a:pt x="598530" y="436786"/>
                  <a:pt x="560932" y="440551"/>
                </a:cubicBezTo>
                <a:cubicBezTo>
                  <a:pt x="606049" y="421724"/>
                  <a:pt x="692523" y="414193"/>
                  <a:pt x="692523" y="376539"/>
                </a:cubicBezTo>
                <a:cubicBezTo>
                  <a:pt x="707562" y="369009"/>
                  <a:pt x="715082" y="361478"/>
                  <a:pt x="718841" y="350182"/>
                </a:cubicBezTo>
                <a:cubicBezTo>
                  <a:pt x="722601" y="353947"/>
                  <a:pt x="722601" y="350182"/>
                  <a:pt x="726361" y="350182"/>
                </a:cubicBezTo>
                <a:cubicBezTo>
                  <a:pt x="726361" y="350182"/>
                  <a:pt x="726361" y="350182"/>
                  <a:pt x="726361" y="338886"/>
                </a:cubicBezTo>
                <a:cubicBezTo>
                  <a:pt x="748919" y="331355"/>
                  <a:pt x="760199" y="316293"/>
                  <a:pt x="763958" y="301232"/>
                </a:cubicBezTo>
                <a:cubicBezTo>
                  <a:pt x="801556" y="278639"/>
                  <a:pt x="778997" y="225924"/>
                  <a:pt x="872991" y="229689"/>
                </a:cubicBezTo>
                <a:cubicBezTo>
                  <a:pt x="903069" y="199566"/>
                  <a:pt x="918108" y="169443"/>
                  <a:pt x="970744" y="143085"/>
                </a:cubicBezTo>
                <a:cubicBezTo>
                  <a:pt x="974504" y="146851"/>
                  <a:pt x="985783" y="143085"/>
                  <a:pt x="993302" y="146851"/>
                </a:cubicBezTo>
                <a:cubicBezTo>
                  <a:pt x="1023380" y="139320"/>
                  <a:pt x="1045939" y="109197"/>
                  <a:pt x="1087296" y="124258"/>
                </a:cubicBezTo>
                <a:cubicBezTo>
                  <a:pt x="1098575" y="128024"/>
                  <a:pt x="1102335" y="124258"/>
                  <a:pt x="1109854" y="120493"/>
                </a:cubicBezTo>
                <a:cubicBezTo>
                  <a:pt x="1109854" y="120493"/>
                  <a:pt x="1109854" y="120493"/>
                  <a:pt x="1109854" y="112962"/>
                </a:cubicBezTo>
                <a:cubicBezTo>
                  <a:pt x="1113614" y="128024"/>
                  <a:pt x="1154971" y="124258"/>
                  <a:pt x="1173770" y="120493"/>
                </a:cubicBezTo>
                <a:cubicBezTo>
                  <a:pt x="1170010" y="124258"/>
                  <a:pt x="1177530" y="128024"/>
                  <a:pt x="1166250" y="131789"/>
                </a:cubicBezTo>
                <a:cubicBezTo>
                  <a:pt x="1211367" y="139320"/>
                  <a:pt x="1233926" y="161912"/>
                  <a:pt x="1290322" y="154381"/>
                </a:cubicBezTo>
                <a:cubicBezTo>
                  <a:pt x="1290322" y="154381"/>
                  <a:pt x="1290322" y="154381"/>
                  <a:pt x="1286562" y="158147"/>
                </a:cubicBezTo>
                <a:cubicBezTo>
                  <a:pt x="1297841" y="158147"/>
                  <a:pt x="1301601" y="165678"/>
                  <a:pt x="1316640" y="161912"/>
                </a:cubicBezTo>
                <a:cubicBezTo>
                  <a:pt x="1350478" y="143085"/>
                  <a:pt x="1339198" y="109197"/>
                  <a:pt x="1399354" y="101666"/>
                </a:cubicBezTo>
                <a:cubicBezTo>
                  <a:pt x="1399354" y="94135"/>
                  <a:pt x="1406874" y="79073"/>
                  <a:pt x="1380555" y="82839"/>
                </a:cubicBezTo>
                <a:cubicBezTo>
                  <a:pt x="1376796" y="82839"/>
                  <a:pt x="1369276" y="86604"/>
                  <a:pt x="1369276" y="90370"/>
                </a:cubicBezTo>
                <a:cubicBezTo>
                  <a:pt x="1369276" y="86604"/>
                  <a:pt x="1369276" y="86604"/>
                  <a:pt x="1369276" y="86604"/>
                </a:cubicBezTo>
                <a:cubicBezTo>
                  <a:pt x="1339198" y="79073"/>
                  <a:pt x="1309120" y="79073"/>
                  <a:pt x="1275283" y="86604"/>
                </a:cubicBezTo>
                <a:cubicBezTo>
                  <a:pt x="1275283" y="86604"/>
                  <a:pt x="1275283" y="86604"/>
                  <a:pt x="1252724" y="97900"/>
                </a:cubicBezTo>
                <a:cubicBezTo>
                  <a:pt x="1248965" y="86604"/>
                  <a:pt x="1301601" y="86604"/>
                  <a:pt x="1282802" y="71543"/>
                </a:cubicBezTo>
                <a:cubicBezTo>
                  <a:pt x="1282802" y="71543"/>
                  <a:pt x="1282802" y="71543"/>
                  <a:pt x="1309120" y="67777"/>
                </a:cubicBezTo>
                <a:cubicBezTo>
                  <a:pt x="1327919" y="79073"/>
                  <a:pt x="1373036" y="79073"/>
                  <a:pt x="1399354" y="82839"/>
                </a:cubicBezTo>
                <a:cubicBezTo>
                  <a:pt x="1425672" y="82839"/>
                  <a:pt x="1433192" y="60247"/>
                  <a:pt x="1455750" y="56481"/>
                </a:cubicBezTo>
                <a:cubicBezTo>
                  <a:pt x="1455750" y="52716"/>
                  <a:pt x="1448231" y="52716"/>
                  <a:pt x="1440711" y="52716"/>
                </a:cubicBezTo>
                <a:cubicBezTo>
                  <a:pt x="1444471" y="33889"/>
                  <a:pt x="1485828" y="33889"/>
                  <a:pt x="1508387" y="22593"/>
                </a:cubicBezTo>
                <a:cubicBezTo>
                  <a:pt x="1497107" y="18827"/>
                  <a:pt x="1485828" y="15062"/>
                  <a:pt x="1474549" y="18827"/>
                </a:cubicBezTo>
                <a:cubicBezTo>
                  <a:pt x="1512146" y="7531"/>
                  <a:pt x="1557263" y="18827"/>
                  <a:pt x="1594861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800" b="1" dirty="0">
                <a:solidFill>
                  <a:srgbClr val="C00000"/>
                </a:solidFill>
                <a:latin typeface="汉仪雁翎体简" panose="02010609000101010101" pitchFamily="49" charset="-122"/>
                <a:ea typeface="汉仪雁翎体简" panose="02010609000101010101" pitchFamily="49" charset="-122"/>
              </a:rPr>
              <a:t>   </a:t>
            </a:r>
            <a:endParaRPr lang="en-US" altLang="zh-CN" sz="1800" b="1" dirty="0">
              <a:solidFill>
                <a:srgbClr val="C00000"/>
              </a:solidFill>
              <a:latin typeface="汉仪雁翎体简" panose="02010609000101010101" pitchFamily="49" charset="-122"/>
              <a:ea typeface="汉仪雁翎体简" panose="02010609000101010101" pitchFamily="49" charset="-122"/>
            </a:endParaRPr>
          </a:p>
          <a:p>
            <a:r>
              <a:rPr lang="zh-CN" altLang="en-US" sz="2800" b="1" dirty="0">
                <a:solidFill>
                  <a:srgbClr val="C00000"/>
                </a:solidFill>
                <a:latin typeface="汉仪雁翎体简" panose="02010609000101010101" pitchFamily="49" charset="-122"/>
                <a:ea typeface="汉仪雁翎体简" panose="02010609000101010101" pitchFamily="49" charset="-122"/>
              </a:rPr>
              <a:t>   </a:t>
            </a:r>
            <a:r>
              <a:rPr lang="en-US" altLang="zh-CN" sz="2800" b="1" dirty="0">
                <a:solidFill>
                  <a:srgbClr val="C00000"/>
                </a:solidFill>
                <a:latin typeface="汉仪雁翎体简" panose="02010609000101010101" pitchFamily="49" charset="-122"/>
                <a:ea typeface="汉仪雁翎体简" panose="02010609000101010101" pitchFamily="49" charset="-122"/>
              </a:rPr>
              <a:t>  </a:t>
            </a:r>
            <a:r>
              <a:rPr lang="zh-CN" altLang="en-US" sz="2800" b="1" dirty="0">
                <a:solidFill>
                  <a:srgbClr val="C00000"/>
                </a:solidFill>
                <a:latin typeface="汉仪雁翎体简" panose="02010609000101010101" pitchFamily="49" charset="-122"/>
                <a:ea typeface="汉仪雁翎体简" panose="02010609000101010101" pitchFamily="49" charset="-122"/>
              </a:rPr>
              <a:t>两岸共同悼念的唯二抗日名将</a:t>
            </a:r>
          </a:p>
        </p:txBody>
      </p:sp>
    </p:spTree>
    <p:extLst>
      <p:ext uri="{BB962C8B-B14F-4D97-AF65-F5344CB8AC3E}">
        <p14:creationId xmlns:p14="http://schemas.microsoft.com/office/powerpoint/2010/main" val="601760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2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250" fill="hold"/>
                                        <p:tgtEl>
                                          <p:spTgt spid="2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  <p:bldP spid="22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5B0E6A5-986B-DE21-976D-0E8BE8F210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组合 21">
            <a:extLst>
              <a:ext uri="{FF2B5EF4-FFF2-40B4-BE49-F238E27FC236}">
                <a16:creationId xmlns:a16="http://schemas.microsoft.com/office/drawing/2014/main" id="{0364275F-06AF-30FE-36C7-454E85E3AD5C}"/>
              </a:ext>
            </a:extLst>
          </p:cNvPr>
          <p:cNvGrpSpPr/>
          <p:nvPr/>
        </p:nvGrpSpPr>
        <p:grpSpPr>
          <a:xfrm rot="7858820">
            <a:off x="1643584" y="-702171"/>
            <a:ext cx="16526939" cy="7389160"/>
            <a:chOff x="3340100" y="2316581"/>
            <a:chExt cx="5511800" cy="2224838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CB5D8E6A-1B64-605B-5A56-8DFE875C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0019" y="2584290"/>
              <a:ext cx="11881" cy="11881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1 w 1"/>
                <a:gd name="T5" fmla="*/ 0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8B0732B8-E889-496D-04E6-E5D595BC6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9755" y="2559737"/>
              <a:ext cx="650264" cy="72868"/>
            </a:xfrm>
            <a:custGeom>
              <a:avLst/>
              <a:gdLst>
                <a:gd name="T0" fmla="*/ 52 w 54"/>
                <a:gd name="T1" fmla="*/ 5 h 6"/>
                <a:gd name="T2" fmla="*/ 48 w 54"/>
                <a:gd name="T3" fmla="*/ 5 h 6"/>
                <a:gd name="T4" fmla="*/ 46 w 54"/>
                <a:gd name="T5" fmla="*/ 5 h 6"/>
                <a:gd name="T6" fmla="*/ 46 w 54"/>
                <a:gd name="T7" fmla="*/ 5 h 6"/>
                <a:gd name="T8" fmla="*/ 44 w 54"/>
                <a:gd name="T9" fmla="*/ 5 h 6"/>
                <a:gd name="T10" fmla="*/ 37 w 54"/>
                <a:gd name="T11" fmla="*/ 4 h 6"/>
                <a:gd name="T12" fmla="*/ 37 w 54"/>
                <a:gd name="T13" fmla="*/ 4 h 6"/>
                <a:gd name="T14" fmla="*/ 31 w 54"/>
                <a:gd name="T15" fmla="*/ 4 h 6"/>
                <a:gd name="T16" fmla="*/ 25 w 54"/>
                <a:gd name="T17" fmla="*/ 3 h 6"/>
                <a:gd name="T18" fmla="*/ 22 w 54"/>
                <a:gd name="T19" fmla="*/ 3 h 6"/>
                <a:gd name="T20" fmla="*/ 22 w 54"/>
                <a:gd name="T21" fmla="*/ 2 h 6"/>
                <a:gd name="T22" fmla="*/ 18 w 54"/>
                <a:gd name="T23" fmla="*/ 2 h 6"/>
                <a:gd name="T24" fmla="*/ 18 w 54"/>
                <a:gd name="T25" fmla="*/ 3 h 6"/>
                <a:gd name="T26" fmla="*/ 11 w 54"/>
                <a:gd name="T27" fmla="*/ 2 h 6"/>
                <a:gd name="T28" fmla="*/ 0 w 54"/>
                <a:gd name="T29" fmla="*/ 2 h 6"/>
                <a:gd name="T30" fmla="*/ 4 w 54"/>
                <a:gd name="T31" fmla="*/ 0 h 6"/>
                <a:gd name="T32" fmla="*/ 6 w 54"/>
                <a:gd name="T33" fmla="*/ 2 h 6"/>
                <a:gd name="T34" fmla="*/ 25 w 54"/>
                <a:gd name="T35" fmla="*/ 1 h 6"/>
                <a:gd name="T36" fmla="*/ 25 w 54"/>
                <a:gd name="T37" fmla="*/ 1 h 6"/>
                <a:gd name="T38" fmla="*/ 24 w 54"/>
                <a:gd name="T39" fmla="*/ 0 h 6"/>
                <a:gd name="T40" fmla="*/ 24 w 54"/>
                <a:gd name="T41" fmla="*/ 0 h 6"/>
                <a:gd name="T42" fmla="*/ 26 w 54"/>
                <a:gd name="T43" fmla="*/ 0 h 6"/>
                <a:gd name="T44" fmla="*/ 26 w 54"/>
                <a:gd name="T45" fmla="*/ 0 h 6"/>
                <a:gd name="T46" fmla="*/ 25 w 54"/>
                <a:gd name="T47" fmla="*/ 1 h 6"/>
                <a:gd name="T48" fmla="*/ 26 w 54"/>
                <a:gd name="T49" fmla="*/ 1 h 6"/>
                <a:gd name="T50" fmla="*/ 34 w 54"/>
                <a:gd name="T51" fmla="*/ 2 h 6"/>
                <a:gd name="T52" fmla="*/ 37 w 54"/>
                <a:gd name="T53" fmla="*/ 2 h 6"/>
                <a:gd name="T54" fmla="*/ 36 w 54"/>
                <a:gd name="T55" fmla="*/ 0 h 6"/>
                <a:gd name="T56" fmla="*/ 38 w 54"/>
                <a:gd name="T57" fmla="*/ 1 h 6"/>
                <a:gd name="T58" fmla="*/ 38 w 54"/>
                <a:gd name="T59" fmla="*/ 1 h 6"/>
                <a:gd name="T60" fmla="*/ 45 w 54"/>
                <a:gd name="T61" fmla="*/ 3 h 6"/>
                <a:gd name="T62" fmla="*/ 46 w 54"/>
                <a:gd name="T63" fmla="*/ 2 h 6"/>
                <a:gd name="T64" fmla="*/ 53 w 54"/>
                <a:gd name="T65" fmla="*/ 4 h 6"/>
                <a:gd name="T66" fmla="*/ 54 w 54"/>
                <a:gd name="T67" fmla="*/ 3 h 6"/>
                <a:gd name="T68" fmla="*/ 52 w 54"/>
                <a:gd name="T6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6">
                  <a:moveTo>
                    <a:pt x="52" y="5"/>
                  </a:moveTo>
                  <a:cubicBezTo>
                    <a:pt x="52" y="3"/>
                    <a:pt x="50" y="4"/>
                    <a:pt x="48" y="5"/>
                  </a:cubicBezTo>
                  <a:cubicBezTo>
                    <a:pt x="48" y="5"/>
                    <a:pt x="47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5" y="4"/>
                    <a:pt x="44" y="5"/>
                    <a:pt x="44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5" y="2"/>
                    <a:pt x="33" y="6"/>
                    <a:pt x="31" y="4"/>
                  </a:cubicBezTo>
                  <a:cubicBezTo>
                    <a:pt x="29" y="4"/>
                    <a:pt x="27" y="5"/>
                    <a:pt x="25" y="3"/>
                  </a:cubicBezTo>
                  <a:cubicBezTo>
                    <a:pt x="24" y="3"/>
                    <a:pt x="23" y="4"/>
                    <a:pt x="22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1" y="2"/>
                    <a:pt x="19" y="2"/>
                    <a:pt x="18" y="2"/>
                  </a:cubicBezTo>
                  <a:cubicBezTo>
                    <a:pt x="18" y="2"/>
                    <a:pt x="18" y="2"/>
                    <a:pt x="18" y="3"/>
                  </a:cubicBezTo>
                  <a:cubicBezTo>
                    <a:pt x="17" y="2"/>
                    <a:pt x="12" y="2"/>
                    <a:pt x="11" y="2"/>
                  </a:cubicBezTo>
                  <a:cubicBezTo>
                    <a:pt x="7" y="2"/>
                    <a:pt x="4" y="2"/>
                    <a:pt x="0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5" y="1"/>
                    <a:pt x="6" y="2"/>
                  </a:cubicBezTo>
                  <a:cubicBezTo>
                    <a:pt x="12" y="0"/>
                    <a:pt x="18" y="2"/>
                    <a:pt x="25" y="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1"/>
                  </a:cubicBezTo>
                  <a:cubicBezTo>
                    <a:pt x="25" y="1"/>
                    <a:pt x="26" y="1"/>
                    <a:pt x="26" y="1"/>
                  </a:cubicBezTo>
                  <a:cubicBezTo>
                    <a:pt x="28" y="4"/>
                    <a:pt x="32" y="1"/>
                    <a:pt x="34" y="2"/>
                  </a:cubicBezTo>
                  <a:cubicBezTo>
                    <a:pt x="35" y="2"/>
                    <a:pt x="36" y="3"/>
                    <a:pt x="37" y="2"/>
                  </a:cubicBezTo>
                  <a:cubicBezTo>
                    <a:pt x="37" y="1"/>
                    <a:pt x="36" y="1"/>
                    <a:pt x="36" y="0"/>
                  </a:cubicBezTo>
                  <a:cubicBezTo>
                    <a:pt x="37" y="0"/>
                    <a:pt x="37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40" y="1"/>
                    <a:pt x="43" y="2"/>
                    <a:pt x="45" y="3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7" y="5"/>
                    <a:pt x="51" y="1"/>
                    <a:pt x="53" y="4"/>
                  </a:cubicBezTo>
                  <a:cubicBezTo>
                    <a:pt x="54" y="3"/>
                    <a:pt x="54" y="3"/>
                    <a:pt x="54" y="3"/>
                  </a:cubicBezTo>
                  <a:lnTo>
                    <a:pt x="52" y="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5DA53E72-E878-C9C5-F644-BA48748740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7359" y="2572410"/>
              <a:ext cx="1913566" cy="133063"/>
            </a:xfrm>
            <a:custGeom>
              <a:avLst/>
              <a:gdLst>
                <a:gd name="T0" fmla="*/ 154 w 159"/>
                <a:gd name="T1" fmla="*/ 5 h 11"/>
                <a:gd name="T2" fmla="*/ 155 w 159"/>
                <a:gd name="T3" fmla="*/ 5 h 11"/>
                <a:gd name="T4" fmla="*/ 147 w 159"/>
                <a:gd name="T5" fmla="*/ 6 h 11"/>
                <a:gd name="T6" fmla="*/ 134 w 159"/>
                <a:gd name="T7" fmla="*/ 7 h 11"/>
                <a:gd name="T8" fmla="*/ 125 w 159"/>
                <a:gd name="T9" fmla="*/ 7 h 11"/>
                <a:gd name="T10" fmla="*/ 106 w 159"/>
                <a:gd name="T11" fmla="*/ 9 h 11"/>
                <a:gd name="T12" fmla="*/ 101 w 159"/>
                <a:gd name="T13" fmla="*/ 8 h 11"/>
                <a:gd name="T14" fmla="*/ 84 w 159"/>
                <a:gd name="T15" fmla="*/ 9 h 11"/>
                <a:gd name="T16" fmla="*/ 86 w 159"/>
                <a:gd name="T17" fmla="*/ 8 h 11"/>
                <a:gd name="T18" fmla="*/ 100 w 159"/>
                <a:gd name="T19" fmla="*/ 7 h 11"/>
                <a:gd name="T20" fmla="*/ 113 w 159"/>
                <a:gd name="T21" fmla="*/ 5 h 11"/>
                <a:gd name="T22" fmla="*/ 91 w 159"/>
                <a:gd name="T23" fmla="*/ 7 h 11"/>
                <a:gd name="T24" fmla="*/ 70 w 159"/>
                <a:gd name="T25" fmla="*/ 8 h 11"/>
                <a:gd name="T26" fmla="*/ 66 w 159"/>
                <a:gd name="T27" fmla="*/ 10 h 11"/>
                <a:gd name="T28" fmla="*/ 61 w 159"/>
                <a:gd name="T29" fmla="*/ 9 h 11"/>
                <a:gd name="T30" fmla="*/ 61 w 159"/>
                <a:gd name="T31" fmla="*/ 8 h 11"/>
                <a:gd name="T32" fmla="*/ 58 w 159"/>
                <a:gd name="T33" fmla="*/ 9 h 11"/>
                <a:gd name="T34" fmla="*/ 59 w 159"/>
                <a:gd name="T35" fmla="*/ 11 h 11"/>
                <a:gd name="T36" fmla="*/ 56 w 159"/>
                <a:gd name="T37" fmla="*/ 10 h 11"/>
                <a:gd name="T38" fmla="*/ 56 w 159"/>
                <a:gd name="T39" fmla="*/ 9 h 11"/>
                <a:gd name="T40" fmla="*/ 50 w 159"/>
                <a:gd name="T41" fmla="*/ 8 h 11"/>
                <a:gd name="T42" fmla="*/ 41 w 159"/>
                <a:gd name="T43" fmla="*/ 10 h 11"/>
                <a:gd name="T44" fmla="*/ 34 w 159"/>
                <a:gd name="T45" fmla="*/ 9 h 11"/>
                <a:gd name="T46" fmla="*/ 31 w 159"/>
                <a:gd name="T47" fmla="*/ 9 h 11"/>
                <a:gd name="T48" fmla="*/ 5 w 159"/>
                <a:gd name="T49" fmla="*/ 9 h 11"/>
                <a:gd name="T50" fmla="*/ 4 w 159"/>
                <a:gd name="T51" fmla="*/ 9 h 11"/>
                <a:gd name="T52" fmla="*/ 6 w 159"/>
                <a:gd name="T53" fmla="*/ 8 h 11"/>
                <a:gd name="T54" fmla="*/ 10 w 159"/>
                <a:gd name="T55" fmla="*/ 8 h 11"/>
                <a:gd name="T56" fmla="*/ 12 w 159"/>
                <a:gd name="T57" fmla="*/ 8 h 11"/>
                <a:gd name="T58" fmla="*/ 19 w 159"/>
                <a:gd name="T59" fmla="*/ 7 h 11"/>
                <a:gd name="T60" fmla="*/ 20 w 159"/>
                <a:gd name="T61" fmla="*/ 8 h 11"/>
                <a:gd name="T62" fmla="*/ 23 w 159"/>
                <a:gd name="T63" fmla="*/ 7 h 11"/>
                <a:gd name="T64" fmla="*/ 24 w 159"/>
                <a:gd name="T65" fmla="*/ 8 h 11"/>
                <a:gd name="T66" fmla="*/ 27 w 159"/>
                <a:gd name="T67" fmla="*/ 8 h 11"/>
                <a:gd name="T68" fmla="*/ 28 w 159"/>
                <a:gd name="T69" fmla="*/ 8 h 11"/>
                <a:gd name="T70" fmla="*/ 29 w 159"/>
                <a:gd name="T71" fmla="*/ 6 h 11"/>
                <a:gd name="T72" fmla="*/ 38 w 159"/>
                <a:gd name="T73" fmla="*/ 7 h 11"/>
                <a:gd name="T74" fmla="*/ 39 w 159"/>
                <a:gd name="T75" fmla="*/ 8 h 11"/>
                <a:gd name="T76" fmla="*/ 47 w 159"/>
                <a:gd name="T77" fmla="*/ 6 h 11"/>
                <a:gd name="T78" fmla="*/ 47 w 159"/>
                <a:gd name="T79" fmla="*/ 7 h 11"/>
                <a:gd name="T80" fmla="*/ 48 w 159"/>
                <a:gd name="T81" fmla="*/ 7 h 11"/>
                <a:gd name="T82" fmla="*/ 49 w 159"/>
                <a:gd name="T83" fmla="*/ 6 h 11"/>
                <a:gd name="T84" fmla="*/ 51 w 159"/>
                <a:gd name="T85" fmla="*/ 6 h 11"/>
                <a:gd name="T86" fmla="*/ 57 w 159"/>
                <a:gd name="T87" fmla="*/ 5 h 11"/>
                <a:gd name="T88" fmla="*/ 54 w 159"/>
                <a:gd name="T89" fmla="*/ 6 h 11"/>
                <a:gd name="T90" fmla="*/ 65 w 159"/>
                <a:gd name="T91" fmla="*/ 6 h 11"/>
                <a:gd name="T92" fmla="*/ 65 w 159"/>
                <a:gd name="T93" fmla="*/ 5 h 11"/>
                <a:gd name="T94" fmla="*/ 73 w 159"/>
                <a:gd name="T95" fmla="*/ 5 h 11"/>
                <a:gd name="T96" fmla="*/ 113 w 159"/>
                <a:gd name="T97" fmla="*/ 2 h 11"/>
                <a:gd name="T98" fmla="*/ 120 w 159"/>
                <a:gd name="T99" fmla="*/ 1 h 11"/>
                <a:gd name="T100" fmla="*/ 121 w 159"/>
                <a:gd name="T101" fmla="*/ 0 h 11"/>
                <a:gd name="T102" fmla="*/ 124 w 159"/>
                <a:gd name="T103" fmla="*/ 1 h 11"/>
                <a:gd name="T104" fmla="*/ 129 w 159"/>
                <a:gd name="T105" fmla="*/ 3 h 11"/>
                <a:gd name="T106" fmla="*/ 137 w 159"/>
                <a:gd name="T107" fmla="*/ 3 h 11"/>
                <a:gd name="T108" fmla="*/ 149 w 159"/>
                <a:gd name="T109" fmla="*/ 4 h 11"/>
                <a:gd name="T110" fmla="*/ 151 w 159"/>
                <a:gd name="T111" fmla="*/ 4 h 11"/>
                <a:gd name="T112" fmla="*/ 151 w 159"/>
                <a:gd name="T113" fmla="*/ 4 h 11"/>
                <a:gd name="T114" fmla="*/ 159 w 159"/>
                <a:gd name="T11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9" h="11">
                  <a:moveTo>
                    <a:pt x="155" y="6"/>
                  </a:moveTo>
                  <a:cubicBezTo>
                    <a:pt x="154" y="5"/>
                    <a:pt x="154" y="5"/>
                    <a:pt x="154" y="5"/>
                  </a:cubicBezTo>
                  <a:cubicBezTo>
                    <a:pt x="154" y="5"/>
                    <a:pt x="154" y="6"/>
                    <a:pt x="155" y="5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55" y="4"/>
                    <a:pt x="154" y="4"/>
                    <a:pt x="153" y="4"/>
                  </a:cubicBezTo>
                  <a:cubicBezTo>
                    <a:pt x="152" y="7"/>
                    <a:pt x="149" y="4"/>
                    <a:pt x="147" y="6"/>
                  </a:cubicBezTo>
                  <a:cubicBezTo>
                    <a:pt x="147" y="5"/>
                    <a:pt x="146" y="5"/>
                    <a:pt x="145" y="5"/>
                  </a:cubicBezTo>
                  <a:cubicBezTo>
                    <a:pt x="142" y="7"/>
                    <a:pt x="138" y="6"/>
                    <a:pt x="134" y="7"/>
                  </a:cubicBezTo>
                  <a:cubicBezTo>
                    <a:pt x="131" y="7"/>
                    <a:pt x="128" y="6"/>
                    <a:pt x="125" y="7"/>
                  </a:cubicBezTo>
                  <a:cubicBezTo>
                    <a:pt x="125" y="7"/>
                    <a:pt x="125" y="7"/>
                    <a:pt x="125" y="7"/>
                  </a:cubicBezTo>
                  <a:cubicBezTo>
                    <a:pt x="118" y="7"/>
                    <a:pt x="113" y="7"/>
                    <a:pt x="106" y="7"/>
                  </a:cubicBezTo>
                  <a:cubicBezTo>
                    <a:pt x="105" y="8"/>
                    <a:pt x="105" y="9"/>
                    <a:pt x="106" y="9"/>
                  </a:cubicBezTo>
                  <a:cubicBezTo>
                    <a:pt x="106" y="6"/>
                    <a:pt x="103" y="8"/>
                    <a:pt x="101" y="8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94" y="9"/>
                    <a:pt x="89" y="8"/>
                    <a:pt x="84" y="9"/>
                  </a:cubicBezTo>
                  <a:cubicBezTo>
                    <a:pt x="84" y="8"/>
                    <a:pt x="84" y="8"/>
                    <a:pt x="84" y="8"/>
                  </a:cubicBezTo>
                  <a:cubicBezTo>
                    <a:pt x="84" y="8"/>
                    <a:pt x="85" y="9"/>
                    <a:pt x="86" y="8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90" y="10"/>
                    <a:pt x="97" y="6"/>
                    <a:pt x="100" y="7"/>
                  </a:cubicBezTo>
                  <a:cubicBezTo>
                    <a:pt x="104" y="7"/>
                    <a:pt x="109" y="5"/>
                    <a:pt x="113" y="6"/>
                  </a:cubicBezTo>
                  <a:cubicBezTo>
                    <a:pt x="113" y="6"/>
                    <a:pt x="114" y="6"/>
                    <a:pt x="113" y="5"/>
                  </a:cubicBezTo>
                  <a:cubicBezTo>
                    <a:pt x="106" y="4"/>
                    <a:pt x="98" y="4"/>
                    <a:pt x="90" y="7"/>
                  </a:cubicBezTo>
                  <a:cubicBezTo>
                    <a:pt x="90" y="8"/>
                    <a:pt x="90" y="7"/>
                    <a:pt x="91" y="7"/>
                  </a:cubicBezTo>
                  <a:cubicBezTo>
                    <a:pt x="87" y="5"/>
                    <a:pt x="82" y="6"/>
                    <a:pt x="78" y="6"/>
                  </a:cubicBezTo>
                  <a:cubicBezTo>
                    <a:pt x="76" y="8"/>
                    <a:pt x="72" y="5"/>
                    <a:pt x="70" y="8"/>
                  </a:cubicBezTo>
                  <a:cubicBezTo>
                    <a:pt x="71" y="8"/>
                    <a:pt x="71" y="9"/>
                    <a:pt x="71" y="9"/>
                  </a:cubicBezTo>
                  <a:cubicBezTo>
                    <a:pt x="69" y="8"/>
                    <a:pt x="68" y="11"/>
                    <a:pt x="66" y="10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5" y="8"/>
                    <a:pt x="63" y="8"/>
                    <a:pt x="61" y="9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60" y="8"/>
                    <a:pt x="61" y="9"/>
                    <a:pt x="61" y="8"/>
                  </a:cubicBezTo>
                  <a:cubicBezTo>
                    <a:pt x="60" y="7"/>
                    <a:pt x="58" y="8"/>
                    <a:pt x="57" y="8"/>
                  </a:cubicBezTo>
                  <a:cubicBezTo>
                    <a:pt x="57" y="8"/>
                    <a:pt x="58" y="9"/>
                    <a:pt x="58" y="9"/>
                  </a:cubicBezTo>
                  <a:cubicBezTo>
                    <a:pt x="58" y="9"/>
                    <a:pt x="57" y="9"/>
                    <a:pt x="57" y="9"/>
                  </a:cubicBezTo>
                  <a:cubicBezTo>
                    <a:pt x="57" y="11"/>
                    <a:pt x="58" y="10"/>
                    <a:pt x="59" y="11"/>
                  </a:cubicBezTo>
                  <a:cubicBezTo>
                    <a:pt x="59" y="11"/>
                    <a:pt x="58" y="11"/>
                    <a:pt x="57" y="11"/>
                  </a:cubicBezTo>
                  <a:cubicBezTo>
                    <a:pt x="57" y="11"/>
                    <a:pt x="57" y="10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6" y="11"/>
                    <a:pt x="55" y="9"/>
                    <a:pt x="56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0" y="8"/>
                    <a:pt x="50" y="8"/>
                  </a:cubicBezTo>
                  <a:cubicBezTo>
                    <a:pt x="49" y="8"/>
                    <a:pt x="49" y="8"/>
                    <a:pt x="49" y="9"/>
                  </a:cubicBezTo>
                  <a:cubicBezTo>
                    <a:pt x="46" y="7"/>
                    <a:pt x="44" y="10"/>
                    <a:pt x="41" y="10"/>
                  </a:cubicBezTo>
                  <a:cubicBezTo>
                    <a:pt x="41" y="9"/>
                    <a:pt x="44" y="10"/>
                    <a:pt x="43" y="8"/>
                  </a:cubicBezTo>
                  <a:cubicBezTo>
                    <a:pt x="39" y="8"/>
                    <a:pt x="38" y="11"/>
                    <a:pt x="34" y="9"/>
                  </a:cubicBezTo>
                  <a:cubicBezTo>
                    <a:pt x="34" y="10"/>
                    <a:pt x="31" y="10"/>
                    <a:pt x="30" y="10"/>
                  </a:cubicBezTo>
                  <a:cubicBezTo>
                    <a:pt x="29" y="10"/>
                    <a:pt x="31" y="9"/>
                    <a:pt x="31" y="9"/>
                  </a:cubicBezTo>
                  <a:cubicBezTo>
                    <a:pt x="24" y="10"/>
                    <a:pt x="14" y="8"/>
                    <a:pt x="6" y="10"/>
                  </a:cubicBezTo>
                  <a:cubicBezTo>
                    <a:pt x="6" y="10"/>
                    <a:pt x="5" y="10"/>
                    <a:pt x="5" y="9"/>
                  </a:cubicBezTo>
                  <a:cubicBezTo>
                    <a:pt x="5" y="10"/>
                    <a:pt x="4" y="10"/>
                    <a:pt x="3" y="1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4" y="9"/>
                    <a:pt x="3" y="7"/>
                    <a:pt x="6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8"/>
                    <a:pt x="10" y="8"/>
                    <a:pt x="10" y="8"/>
                  </a:cubicBezTo>
                  <a:cubicBezTo>
                    <a:pt x="10" y="7"/>
                    <a:pt x="12" y="8"/>
                    <a:pt x="13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9"/>
                    <a:pt x="14" y="8"/>
                    <a:pt x="14" y="9"/>
                  </a:cubicBezTo>
                  <a:cubicBezTo>
                    <a:pt x="13" y="7"/>
                    <a:pt x="17" y="8"/>
                    <a:pt x="19" y="7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9" y="8"/>
                    <a:pt x="20" y="8"/>
                    <a:pt x="20" y="8"/>
                  </a:cubicBezTo>
                  <a:cubicBezTo>
                    <a:pt x="21" y="8"/>
                    <a:pt x="21" y="7"/>
                    <a:pt x="21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2" y="8"/>
                  </a:cubicBezTo>
                  <a:cubicBezTo>
                    <a:pt x="23" y="8"/>
                    <a:pt x="23" y="8"/>
                    <a:pt x="24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3" y="8"/>
                    <a:pt x="26" y="8"/>
                    <a:pt x="27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32" y="8"/>
                    <a:pt x="35" y="8"/>
                    <a:pt x="38" y="7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0" y="7"/>
                    <a:pt x="41" y="8"/>
                    <a:pt x="40" y="6"/>
                  </a:cubicBezTo>
                  <a:cubicBezTo>
                    <a:pt x="43" y="6"/>
                    <a:pt x="45" y="4"/>
                    <a:pt x="47" y="6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9" y="7"/>
                    <a:pt x="49" y="7"/>
                    <a:pt x="49" y="6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51" y="7"/>
                    <a:pt x="51" y="4"/>
                    <a:pt x="53" y="5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2" y="7"/>
                    <a:pt x="53" y="6"/>
                    <a:pt x="54" y="6"/>
                  </a:cubicBezTo>
                  <a:cubicBezTo>
                    <a:pt x="53" y="5"/>
                    <a:pt x="56" y="4"/>
                    <a:pt x="57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7" y="7"/>
                    <a:pt x="59" y="6"/>
                    <a:pt x="62" y="6"/>
                  </a:cubicBezTo>
                  <a:cubicBezTo>
                    <a:pt x="62" y="7"/>
                    <a:pt x="64" y="6"/>
                    <a:pt x="65" y="6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6" y="5"/>
                    <a:pt x="70" y="5"/>
                    <a:pt x="72" y="4"/>
                  </a:cubicBezTo>
                  <a:cubicBezTo>
                    <a:pt x="72" y="5"/>
                    <a:pt x="73" y="5"/>
                    <a:pt x="73" y="5"/>
                  </a:cubicBezTo>
                  <a:cubicBezTo>
                    <a:pt x="80" y="6"/>
                    <a:pt x="87" y="3"/>
                    <a:pt x="93" y="5"/>
                  </a:cubicBezTo>
                  <a:cubicBezTo>
                    <a:pt x="98" y="4"/>
                    <a:pt x="107" y="3"/>
                    <a:pt x="113" y="2"/>
                  </a:cubicBezTo>
                  <a:cubicBezTo>
                    <a:pt x="113" y="2"/>
                    <a:pt x="113" y="2"/>
                    <a:pt x="113" y="2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0" y="1"/>
                    <a:pt x="122" y="1"/>
                    <a:pt x="122" y="1"/>
                  </a:cubicBezTo>
                  <a:cubicBezTo>
                    <a:pt x="124" y="1"/>
                    <a:pt x="124" y="1"/>
                    <a:pt x="124" y="1"/>
                  </a:cubicBezTo>
                  <a:cubicBezTo>
                    <a:pt x="121" y="2"/>
                    <a:pt x="121" y="2"/>
                    <a:pt x="121" y="2"/>
                  </a:cubicBezTo>
                  <a:cubicBezTo>
                    <a:pt x="124" y="3"/>
                    <a:pt x="127" y="2"/>
                    <a:pt x="129" y="3"/>
                  </a:cubicBezTo>
                  <a:cubicBezTo>
                    <a:pt x="131" y="3"/>
                    <a:pt x="134" y="4"/>
                    <a:pt x="136" y="2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40" y="2"/>
                    <a:pt x="145" y="3"/>
                    <a:pt x="148" y="3"/>
                  </a:cubicBezTo>
                  <a:cubicBezTo>
                    <a:pt x="148" y="3"/>
                    <a:pt x="149" y="3"/>
                    <a:pt x="149" y="4"/>
                  </a:cubicBezTo>
                  <a:cubicBezTo>
                    <a:pt x="150" y="3"/>
                    <a:pt x="150" y="3"/>
                    <a:pt x="150" y="3"/>
                  </a:cubicBezTo>
                  <a:cubicBezTo>
                    <a:pt x="150" y="4"/>
                    <a:pt x="151" y="4"/>
                    <a:pt x="151" y="4"/>
                  </a:cubicBezTo>
                  <a:cubicBezTo>
                    <a:pt x="151" y="3"/>
                    <a:pt x="151" y="3"/>
                    <a:pt x="151" y="3"/>
                  </a:cubicBezTo>
                  <a:cubicBezTo>
                    <a:pt x="151" y="4"/>
                    <a:pt x="151" y="4"/>
                    <a:pt x="151" y="4"/>
                  </a:cubicBezTo>
                  <a:cubicBezTo>
                    <a:pt x="154" y="5"/>
                    <a:pt x="156" y="3"/>
                    <a:pt x="158" y="5"/>
                  </a:cubicBezTo>
                  <a:cubicBezTo>
                    <a:pt x="158" y="5"/>
                    <a:pt x="158" y="5"/>
                    <a:pt x="159" y="5"/>
                  </a:cubicBezTo>
                  <a:cubicBezTo>
                    <a:pt x="158" y="7"/>
                    <a:pt x="156" y="6"/>
                    <a:pt x="155" y="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C2DA127F-84E8-6CAF-56B6-B65EEA9A7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3001" y="3423060"/>
              <a:ext cx="24553" cy="0"/>
            </a:xfrm>
            <a:custGeom>
              <a:avLst/>
              <a:gdLst>
                <a:gd name="T0" fmla="*/ 31 w 31"/>
                <a:gd name="T1" fmla="*/ 31 w 31"/>
                <a:gd name="T2" fmla="*/ 15 w 31"/>
                <a:gd name="T3" fmla="*/ 0 w 31"/>
                <a:gd name="T4" fmla="*/ 31 w 3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31">
                  <a:moveTo>
                    <a:pt x="31" y="0"/>
                  </a:moveTo>
                  <a:lnTo>
                    <a:pt x="31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21CC9E29-341E-13EE-5B6C-E862F0D3ADA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4491" y="2632605"/>
              <a:ext cx="12673" cy="1267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0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CC29B89B-9D42-2948-6CC6-AF20EF844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7359" y="3362073"/>
              <a:ext cx="11881" cy="0"/>
            </a:xfrm>
            <a:custGeom>
              <a:avLst/>
              <a:gdLst>
                <a:gd name="T0" fmla="*/ 0 w 15"/>
                <a:gd name="T1" fmla="*/ 15 w 15"/>
                <a:gd name="T2" fmla="*/ 0 w 15"/>
                <a:gd name="T3" fmla="*/ 0 w 1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5">
                  <a:moveTo>
                    <a:pt x="0" y="0"/>
                  </a:moveTo>
                  <a:lnTo>
                    <a:pt x="1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30947A88-72A2-8DCD-02F9-8D34FE5A9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0340" y="2547856"/>
              <a:ext cx="96629" cy="24553"/>
            </a:xfrm>
            <a:custGeom>
              <a:avLst/>
              <a:gdLst>
                <a:gd name="T0" fmla="*/ 8 w 8"/>
                <a:gd name="T1" fmla="*/ 1 h 2"/>
                <a:gd name="T2" fmla="*/ 4 w 8"/>
                <a:gd name="T3" fmla="*/ 1 h 2"/>
                <a:gd name="T4" fmla="*/ 4 w 8"/>
                <a:gd name="T5" fmla="*/ 1 h 2"/>
                <a:gd name="T6" fmla="*/ 0 w 8"/>
                <a:gd name="T7" fmla="*/ 0 h 2"/>
                <a:gd name="T8" fmla="*/ 1 w 8"/>
                <a:gd name="T9" fmla="*/ 0 h 2"/>
                <a:gd name="T10" fmla="*/ 8 w 8"/>
                <a:gd name="T11" fmla="*/ 0 h 2"/>
                <a:gd name="T12" fmla="*/ 8 w 8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8" y="1"/>
                  </a:moveTo>
                  <a:cubicBezTo>
                    <a:pt x="7" y="0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1"/>
                    <a:pt x="0" y="1"/>
                    <a:pt x="0" y="0"/>
                  </a:cubicBezTo>
                  <a:cubicBezTo>
                    <a:pt x="0" y="2"/>
                    <a:pt x="1" y="0"/>
                    <a:pt x="1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0" name="Freeform 12">
              <a:extLst>
                <a:ext uri="{FF2B5EF4-FFF2-40B4-BE49-F238E27FC236}">
                  <a16:creationId xmlns:a16="http://schemas.microsoft.com/office/drawing/2014/main" id="{271F164E-CC67-6AF3-2015-75A5E2C8A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2221" y="2608843"/>
              <a:ext cx="11881" cy="11881"/>
            </a:xfrm>
            <a:custGeom>
              <a:avLst/>
              <a:gdLst>
                <a:gd name="T0" fmla="*/ 15 w 15"/>
                <a:gd name="T1" fmla="*/ 0 h 15"/>
                <a:gd name="T2" fmla="*/ 15 w 15"/>
                <a:gd name="T3" fmla="*/ 15 h 15"/>
                <a:gd name="T4" fmla="*/ 0 w 15"/>
                <a:gd name="T5" fmla="*/ 15 h 15"/>
                <a:gd name="T6" fmla="*/ 0 w 15"/>
                <a:gd name="T7" fmla="*/ 15 h 15"/>
                <a:gd name="T8" fmla="*/ 15 w 1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0"/>
                  </a:moveTo>
                  <a:lnTo>
                    <a:pt x="15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F528FFE3-C8C7-0997-D1DD-8CFFF0A00A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8460" y="2766459"/>
              <a:ext cx="23761" cy="12673"/>
            </a:xfrm>
            <a:custGeom>
              <a:avLst/>
              <a:gdLst>
                <a:gd name="T0" fmla="*/ 1 w 2"/>
                <a:gd name="T1" fmla="*/ 1 h 1"/>
                <a:gd name="T2" fmla="*/ 0 w 2"/>
                <a:gd name="T3" fmla="*/ 1 h 1"/>
                <a:gd name="T4" fmla="*/ 2 w 2"/>
                <a:gd name="T5" fmla="*/ 0 h 1"/>
                <a:gd name="T6" fmla="*/ 1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1" y="1"/>
                    <a:pt x="0" y="1"/>
                    <a:pt x="0" y="1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id="{80954570-7E18-9E54-BE63-C50207A92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0100" y="2316581"/>
              <a:ext cx="5090435" cy="2224838"/>
            </a:xfrm>
            <a:custGeom>
              <a:avLst/>
              <a:gdLst>
                <a:gd name="T0" fmla="*/ 354 w 423"/>
                <a:gd name="T1" fmla="*/ 77 h 183"/>
                <a:gd name="T2" fmla="*/ 334 w 423"/>
                <a:gd name="T3" fmla="*/ 81 h 183"/>
                <a:gd name="T4" fmla="*/ 347 w 423"/>
                <a:gd name="T5" fmla="*/ 84 h 183"/>
                <a:gd name="T6" fmla="*/ 359 w 423"/>
                <a:gd name="T7" fmla="*/ 88 h 183"/>
                <a:gd name="T8" fmla="*/ 385 w 423"/>
                <a:gd name="T9" fmla="*/ 86 h 183"/>
                <a:gd name="T10" fmla="*/ 331 w 423"/>
                <a:gd name="T11" fmla="*/ 109 h 183"/>
                <a:gd name="T12" fmla="*/ 308 w 423"/>
                <a:gd name="T13" fmla="*/ 118 h 183"/>
                <a:gd name="T14" fmla="*/ 315 w 423"/>
                <a:gd name="T15" fmla="*/ 123 h 183"/>
                <a:gd name="T16" fmla="*/ 312 w 423"/>
                <a:gd name="T17" fmla="*/ 129 h 183"/>
                <a:gd name="T18" fmla="*/ 273 w 423"/>
                <a:gd name="T19" fmla="*/ 138 h 183"/>
                <a:gd name="T20" fmla="*/ 282 w 423"/>
                <a:gd name="T21" fmla="*/ 139 h 183"/>
                <a:gd name="T22" fmla="*/ 284 w 423"/>
                <a:gd name="T23" fmla="*/ 143 h 183"/>
                <a:gd name="T24" fmla="*/ 266 w 423"/>
                <a:gd name="T25" fmla="*/ 153 h 183"/>
                <a:gd name="T26" fmla="*/ 250 w 423"/>
                <a:gd name="T27" fmla="*/ 161 h 183"/>
                <a:gd name="T28" fmla="*/ 244 w 423"/>
                <a:gd name="T29" fmla="*/ 171 h 183"/>
                <a:gd name="T30" fmla="*/ 212 w 423"/>
                <a:gd name="T31" fmla="*/ 176 h 183"/>
                <a:gd name="T32" fmla="*/ 196 w 423"/>
                <a:gd name="T33" fmla="*/ 178 h 183"/>
                <a:gd name="T34" fmla="*/ 117 w 423"/>
                <a:gd name="T35" fmla="*/ 177 h 183"/>
                <a:gd name="T36" fmla="*/ 50 w 423"/>
                <a:gd name="T37" fmla="*/ 181 h 183"/>
                <a:gd name="T38" fmla="*/ 13 w 423"/>
                <a:gd name="T39" fmla="*/ 151 h 183"/>
                <a:gd name="T40" fmla="*/ 14 w 423"/>
                <a:gd name="T41" fmla="*/ 125 h 183"/>
                <a:gd name="T42" fmla="*/ 40 w 423"/>
                <a:gd name="T43" fmla="*/ 51 h 183"/>
                <a:gd name="T44" fmla="*/ 99 w 423"/>
                <a:gd name="T45" fmla="*/ 9 h 183"/>
                <a:gd name="T46" fmla="*/ 163 w 423"/>
                <a:gd name="T47" fmla="*/ 41 h 183"/>
                <a:gd name="T48" fmla="*/ 181 w 423"/>
                <a:gd name="T49" fmla="*/ 34 h 183"/>
                <a:gd name="T50" fmla="*/ 195 w 423"/>
                <a:gd name="T51" fmla="*/ 38 h 183"/>
                <a:gd name="T52" fmla="*/ 204 w 423"/>
                <a:gd name="T53" fmla="*/ 36 h 183"/>
                <a:gd name="T54" fmla="*/ 197 w 423"/>
                <a:gd name="T55" fmla="*/ 42 h 183"/>
                <a:gd name="T56" fmla="*/ 185 w 423"/>
                <a:gd name="T57" fmla="*/ 47 h 183"/>
                <a:gd name="T58" fmla="*/ 227 w 423"/>
                <a:gd name="T59" fmla="*/ 43 h 183"/>
                <a:gd name="T60" fmla="*/ 243 w 423"/>
                <a:gd name="T61" fmla="*/ 40 h 183"/>
                <a:gd name="T62" fmla="*/ 234 w 423"/>
                <a:gd name="T63" fmla="*/ 43 h 183"/>
                <a:gd name="T64" fmla="*/ 228 w 423"/>
                <a:gd name="T65" fmla="*/ 48 h 183"/>
                <a:gd name="T66" fmla="*/ 240 w 423"/>
                <a:gd name="T67" fmla="*/ 49 h 183"/>
                <a:gd name="T68" fmla="*/ 249 w 423"/>
                <a:gd name="T69" fmla="*/ 47 h 183"/>
                <a:gd name="T70" fmla="*/ 216 w 423"/>
                <a:gd name="T71" fmla="*/ 62 h 183"/>
                <a:gd name="T72" fmla="*/ 273 w 423"/>
                <a:gd name="T73" fmla="*/ 60 h 183"/>
                <a:gd name="T74" fmla="*/ 275 w 423"/>
                <a:gd name="T75" fmla="*/ 48 h 183"/>
                <a:gd name="T76" fmla="*/ 271 w 423"/>
                <a:gd name="T77" fmla="*/ 46 h 183"/>
                <a:gd name="T78" fmla="*/ 297 w 423"/>
                <a:gd name="T79" fmla="*/ 40 h 183"/>
                <a:gd name="T80" fmla="*/ 374 w 423"/>
                <a:gd name="T81" fmla="*/ 38 h 183"/>
                <a:gd name="T82" fmla="*/ 409 w 423"/>
                <a:gd name="T83" fmla="*/ 38 h 183"/>
                <a:gd name="T84" fmla="*/ 402 w 423"/>
                <a:gd name="T85" fmla="*/ 47 h 183"/>
                <a:gd name="T86" fmla="*/ 391 w 423"/>
                <a:gd name="T87" fmla="*/ 47 h 183"/>
                <a:gd name="T88" fmla="*/ 347 w 423"/>
                <a:gd name="T89" fmla="*/ 55 h 183"/>
                <a:gd name="T90" fmla="*/ 362 w 423"/>
                <a:gd name="T91" fmla="*/ 50 h 183"/>
                <a:gd name="T92" fmla="*/ 369 w 423"/>
                <a:gd name="T93" fmla="*/ 45 h 183"/>
                <a:gd name="T94" fmla="*/ 332 w 423"/>
                <a:gd name="T95" fmla="*/ 52 h 183"/>
                <a:gd name="T96" fmla="*/ 325 w 423"/>
                <a:gd name="T97" fmla="*/ 52 h 183"/>
                <a:gd name="T98" fmla="*/ 343 w 423"/>
                <a:gd name="T99" fmla="*/ 48 h 183"/>
                <a:gd name="T100" fmla="*/ 365 w 423"/>
                <a:gd name="T101" fmla="*/ 45 h 183"/>
                <a:gd name="T102" fmla="*/ 390 w 423"/>
                <a:gd name="T103" fmla="*/ 38 h 183"/>
                <a:gd name="T104" fmla="*/ 336 w 423"/>
                <a:gd name="T105" fmla="*/ 41 h 183"/>
                <a:gd name="T106" fmla="*/ 314 w 423"/>
                <a:gd name="T107" fmla="*/ 42 h 183"/>
                <a:gd name="T108" fmla="*/ 301 w 423"/>
                <a:gd name="T109" fmla="*/ 46 h 183"/>
                <a:gd name="T110" fmla="*/ 287 w 423"/>
                <a:gd name="T111" fmla="*/ 51 h 183"/>
                <a:gd name="T112" fmla="*/ 291 w 423"/>
                <a:gd name="T113" fmla="*/ 55 h 183"/>
                <a:gd name="T114" fmla="*/ 294 w 423"/>
                <a:gd name="T115" fmla="*/ 60 h 183"/>
                <a:gd name="T116" fmla="*/ 283 w 423"/>
                <a:gd name="T117" fmla="*/ 69 h 183"/>
                <a:gd name="T118" fmla="*/ 339 w 423"/>
                <a:gd name="T119" fmla="*/ 70 h 183"/>
                <a:gd name="T120" fmla="*/ 393 w 423"/>
                <a:gd name="T121" fmla="*/ 8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3" h="183">
                  <a:moveTo>
                    <a:pt x="411" y="85"/>
                  </a:moveTo>
                  <a:cubicBezTo>
                    <a:pt x="412" y="85"/>
                    <a:pt x="412" y="85"/>
                    <a:pt x="412" y="85"/>
                  </a:cubicBezTo>
                  <a:cubicBezTo>
                    <a:pt x="412" y="86"/>
                    <a:pt x="410" y="86"/>
                    <a:pt x="409" y="86"/>
                  </a:cubicBezTo>
                  <a:cubicBezTo>
                    <a:pt x="406" y="84"/>
                    <a:pt x="402" y="84"/>
                    <a:pt x="399" y="83"/>
                  </a:cubicBezTo>
                  <a:cubicBezTo>
                    <a:pt x="397" y="84"/>
                    <a:pt x="397" y="84"/>
                    <a:pt x="397" y="84"/>
                  </a:cubicBezTo>
                  <a:cubicBezTo>
                    <a:pt x="398" y="82"/>
                    <a:pt x="395" y="83"/>
                    <a:pt x="394" y="82"/>
                  </a:cubicBezTo>
                  <a:cubicBezTo>
                    <a:pt x="392" y="82"/>
                    <a:pt x="391" y="82"/>
                    <a:pt x="390" y="81"/>
                  </a:cubicBezTo>
                  <a:cubicBezTo>
                    <a:pt x="384" y="82"/>
                    <a:pt x="380" y="78"/>
                    <a:pt x="374" y="79"/>
                  </a:cubicBezTo>
                  <a:cubicBezTo>
                    <a:pt x="372" y="78"/>
                    <a:pt x="369" y="78"/>
                    <a:pt x="366" y="77"/>
                  </a:cubicBezTo>
                  <a:cubicBezTo>
                    <a:pt x="365" y="79"/>
                    <a:pt x="364" y="77"/>
                    <a:pt x="363" y="77"/>
                  </a:cubicBezTo>
                  <a:cubicBezTo>
                    <a:pt x="363" y="77"/>
                    <a:pt x="363" y="77"/>
                    <a:pt x="363" y="77"/>
                  </a:cubicBezTo>
                  <a:cubicBezTo>
                    <a:pt x="360" y="76"/>
                    <a:pt x="357" y="77"/>
                    <a:pt x="354" y="76"/>
                  </a:cubicBezTo>
                  <a:cubicBezTo>
                    <a:pt x="354" y="76"/>
                    <a:pt x="354" y="76"/>
                    <a:pt x="354" y="77"/>
                  </a:cubicBezTo>
                  <a:cubicBezTo>
                    <a:pt x="353" y="76"/>
                    <a:pt x="353" y="76"/>
                    <a:pt x="353" y="76"/>
                  </a:cubicBezTo>
                  <a:cubicBezTo>
                    <a:pt x="353" y="76"/>
                    <a:pt x="352" y="76"/>
                    <a:pt x="353" y="76"/>
                  </a:cubicBezTo>
                  <a:cubicBezTo>
                    <a:pt x="350" y="75"/>
                    <a:pt x="347" y="77"/>
                    <a:pt x="345" y="76"/>
                  </a:cubicBezTo>
                  <a:cubicBezTo>
                    <a:pt x="344" y="76"/>
                    <a:pt x="344" y="76"/>
                    <a:pt x="344" y="76"/>
                  </a:cubicBezTo>
                  <a:cubicBezTo>
                    <a:pt x="344" y="76"/>
                    <a:pt x="345" y="75"/>
                    <a:pt x="344" y="75"/>
                  </a:cubicBezTo>
                  <a:cubicBezTo>
                    <a:pt x="343" y="76"/>
                    <a:pt x="343" y="77"/>
                    <a:pt x="341" y="78"/>
                  </a:cubicBezTo>
                  <a:cubicBezTo>
                    <a:pt x="343" y="79"/>
                    <a:pt x="343" y="79"/>
                    <a:pt x="343" y="79"/>
                  </a:cubicBezTo>
                  <a:cubicBezTo>
                    <a:pt x="342" y="79"/>
                    <a:pt x="339" y="80"/>
                    <a:pt x="339" y="78"/>
                  </a:cubicBezTo>
                  <a:cubicBezTo>
                    <a:pt x="338" y="79"/>
                    <a:pt x="338" y="79"/>
                    <a:pt x="338" y="79"/>
                  </a:cubicBezTo>
                  <a:cubicBezTo>
                    <a:pt x="335" y="78"/>
                    <a:pt x="334" y="79"/>
                    <a:pt x="331" y="80"/>
                  </a:cubicBezTo>
                  <a:cubicBezTo>
                    <a:pt x="333" y="80"/>
                    <a:pt x="333" y="80"/>
                    <a:pt x="333" y="80"/>
                  </a:cubicBezTo>
                  <a:cubicBezTo>
                    <a:pt x="333" y="80"/>
                    <a:pt x="332" y="81"/>
                    <a:pt x="332" y="81"/>
                  </a:cubicBezTo>
                  <a:cubicBezTo>
                    <a:pt x="333" y="82"/>
                    <a:pt x="333" y="81"/>
                    <a:pt x="334" y="81"/>
                  </a:cubicBezTo>
                  <a:cubicBezTo>
                    <a:pt x="334" y="82"/>
                    <a:pt x="334" y="82"/>
                    <a:pt x="334" y="82"/>
                  </a:cubicBezTo>
                  <a:cubicBezTo>
                    <a:pt x="335" y="82"/>
                    <a:pt x="337" y="83"/>
                    <a:pt x="338" y="82"/>
                  </a:cubicBezTo>
                  <a:cubicBezTo>
                    <a:pt x="338" y="83"/>
                    <a:pt x="338" y="83"/>
                    <a:pt x="338" y="83"/>
                  </a:cubicBezTo>
                  <a:cubicBezTo>
                    <a:pt x="337" y="83"/>
                    <a:pt x="337" y="84"/>
                    <a:pt x="336" y="83"/>
                  </a:cubicBezTo>
                  <a:cubicBezTo>
                    <a:pt x="336" y="84"/>
                    <a:pt x="336" y="86"/>
                    <a:pt x="335" y="86"/>
                  </a:cubicBezTo>
                  <a:cubicBezTo>
                    <a:pt x="335" y="87"/>
                    <a:pt x="336" y="88"/>
                    <a:pt x="337" y="87"/>
                  </a:cubicBezTo>
                  <a:cubicBezTo>
                    <a:pt x="337" y="87"/>
                    <a:pt x="337" y="86"/>
                    <a:pt x="337" y="86"/>
                  </a:cubicBezTo>
                  <a:cubicBezTo>
                    <a:pt x="340" y="85"/>
                    <a:pt x="342" y="86"/>
                    <a:pt x="345" y="85"/>
                  </a:cubicBezTo>
                  <a:cubicBezTo>
                    <a:pt x="346" y="84"/>
                    <a:pt x="345" y="84"/>
                    <a:pt x="345" y="83"/>
                  </a:cubicBezTo>
                  <a:cubicBezTo>
                    <a:pt x="347" y="83"/>
                    <a:pt x="347" y="83"/>
                    <a:pt x="347" y="83"/>
                  </a:cubicBezTo>
                  <a:cubicBezTo>
                    <a:pt x="347" y="84"/>
                    <a:pt x="347" y="84"/>
                    <a:pt x="347" y="84"/>
                  </a:cubicBezTo>
                  <a:cubicBezTo>
                    <a:pt x="350" y="84"/>
                    <a:pt x="350" y="84"/>
                    <a:pt x="350" y="84"/>
                  </a:cubicBezTo>
                  <a:cubicBezTo>
                    <a:pt x="349" y="84"/>
                    <a:pt x="348" y="85"/>
                    <a:pt x="347" y="84"/>
                  </a:cubicBezTo>
                  <a:cubicBezTo>
                    <a:pt x="347" y="84"/>
                    <a:pt x="346" y="84"/>
                    <a:pt x="346" y="84"/>
                  </a:cubicBezTo>
                  <a:cubicBezTo>
                    <a:pt x="345" y="84"/>
                    <a:pt x="346" y="85"/>
                    <a:pt x="346" y="86"/>
                  </a:cubicBezTo>
                  <a:cubicBezTo>
                    <a:pt x="345" y="84"/>
                    <a:pt x="340" y="86"/>
                    <a:pt x="338" y="87"/>
                  </a:cubicBezTo>
                  <a:cubicBezTo>
                    <a:pt x="337" y="87"/>
                    <a:pt x="337" y="87"/>
                    <a:pt x="337" y="87"/>
                  </a:cubicBezTo>
                  <a:cubicBezTo>
                    <a:pt x="339" y="88"/>
                    <a:pt x="342" y="87"/>
                    <a:pt x="344" y="87"/>
                  </a:cubicBezTo>
                  <a:cubicBezTo>
                    <a:pt x="346" y="89"/>
                    <a:pt x="350" y="84"/>
                    <a:pt x="350" y="87"/>
                  </a:cubicBezTo>
                  <a:cubicBezTo>
                    <a:pt x="351" y="88"/>
                    <a:pt x="352" y="88"/>
                    <a:pt x="353" y="88"/>
                  </a:cubicBezTo>
                  <a:cubicBezTo>
                    <a:pt x="353" y="87"/>
                    <a:pt x="354" y="86"/>
                    <a:pt x="355" y="86"/>
                  </a:cubicBezTo>
                  <a:cubicBezTo>
                    <a:pt x="356" y="87"/>
                    <a:pt x="356" y="87"/>
                    <a:pt x="356" y="87"/>
                  </a:cubicBezTo>
                  <a:cubicBezTo>
                    <a:pt x="357" y="86"/>
                    <a:pt x="357" y="86"/>
                    <a:pt x="357" y="86"/>
                  </a:cubicBezTo>
                  <a:cubicBezTo>
                    <a:pt x="357" y="86"/>
                    <a:pt x="357" y="86"/>
                    <a:pt x="357" y="87"/>
                  </a:cubicBezTo>
                  <a:cubicBezTo>
                    <a:pt x="357" y="87"/>
                    <a:pt x="358" y="87"/>
                    <a:pt x="359" y="87"/>
                  </a:cubicBezTo>
                  <a:cubicBezTo>
                    <a:pt x="359" y="88"/>
                    <a:pt x="359" y="88"/>
                    <a:pt x="359" y="88"/>
                  </a:cubicBezTo>
                  <a:cubicBezTo>
                    <a:pt x="358" y="88"/>
                    <a:pt x="358" y="88"/>
                    <a:pt x="358" y="88"/>
                  </a:cubicBezTo>
                  <a:cubicBezTo>
                    <a:pt x="360" y="89"/>
                    <a:pt x="363" y="87"/>
                    <a:pt x="365" y="87"/>
                  </a:cubicBezTo>
                  <a:cubicBezTo>
                    <a:pt x="364" y="86"/>
                    <a:pt x="363" y="87"/>
                    <a:pt x="363" y="86"/>
                  </a:cubicBezTo>
                  <a:cubicBezTo>
                    <a:pt x="363" y="85"/>
                    <a:pt x="364" y="87"/>
                    <a:pt x="365" y="86"/>
                  </a:cubicBezTo>
                  <a:cubicBezTo>
                    <a:pt x="366" y="86"/>
                    <a:pt x="366" y="86"/>
                    <a:pt x="366" y="86"/>
                  </a:cubicBezTo>
                  <a:cubicBezTo>
                    <a:pt x="364" y="85"/>
                    <a:pt x="364" y="85"/>
                    <a:pt x="364" y="85"/>
                  </a:cubicBezTo>
                  <a:cubicBezTo>
                    <a:pt x="364" y="84"/>
                    <a:pt x="367" y="86"/>
                    <a:pt x="367" y="84"/>
                  </a:cubicBezTo>
                  <a:cubicBezTo>
                    <a:pt x="367" y="84"/>
                    <a:pt x="367" y="84"/>
                    <a:pt x="367" y="84"/>
                  </a:cubicBezTo>
                  <a:cubicBezTo>
                    <a:pt x="367" y="85"/>
                    <a:pt x="367" y="85"/>
                    <a:pt x="367" y="85"/>
                  </a:cubicBezTo>
                  <a:cubicBezTo>
                    <a:pt x="368" y="87"/>
                    <a:pt x="370" y="86"/>
                    <a:pt x="371" y="85"/>
                  </a:cubicBezTo>
                  <a:cubicBezTo>
                    <a:pt x="378" y="85"/>
                    <a:pt x="378" y="85"/>
                    <a:pt x="378" y="85"/>
                  </a:cubicBezTo>
                  <a:cubicBezTo>
                    <a:pt x="378" y="86"/>
                    <a:pt x="378" y="86"/>
                    <a:pt x="378" y="86"/>
                  </a:cubicBezTo>
                  <a:cubicBezTo>
                    <a:pt x="380" y="85"/>
                    <a:pt x="383" y="85"/>
                    <a:pt x="385" y="86"/>
                  </a:cubicBezTo>
                  <a:cubicBezTo>
                    <a:pt x="385" y="86"/>
                    <a:pt x="384" y="86"/>
                    <a:pt x="384" y="86"/>
                  </a:cubicBezTo>
                  <a:cubicBezTo>
                    <a:pt x="383" y="85"/>
                    <a:pt x="383" y="85"/>
                    <a:pt x="383" y="85"/>
                  </a:cubicBezTo>
                  <a:cubicBezTo>
                    <a:pt x="382" y="85"/>
                    <a:pt x="380" y="88"/>
                    <a:pt x="379" y="86"/>
                  </a:cubicBezTo>
                  <a:cubicBezTo>
                    <a:pt x="378" y="88"/>
                    <a:pt x="377" y="87"/>
                    <a:pt x="377" y="87"/>
                  </a:cubicBezTo>
                  <a:cubicBezTo>
                    <a:pt x="376" y="88"/>
                    <a:pt x="374" y="86"/>
                    <a:pt x="373" y="88"/>
                  </a:cubicBezTo>
                  <a:cubicBezTo>
                    <a:pt x="375" y="88"/>
                    <a:pt x="376" y="88"/>
                    <a:pt x="378" y="88"/>
                  </a:cubicBezTo>
                  <a:cubicBezTo>
                    <a:pt x="377" y="90"/>
                    <a:pt x="376" y="87"/>
                    <a:pt x="376" y="89"/>
                  </a:cubicBezTo>
                  <a:cubicBezTo>
                    <a:pt x="382" y="90"/>
                    <a:pt x="382" y="90"/>
                    <a:pt x="382" y="90"/>
                  </a:cubicBezTo>
                  <a:cubicBezTo>
                    <a:pt x="382" y="90"/>
                    <a:pt x="381" y="91"/>
                    <a:pt x="381" y="91"/>
                  </a:cubicBezTo>
                  <a:cubicBezTo>
                    <a:pt x="379" y="91"/>
                    <a:pt x="377" y="92"/>
                    <a:pt x="376" y="93"/>
                  </a:cubicBezTo>
                  <a:cubicBezTo>
                    <a:pt x="375" y="93"/>
                    <a:pt x="374" y="95"/>
                    <a:pt x="373" y="95"/>
                  </a:cubicBezTo>
                  <a:cubicBezTo>
                    <a:pt x="359" y="99"/>
                    <a:pt x="344" y="104"/>
                    <a:pt x="331" y="109"/>
                  </a:cubicBezTo>
                  <a:cubicBezTo>
                    <a:pt x="331" y="109"/>
                    <a:pt x="331" y="109"/>
                    <a:pt x="331" y="109"/>
                  </a:cubicBezTo>
                  <a:cubicBezTo>
                    <a:pt x="329" y="110"/>
                    <a:pt x="326" y="109"/>
                    <a:pt x="324" y="111"/>
                  </a:cubicBezTo>
                  <a:cubicBezTo>
                    <a:pt x="325" y="112"/>
                    <a:pt x="325" y="112"/>
                    <a:pt x="325" y="112"/>
                  </a:cubicBezTo>
                  <a:cubicBezTo>
                    <a:pt x="323" y="112"/>
                    <a:pt x="323" y="112"/>
                    <a:pt x="323" y="112"/>
                  </a:cubicBezTo>
                  <a:cubicBezTo>
                    <a:pt x="323" y="111"/>
                    <a:pt x="323" y="111"/>
                    <a:pt x="323" y="111"/>
                  </a:cubicBezTo>
                  <a:cubicBezTo>
                    <a:pt x="322" y="111"/>
                    <a:pt x="321" y="112"/>
                    <a:pt x="321" y="112"/>
                  </a:cubicBezTo>
                  <a:cubicBezTo>
                    <a:pt x="321" y="113"/>
                    <a:pt x="321" y="113"/>
                    <a:pt x="321" y="113"/>
                  </a:cubicBezTo>
                  <a:cubicBezTo>
                    <a:pt x="320" y="112"/>
                    <a:pt x="317" y="113"/>
                    <a:pt x="316" y="114"/>
                  </a:cubicBezTo>
                  <a:cubicBezTo>
                    <a:pt x="317" y="114"/>
                    <a:pt x="317" y="114"/>
                    <a:pt x="317" y="114"/>
                  </a:cubicBezTo>
                  <a:cubicBezTo>
                    <a:pt x="316" y="115"/>
                    <a:pt x="314" y="114"/>
                    <a:pt x="313" y="116"/>
                  </a:cubicBezTo>
                  <a:cubicBezTo>
                    <a:pt x="319" y="116"/>
                    <a:pt x="319" y="116"/>
                    <a:pt x="319" y="116"/>
                  </a:cubicBezTo>
                  <a:cubicBezTo>
                    <a:pt x="317" y="117"/>
                    <a:pt x="313" y="116"/>
                    <a:pt x="311" y="118"/>
                  </a:cubicBezTo>
                  <a:cubicBezTo>
                    <a:pt x="310" y="117"/>
                    <a:pt x="309" y="118"/>
                    <a:pt x="308" y="117"/>
                  </a:cubicBezTo>
                  <a:cubicBezTo>
                    <a:pt x="308" y="117"/>
                    <a:pt x="308" y="118"/>
                    <a:pt x="308" y="118"/>
                  </a:cubicBezTo>
                  <a:cubicBezTo>
                    <a:pt x="308" y="118"/>
                    <a:pt x="309" y="119"/>
                    <a:pt x="309" y="119"/>
                  </a:cubicBezTo>
                  <a:cubicBezTo>
                    <a:pt x="308" y="120"/>
                    <a:pt x="307" y="119"/>
                    <a:pt x="305" y="119"/>
                  </a:cubicBezTo>
                  <a:cubicBezTo>
                    <a:pt x="305" y="119"/>
                    <a:pt x="305" y="119"/>
                    <a:pt x="305" y="120"/>
                  </a:cubicBezTo>
                  <a:cubicBezTo>
                    <a:pt x="305" y="120"/>
                    <a:pt x="307" y="119"/>
                    <a:pt x="306" y="121"/>
                  </a:cubicBezTo>
                  <a:cubicBezTo>
                    <a:pt x="310" y="122"/>
                    <a:pt x="313" y="120"/>
                    <a:pt x="317" y="119"/>
                  </a:cubicBezTo>
                  <a:cubicBezTo>
                    <a:pt x="316" y="119"/>
                    <a:pt x="316" y="119"/>
                    <a:pt x="316" y="119"/>
                  </a:cubicBezTo>
                  <a:cubicBezTo>
                    <a:pt x="317" y="118"/>
                    <a:pt x="317" y="118"/>
                    <a:pt x="317" y="118"/>
                  </a:cubicBezTo>
                  <a:cubicBezTo>
                    <a:pt x="317" y="119"/>
                    <a:pt x="317" y="119"/>
                    <a:pt x="318" y="119"/>
                  </a:cubicBezTo>
                  <a:cubicBezTo>
                    <a:pt x="318" y="118"/>
                    <a:pt x="319" y="118"/>
                    <a:pt x="319" y="11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18" y="119"/>
                    <a:pt x="318" y="121"/>
                    <a:pt x="316" y="121"/>
                  </a:cubicBezTo>
                  <a:cubicBezTo>
                    <a:pt x="316" y="122"/>
                    <a:pt x="316" y="121"/>
                    <a:pt x="316" y="121"/>
                  </a:cubicBezTo>
                  <a:cubicBezTo>
                    <a:pt x="317" y="122"/>
                    <a:pt x="316" y="123"/>
                    <a:pt x="315" y="123"/>
                  </a:cubicBezTo>
                  <a:cubicBezTo>
                    <a:pt x="316" y="121"/>
                    <a:pt x="316" y="121"/>
                    <a:pt x="316" y="121"/>
                  </a:cubicBezTo>
                  <a:cubicBezTo>
                    <a:pt x="315" y="121"/>
                    <a:pt x="315" y="121"/>
                    <a:pt x="315" y="121"/>
                  </a:cubicBezTo>
                  <a:cubicBezTo>
                    <a:pt x="310" y="122"/>
                    <a:pt x="305" y="122"/>
                    <a:pt x="301" y="124"/>
                  </a:cubicBezTo>
                  <a:cubicBezTo>
                    <a:pt x="305" y="126"/>
                    <a:pt x="305" y="126"/>
                    <a:pt x="305" y="126"/>
                  </a:cubicBezTo>
                  <a:cubicBezTo>
                    <a:pt x="303" y="126"/>
                    <a:pt x="303" y="126"/>
                    <a:pt x="303" y="126"/>
                  </a:cubicBezTo>
                  <a:cubicBezTo>
                    <a:pt x="303" y="126"/>
                    <a:pt x="303" y="126"/>
                    <a:pt x="303" y="126"/>
                  </a:cubicBezTo>
                  <a:cubicBezTo>
                    <a:pt x="300" y="125"/>
                    <a:pt x="298" y="127"/>
                    <a:pt x="296" y="128"/>
                  </a:cubicBezTo>
                  <a:cubicBezTo>
                    <a:pt x="297" y="128"/>
                    <a:pt x="300" y="129"/>
                    <a:pt x="300" y="128"/>
                  </a:cubicBezTo>
                  <a:cubicBezTo>
                    <a:pt x="301" y="126"/>
                    <a:pt x="300" y="129"/>
                    <a:pt x="302" y="128"/>
                  </a:cubicBezTo>
                  <a:cubicBezTo>
                    <a:pt x="304" y="128"/>
                    <a:pt x="304" y="128"/>
                    <a:pt x="304" y="128"/>
                  </a:cubicBezTo>
                  <a:cubicBezTo>
                    <a:pt x="305" y="129"/>
                    <a:pt x="307" y="128"/>
                    <a:pt x="308" y="129"/>
                  </a:cubicBezTo>
                  <a:cubicBezTo>
                    <a:pt x="309" y="127"/>
                    <a:pt x="311" y="129"/>
                    <a:pt x="312" y="128"/>
                  </a:cubicBezTo>
                  <a:cubicBezTo>
                    <a:pt x="312" y="128"/>
                    <a:pt x="311" y="128"/>
                    <a:pt x="312" y="129"/>
                  </a:cubicBezTo>
                  <a:cubicBezTo>
                    <a:pt x="312" y="129"/>
                    <a:pt x="312" y="129"/>
                    <a:pt x="312" y="129"/>
                  </a:cubicBezTo>
                  <a:cubicBezTo>
                    <a:pt x="310" y="130"/>
                    <a:pt x="305" y="128"/>
                    <a:pt x="304" y="131"/>
                  </a:cubicBezTo>
                  <a:cubicBezTo>
                    <a:pt x="303" y="132"/>
                    <a:pt x="302" y="133"/>
                    <a:pt x="301" y="133"/>
                  </a:cubicBezTo>
                  <a:cubicBezTo>
                    <a:pt x="301" y="133"/>
                    <a:pt x="301" y="134"/>
                    <a:pt x="300" y="134"/>
                  </a:cubicBezTo>
                  <a:cubicBezTo>
                    <a:pt x="300" y="134"/>
                    <a:pt x="300" y="134"/>
                    <a:pt x="300" y="134"/>
                  </a:cubicBezTo>
                  <a:cubicBezTo>
                    <a:pt x="299" y="137"/>
                    <a:pt x="297" y="136"/>
                    <a:pt x="295" y="137"/>
                  </a:cubicBezTo>
                  <a:cubicBezTo>
                    <a:pt x="294" y="136"/>
                    <a:pt x="293" y="138"/>
                    <a:pt x="291" y="136"/>
                  </a:cubicBezTo>
                  <a:cubicBezTo>
                    <a:pt x="290" y="139"/>
                    <a:pt x="287" y="137"/>
                    <a:pt x="285" y="137"/>
                  </a:cubicBezTo>
                  <a:cubicBezTo>
                    <a:pt x="284" y="137"/>
                    <a:pt x="283" y="136"/>
                    <a:pt x="282" y="137"/>
                  </a:cubicBezTo>
                  <a:cubicBezTo>
                    <a:pt x="283" y="136"/>
                    <a:pt x="283" y="136"/>
                    <a:pt x="283" y="136"/>
                  </a:cubicBezTo>
                  <a:cubicBezTo>
                    <a:pt x="280" y="135"/>
                    <a:pt x="278" y="136"/>
                    <a:pt x="275" y="137"/>
                  </a:cubicBezTo>
                  <a:cubicBezTo>
                    <a:pt x="275" y="137"/>
                    <a:pt x="275" y="137"/>
                    <a:pt x="275" y="137"/>
                  </a:cubicBezTo>
                  <a:cubicBezTo>
                    <a:pt x="274" y="138"/>
                    <a:pt x="273" y="136"/>
                    <a:pt x="273" y="138"/>
                  </a:cubicBezTo>
                  <a:cubicBezTo>
                    <a:pt x="274" y="140"/>
                    <a:pt x="276" y="138"/>
                    <a:pt x="278" y="138"/>
                  </a:cubicBezTo>
                  <a:cubicBezTo>
                    <a:pt x="278" y="138"/>
                    <a:pt x="278" y="138"/>
                    <a:pt x="278" y="138"/>
                  </a:cubicBezTo>
                  <a:cubicBezTo>
                    <a:pt x="279" y="138"/>
                    <a:pt x="279" y="138"/>
                    <a:pt x="279" y="138"/>
                  </a:cubicBezTo>
                  <a:cubicBezTo>
                    <a:pt x="279" y="138"/>
                    <a:pt x="282" y="139"/>
                    <a:pt x="280" y="140"/>
                  </a:cubicBezTo>
                  <a:cubicBezTo>
                    <a:pt x="281" y="141"/>
                    <a:pt x="282" y="139"/>
                    <a:pt x="282" y="138"/>
                  </a:cubicBezTo>
                  <a:cubicBezTo>
                    <a:pt x="283" y="138"/>
                    <a:pt x="283" y="138"/>
                    <a:pt x="283" y="138"/>
                  </a:cubicBezTo>
                  <a:cubicBezTo>
                    <a:pt x="282" y="139"/>
                    <a:pt x="282" y="139"/>
                    <a:pt x="282" y="139"/>
                  </a:cubicBezTo>
                  <a:cubicBezTo>
                    <a:pt x="284" y="140"/>
                    <a:pt x="284" y="140"/>
                    <a:pt x="284" y="140"/>
                  </a:cubicBezTo>
                  <a:cubicBezTo>
                    <a:pt x="284" y="140"/>
                    <a:pt x="284" y="139"/>
                    <a:pt x="284" y="139"/>
                  </a:cubicBezTo>
                  <a:cubicBezTo>
                    <a:pt x="284" y="139"/>
                    <a:pt x="284" y="139"/>
                    <a:pt x="284" y="139"/>
                  </a:cubicBezTo>
                  <a:cubicBezTo>
                    <a:pt x="284" y="140"/>
                    <a:pt x="284" y="140"/>
                    <a:pt x="284" y="140"/>
                  </a:cubicBezTo>
                  <a:cubicBezTo>
                    <a:pt x="282" y="140"/>
                    <a:pt x="282" y="140"/>
                    <a:pt x="282" y="140"/>
                  </a:cubicBezTo>
                  <a:cubicBezTo>
                    <a:pt x="283" y="140"/>
                    <a:pt x="282" y="139"/>
                    <a:pt x="282" y="139"/>
                  </a:cubicBezTo>
                  <a:cubicBezTo>
                    <a:pt x="282" y="141"/>
                    <a:pt x="282" y="142"/>
                    <a:pt x="281" y="143"/>
                  </a:cubicBezTo>
                  <a:cubicBezTo>
                    <a:pt x="282" y="144"/>
                    <a:pt x="282" y="144"/>
                    <a:pt x="282" y="144"/>
                  </a:cubicBezTo>
                  <a:cubicBezTo>
                    <a:pt x="282" y="143"/>
                    <a:pt x="282" y="143"/>
                    <a:pt x="282" y="143"/>
                  </a:cubicBezTo>
                  <a:cubicBezTo>
                    <a:pt x="283" y="143"/>
                    <a:pt x="286" y="144"/>
                    <a:pt x="287" y="143"/>
                  </a:cubicBezTo>
                  <a:cubicBezTo>
                    <a:pt x="287" y="143"/>
                    <a:pt x="287" y="143"/>
                    <a:pt x="287" y="143"/>
                  </a:cubicBezTo>
                  <a:cubicBezTo>
                    <a:pt x="288" y="144"/>
                    <a:pt x="288" y="144"/>
                    <a:pt x="288" y="144"/>
                  </a:cubicBezTo>
                  <a:cubicBezTo>
                    <a:pt x="288" y="145"/>
                    <a:pt x="284" y="144"/>
                    <a:pt x="286" y="146"/>
                  </a:cubicBezTo>
                  <a:cubicBezTo>
                    <a:pt x="287" y="146"/>
                    <a:pt x="287" y="146"/>
                    <a:pt x="287" y="146"/>
                  </a:cubicBezTo>
                  <a:cubicBezTo>
                    <a:pt x="287" y="146"/>
                    <a:pt x="286" y="146"/>
                    <a:pt x="285" y="146"/>
                  </a:cubicBezTo>
                  <a:cubicBezTo>
                    <a:pt x="285" y="146"/>
                    <a:pt x="285" y="146"/>
                    <a:pt x="284" y="146"/>
                  </a:cubicBezTo>
                  <a:cubicBezTo>
                    <a:pt x="284" y="147"/>
                    <a:pt x="282" y="147"/>
                    <a:pt x="281" y="147"/>
                  </a:cubicBezTo>
                  <a:cubicBezTo>
                    <a:pt x="282" y="146"/>
                    <a:pt x="285" y="147"/>
                    <a:pt x="285" y="144"/>
                  </a:cubicBezTo>
                  <a:cubicBezTo>
                    <a:pt x="284" y="143"/>
                    <a:pt x="284" y="143"/>
                    <a:pt x="284" y="143"/>
                  </a:cubicBezTo>
                  <a:cubicBezTo>
                    <a:pt x="284" y="145"/>
                    <a:pt x="281" y="143"/>
                    <a:pt x="279" y="144"/>
                  </a:cubicBezTo>
                  <a:cubicBezTo>
                    <a:pt x="280" y="145"/>
                    <a:pt x="280" y="145"/>
                    <a:pt x="280" y="145"/>
                  </a:cubicBezTo>
                  <a:cubicBezTo>
                    <a:pt x="279" y="144"/>
                    <a:pt x="277" y="147"/>
                    <a:pt x="276" y="146"/>
                  </a:cubicBezTo>
                  <a:cubicBezTo>
                    <a:pt x="277" y="147"/>
                    <a:pt x="278" y="147"/>
                    <a:pt x="279" y="147"/>
                  </a:cubicBezTo>
                  <a:cubicBezTo>
                    <a:pt x="275" y="148"/>
                    <a:pt x="275" y="148"/>
                    <a:pt x="275" y="148"/>
                  </a:cubicBezTo>
                  <a:cubicBezTo>
                    <a:pt x="275" y="148"/>
                    <a:pt x="275" y="147"/>
                    <a:pt x="275" y="148"/>
                  </a:cubicBezTo>
                  <a:cubicBezTo>
                    <a:pt x="274" y="148"/>
                    <a:pt x="274" y="148"/>
                    <a:pt x="274" y="149"/>
                  </a:cubicBezTo>
                  <a:cubicBezTo>
                    <a:pt x="275" y="150"/>
                    <a:pt x="276" y="149"/>
                    <a:pt x="277" y="149"/>
                  </a:cubicBezTo>
                  <a:cubicBezTo>
                    <a:pt x="274" y="150"/>
                    <a:pt x="274" y="150"/>
                    <a:pt x="274" y="150"/>
                  </a:cubicBezTo>
                  <a:cubicBezTo>
                    <a:pt x="274" y="151"/>
                    <a:pt x="275" y="150"/>
                    <a:pt x="276" y="150"/>
                  </a:cubicBezTo>
                  <a:cubicBezTo>
                    <a:pt x="274" y="151"/>
                    <a:pt x="271" y="151"/>
                    <a:pt x="268" y="151"/>
                  </a:cubicBezTo>
                  <a:cubicBezTo>
                    <a:pt x="267" y="152"/>
                    <a:pt x="264" y="149"/>
                    <a:pt x="263" y="152"/>
                  </a:cubicBezTo>
                  <a:cubicBezTo>
                    <a:pt x="266" y="153"/>
                    <a:pt x="266" y="153"/>
                    <a:pt x="266" y="153"/>
                  </a:cubicBezTo>
                  <a:cubicBezTo>
                    <a:pt x="265" y="153"/>
                    <a:pt x="264" y="153"/>
                    <a:pt x="264" y="152"/>
                  </a:cubicBezTo>
                  <a:cubicBezTo>
                    <a:pt x="263" y="152"/>
                    <a:pt x="262" y="153"/>
                    <a:pt x="261" y="153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61" y="155"/>
                    <a:pt x="261" y="153"/>
                    <a:pt x="259" y="154"/>
                  </a:cubicBezTo>
                  <a:cubicBezTo>
                    <a:pt x="259" y="154"/>
                    <a:pt x="259" y="154"/>
                    <a:pt x="259" y="154"/>
                  </a:cubicBezTo>
                  <a:cubicBezTo>
                    <a:pt x="259" y="154"/>
                    <a:pt x="257" y="154"/>
                    <a:pt x="256" y="154"/>
                  </a:cubicBezTo>
                  <a:cubicBezTo>
                    <a:pt x="257" y="155"/>
                    <a:pt x="257" y="155"/>
                    <a:pt x="257" y="155"/>
                  </a:cubicBezTo>
                  <a:cubicBezTo>
                    <a:pt x="255" y="156"/>
                    <a:pt x="252" y="156"/>
                    <a:pt x="251" y="156"/>
                  </a:cubicBezTo>
                  <a:cubicBezTo>
                    <a:pt x="250" y="158"/>
                    <a:pt x="251" y="157"/>
                    <a:pt x="252" y="158"/>
                  </a:cubicBezTo>
                  <a:cubicBezTo>
                    <a:pt x="253" y="157"/>
                    <a:pt x="253" y="157"/>
                    <a:pt x="253" y="157"/>
                  </a:cubicBezTo>
                  <a:cubicBezTo>
                    <a:pt x="254" y="158"/>
                    <a:pt x="256" y="156"/>
                    <a:pt x="258" y="158"/>
                  </a:cubicBezTo>
                  <a:cubicBezTo>
                    <a:pt x="257" y="159"/>
                    <a:pt x="253" y="158"/>
                    <a:pt x="254" y="160"/>
                  </a:cubicBezTo>
                  <a:cubicBezTo>
                    <a:pt x="250" y="161"/>
                    <a:pt x="250" y="161"/>
                    <a:pt x="250" y="161"/>
                  </a:cubicBezTo>
                  <a:cubicBezTo>
                    <a:pt x="252" y="160"/>
                    <a:pt x="252" y="163"/>
                    <a:pt x="255" y="162"/>
                  </a:cubicBezTo>
                  <a:cubicBezTo>
                    <a:pt x="256" y="163"/>
                    <a:pt x="256" y="163"/>
                    <a:pt x="256" y="163"/>
                  </a:cubicBezTo>
                  <a:cubicBezTo>
                    <a:pt x="254" y="162"/>
                    <a:pt x="252" y="163"/>
                    <a:pt x="250" y="163"/>
                  </a:cubicBezTo>
                  <a:cubicBezTo>
                    <a:pt x="252" y="165"/>
                    <a:pt x="252" y="165"/>
                    <a:pt x="252" y="165"/>
                  </a:cubicBezTo>
                  <a:cubicBezTo>
                    <a:pt x="252" y="164"/>
                    <a:pt x="252" y="165"/>
                    <a:pt x="251" y="165"/>
                  </a:cubicBezTo>
                  <a:cubicBezTo>
                    <a:pt x="251" y="165"/>
                    <a:pt x="251" y="165"/>
                    <a:pt x="251" y="165"/>
                  </a:cubicBezTo>
                  <a:cubicBezTo>
                    <a:pt x="253" y="167"/>
                    <a:pt x="253" y="167"/>
                    <a:pt x="253" y="167"/>
                  </a:cubicBezTo>
                  <a:cubicBezTo>
                    <a:pt x="259" y="167"/>
                    <a:pt x="264" y="167"/>
                    <a:pt x="270" y="167"/>
                  </a:cubicBezTo>
                  <a:cubicBezTo>
                    <a:pt x="263" y="168"/>
                    <a:pt x="256" y="166"/>
                    <a:pt x="250" y="169"/>
                  </a:cubicBezTo>
                  <a:cubicBezTo>
                    <a:pt x="251" y="170"/>
                    <a:pt x="251" y="170"/>
                    <a:pt x="251" y="170"/>
                  </a:cubicBezTo>
                  <a:cubicBezTo>
                    <a:pt x="251" y="170"/>
                    <a:pt x="250" y="170"/>
                    <a:pt x="250" y="170"/>
                  </a:cubicBezTo>
                  <a:cubicBezTo>
                    <a:pt x="250" y="171"/>
                    <a:pt x="250" y="171"/>
                    <a:pt x="250" y="171"/>
                  </a:cubicBezTo>
                  <a:cubicBezTo>
                    <a:pt x="248" y="171"/>
                    <a:pt x="248" y="172"/>
                    <a:pt x="244" y="171"/>
                  </a:cubicBezTo>
                  <a:cubicBezTo>
                    <a:pt x="242" y="171"/>
                    <a:pt x="241" y="173"/>
                    <a:pt x="241" y="174"/>
                  </a:cubicBezTo>
                  <a:cubicBezTo>
                    <a:pt x="239" y="172"/>
                    <a:pt x="235" y="173"/>
                    <a:pt x="232" y="173"/>
                  </a:cubicBezTo>
                  <a:cubicBezTo>
                    <a:pt x="231" y="173"/>
                    <a:pt x="231" y="173"/>
                    <a:pt x="231" y="173"/>
                  </a:cubicBezTo>
                  <a:cubicBezTo>
                    <a:pt x="229" y="173"/>
                    <a:pt x="231" y="174"/>
                    <a:pt x="231" y="173"/>
                  </a:cubicBezTo>
                  <a:cubicBezTo>
                    <a:pt x="229" y="172"/>
                    <a:pt x="226" y="173"/>
                    <a:pt x="224" y="172"/>
                  </a:cubicBezTo>
                  <a:cubicBezTo>
                    <a:pt x="223" y="175"/>
                    <a:pt x="219" y="173"/>
                    <a:pt x="219" y="175"/>
                  </a:cubicBezTo>
                  <a:cubicBezTo>
                    <a:pt x="216" y="174"/>
                    <a:pt x="216" y="174"/>
                    <a:pt x="216" y="174"/>
                  </a:cubicBezTo>
                  <a:cubicBezTo>
                    <a:pt x="217" y="174"/>
                    <a:pt x="218" y="175"/>
                    <a:pt x="218" y="174"/>
                  </a:cubicBezTo>
                  <a:cubicBezTo>
                    <a:pt x="218" y="172"/>
                    <a:pt x="216" y="173"/>
                    <a:pt x="216" y="172"/>
                  </a:cubicBezTo>
                  <a:cubicBezTo>
                    <a:pt x="214" y="174"/>
                    <a:pt x="214" y="174"/>
                    <a:pt x="214" y="174"/>
                  </a:cubicBezTo>
                  <a:cubicBezTo>
                    <a:pt x="214" y="174"/>
                    <a:pt x="215" y="175"/>
                    <a:pt x="215" y="174"/>
                  </a:cubicBezTo>
                  <a:cubicBezTo>
                    <a:pt x="214" y="175"/>
                    <a:pt x="215" y="176"/>
                    <a:pt x="215" y="177"/>
                  </a:cubicBezTo>
                  <a:cubicBezTo>
                    <a:pt x="214" y="178"/>
                    <a:pt x="212" y="177"/>
                    <a:pt x="212" y="176"/>
                  </a:cubicBezTo>
                  <a:cubicBezTo>
                    <a:pt x="213" y="175"/>
                    <a:pt x="213" y="175"/>
                    <a:pt x="213" y="175"/>
                  </a:cubicBezTo>
                  <a:cubicBezTo>
                    <a:pt x="213" y="174"/>
                    <a:pt x="212" y="174"/>
                    <a:pt x="212" y="174"/>
                  </a:cubicBezTo>
                  <a:cubicBezTo>
                    <a:pt x="211" y="176"/>
                    <a:pt x="212" y="176"/>
                    <a:pt x="211" y="177"/>
                  </a:cubicBezTo>
                  <a:cubicBezTo>
                    <a:pt x="211" y="177"/>
                    <a:pt x="211" y="177"/>
                    <a:pt x="211" y="177"/>
                  </a:cubicBezTo>
                  <a:cubicBezTo>
                    <a:pt x="211" y="176"/>
                    <a:pt x="211" y="176"/>
                    <a:pt x="211" y="176"/>
                  </a:cubicBezTo>
                  <a:cubicBezTo>
                    <a:pt x="210" y="176"/>
                    <a:pt x="210" y="174"/>
                    <a:pt x="209" y="175"/>
                  </a:cubicBezTo>
                  <a:cubicBezTo>
                    <a:pt x="207" y="177"/>
                    <a:pt x="207" y="177"/>
                    <a:pt x="207" y="177"/>
                  </a:cubicBezTo>
                  <a:cubicBezTo>
                    <a:pt x="208" y="177"/>
                    <a:pt x="208" y="177"/>
                    <a:pt x="208" y="177"/>
                  </a:cubicBezTo>
                  <a:cubicBezTo>
                    <a:pt x="207" y="177"/>
                    <a:pt x="206" y="176"/>
                    <a:pt x="205" y="176"/>
                  </a:cubicBezTo>
                  <a:cubicBezTo>
                    <a:pt x="205" y="177"/>
                    <a:pt x="205" y="177"/>
                    <a:pt x="205" y="177"/>
                  </a:cubicBezTo>
                  <a:cubicBezTo>
                    <a:pt x="203" y="177"/>
                    <a:pt x="201" y="176"/>
                    <a:pt x="199" y="178"/>
                  </a:cubicBezTo>
                  <a:cubicBezTo>
                    <a:pt x="200" y="178"/>
                    <a:pt x="200" y="178"/>
                    <a:pt x="200" y="178"/>
                  </a:cubicBezTo>
                  <a:cubicBezTo>
                    <a:pt x="200" y="178"/>
                    <a:pt x="198" y="179"/>
                    <a:pt x="196" y="178"/>
                  </a:cubicBezTo>
                  <a:cubicBezTo>
                    <a:pt x="195" y="179"/>
                    <a:pt x="196" y="180"/>
                    <a:pt x="194" y="179"/>
                  </a:cubicBezTo>
                  <a:cubicBezTo>
                    <a:pt x="195" y="179"/>
                    <a:pt x="195" y="179"/>
                    <a:pt x="195" y="178"/>
                  </a:cubicBezTo>
                  <a:cubicBezTo>
                    <a:pt x="193" y="178"/>
                    <a:pt x="192" y="177"/>
                    <a:pt x="190" y="178"/>
                  </a:cubicBezTo>
                  <a:cubicBezTo>
                    <a:pt x="171" y="176"/>
                    <a:pt x="150" y="176"/>
                    <a:pt x="131" y="175"/>
                  </a:cubicBezTo>
                  <a:cubicBezTo>
                    <a:pt x="130" y="176"/>
                    <a:pt x="130" y="176"/>
                    <a:pt x="130" y="176"/>
                  </a:cubicBezTo>
                  <a:cubicBezTo>
                    <a:pt x="129" y="175"/>
                    <a:pt x="126" y="175"/>
                    <a:pt x="125" y="175"/>
                  </a:cubicBezTo>
                  <a:cubicBezTo>
                    <a:pt x="123" y="176"/>
                    <a:pt x="122" y="176"/>
                    <a:pt x="120" y="177"/>
                  </a:cubicBezTo>
                  <a:cubicBezTo>
                    <a:pt x="120" y="178"/>
                    <a:pt x="118" y="179"/>
                    <a:pt x="117" y="178"/>
                  </a:cubicBezTo>
                  <a:cubicBezTo>
                    <a:pt x="117" y="177"/>
                    <a:pt x="119" y="177"/>
                    <a:pt x="120" y="176"/>
                  </a:cubicBezTo>
                  <a:cubicBezTo>
                    <a:pt x="119" y="176"/>
                    <a:pt x="119" y="175"/>
                    <a:pt x="118" y="175"/>
                  </a:cubicBezTo>
                  <a:cubicBezTo>
                    <a:pt x="117" y="176"/>
                    <a:pt x="117" y="176"/>
                    <a:pt x="117" y="176"/>
                  </a:cubicBezTo>
                  <a:cubicBezTo>
                    <a:pt x="119" y="176"/>
                    <a:pt x="119" y="176"/>
                    <a:pt x="119" y="176"/>
                  </a:cubicBezTo>
                  <a:cubicBezTo>
                    <a:pt x="117" y="177"/>
                    <a:pt x="117" y="177"/>
                    <a:pt x="117" y="177"/>
                  </a:cubicBezTo>
                  <a:cubicBezTo>
                    <a:pt x="117" y="174"/>
                    <a:pt x="114" y="176"/>
                    <a:pt x="113" y="175"/>
                  </a:cubicBezTo>
                  <a:cubicBezTo>
                    <a:pt x="112" y="177"/>
                    <a:pt x="108" y="174"/>
                    <a:pt x="110" y="177"/>
                  </a:cubicBezTo>
                  <a:cubicBezTo>
                    <a:pt x="109" y="177"/>
                    <a:pt x="106" y="174"/>
                    <a:pt x="105" y="177"/>
                  </a:cubicBezTo>
                  <a:cubicBezTo>
                    <a:pt x="103" y="178"/>
                    <a:pt x="100" y="175"/>
                    <a:pt x="97" y="176"/>
                  </a:cubicBezTo>
                  <a:cubicBezTo>
                    <a:pt x="97" y="177"/>
                    <a:pt x="97" y="177"/>
                    <a:pt x="97" y="177"/>
                  </a:cubicBezTo>
                  <a:cubicBezTo>
                    <a:pt x="95" y="176"/>
                    <a:pt x="94" y="177"/>
                    <a:pt x="92" y="177"/>
                  </a:cubicBezTo>
                  <a:cubicBezTo>
                    <a:pt x="91" y="178"/>
                    <a:pt x="91" y="178"/>
                    <a:pt x="91" y="178"/>
                  </a:cubicBezTo>
                  <a:cubicBezTo>
                    <a:pt x="91" y="178"/>
                    <a:pt x="91" y="178"/>
                    <a:pt x="91" y="178"/>
                  </a:cubicBezTo>
                  <a:cubicBezTo>
                    <a:pt x="91" y="177"/>
                    <a:pt x="91" y="177"/>
                    <a:pt x="91" y="177"/>
                  </a:cubicBezTo>
                  <a:cubicBezTo>
                    <a:pt x="91" y="177"/>
                    <a:pt x="90" y="177"/>
                    <a:pt x="90" y="177"/>
                  </a:cubicBezTo>
                  <a:cubicBezTo>
                    <a:pt x="88" y="178"/>
                    <a:pt x="84" y="177"/>
                    <a:pt x="81" y="178"/>
                  </a:cubicBezTo>
                  <a:cubicBezTo>
                    <a:pt x="77" y="180"/>
                    <a:pt x="71" y="178"/>
                    <a:pt x="67" y="180"/>
                  </a:cubicBezTo>
                  <a:cubicBezTo>
                    <a:pt x="61" y="182"/>
                    <a:pt x="55" y="180"/>
                    <a:pt x="50" y="181"/>
                  </a:cubicBezTo>
                  <a:cubicBezTo>
                    <a:pt x="52" y="182"/>
                    <a:pt x="54" y="182"/>
                    <a:pt x="56" y="182"/>
                  </a:cubicBezTo>
                  <a:cubicBezTo>
                    <a:pt x="56" y="183"/>
                    <a:pt x="57" y="182"/>
                    <a:pt x="58" y="182"/>
                  </a:cubicBezTo>
                  <a:cubicBezTo>
                    <a:pt x="53" y="183"/>
                    <a:pt x="47" y="181"/>
                    <a:pt x="42" y="182"/>
                  </a:cubicBezTo>
                  <a:cubicBezTo>
                    <a:pt x="39" y="176"/>
                    <a:pt x="32" y="180"/>
                    <a:pt x="29" y="175"/>
                  </a:cubicBezTo>
                  <a:cubicBezTo>
                    <a:pt x="26" y="172"/>
                    <a:pt x="24" y="168"/>
                    <a:pt x="24" y="163"/>
                  </a:cubicBezTo>
                  <a:cubicBezTo>
                    <a:pt x="24" y="163"/>
                    <a:pt x="24" y="163"/>
                    <a:pt x="24" y="163"/>
                  </a:cubicBezTo>
                  <a:cubicBezTo>
                    <a:pt x="22" y="165"/>
                    <a:pt x="22" y="165"/>
                    <a:pt x="22" y="165"/>
                  </a:cubicBezTo>
                  <a:cubicBezTo>
                    <a:pt x="21" y="164"/>
                    <a:pt x="20" y="162"/>
                    <a:pt x="19" y="162"/>
                  </a:cubicBezTo>
                  <a:cubicBezTo>
                    <a:pt x="20" y="161"/>
                    <a:pt x="20" y="159"/>
                    <a:pt x="20" y="158"/>
                  </a:cubicBezTo>
                  <a:cubicBezTo>
                    <a:pt x="19" y="156"/>
                    <a:pt x="17" y="161"/>
                    <a:pt x="17" y="158"/>
                  </a:cubicBezTo>
                  <a:cubicBezTo>
                    <a:pt x="16" y="157"/>
                    <a:pt x="16" y="157"/>
                    <a:pt x="16" y="157"/>
                  </a:cubicBezTo>
                  <a:cubicBezTo>
                    <a:pt x="17" y="156"/>
                    <a:pt x="15" y="154"/>
                    <a:pt x="16" y="153"/>
                  </a:cubicBezTo>
                  <a:cubicBezTo>
                    <a:pt x="17" y="151"/>
                    <a:pt x="13" y="151"/>
                    <a:pt x="13" y="151"/>
                  </a:cubicBezTo>
                  <a:cubicBezTo>
                    <a:pt x="15" y="151"/>
                    <a:pt x="15" y="149"/>
                    <a:pt x="16" y="148"/>
                  </a:cubicBezTo>
                  <a:cubicBezTo>
                    <a:pt x="13" y="148"/>
                    <a:pt x="13" y="148"/>
                    <a:pt x="13" y="148"/>
                  </a:cubicBezTo>
                  <a:cubicBezTo>
                    <a:pt x="13" y="146"/>
                    <a:pt x="12" y="147"/>
                    <a:pt x="11" y="147"/>
                  </a:cubicBezTo>
                  <a:cubicBezTo>
                    <a:pt x="13" y="144"/>
                    <a:pt x="11" y="142"/>
                    <a:pt x="14" y="140"/>
                  </a:cubicBezTo>
                  <a:cubicBezTo>
                    <a:pt x="13" y="139"/>
                    <a:pt x="13" y="139"/>
                    <a:pt x="13" y="139"/>
                  </a:cubicBezTo>
                  <a:cubicBezTo>
                    <a:pt x="14" y="138"/>
                    <a:pt x="15" y="138"/>
                    <a:pt x="15" y="137"/>
                  </a:cubicBezTo>
                  <a:cubicBezTo>
                    <a:pt x="12" y="137"/>
                    <a:pt x="12" y="137"/>
                    <a:pt x="12" y="137"/>
                  </a:cubicBezTo>
                  <a:cubicBezTo>
                    <a:pt x="10" y="135"/>
                    <a:pt x="18" y="130"/>
                    <a:pt x="12" y="131"/>
                  </a:cubicBezTo>
                  <a:cubicBezTo>
                    <a:pt x="12" y="130"/>
                    <a:pt x="14" y="129"/>
                    <a:pt x="12" y="128"/>
                  </a:cubicBezTo>
                  <a:cubicBezTo>
                    <a:pt x="12" y="128"/>
                    <a:pt x="12" y="129"/>
                    <a:pt x="11" y="129"/>
                  </a:cubicBezTo>
                  <a:cubicBezTo>
                    <a:pt x="12" y="128"/>
                    <a:pt x="12" y="126"/>
                    <a:pt x="13" y="125"/>
                  </a:cubicBezTo>
                  <a:cubicBezTo>
                    <a:pt x="9" y="125"/>
                    <a:pt x="4" y="124"/>
                    <a:pt x="0" y="125"/>
                  </a:cubicBezTo>
                  <a:cubicBezTo>
                    <a:pt x="4" y="124"/>
                    <a:pt x="9" y="124"/>
                    <a:pt x="14" y="125"/>
                  </a:cubicBezTo>
                  <a:cubicBezTo>
                    <a:pt x="14" y="123"/>
                    <a:pt x="14" y="121"/>
                    <a:pt x="16" y="120"/>
                  </a:cubicBezTo>
                  <a:cubicBezTo>
                    <a:pt x="16" y="120"/>
                    <a:pt x="17" y="120"/>
                    <a:pt x="17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7"/>
                    <a:pt x="18" y="116"/>
                    <a:pt x="18" y="114"/>
                  </a:cubicBezTo>
                  <a:cubicBezTo>
                    <a:pt x="18" y="113"/>
                    <a:pt x="18" y="113"/>
                    <a:pt x="18" y="113"/>
                  </a:cubicBezTo>
                  <a:cubicBezTo>
                    <a:pt x="18" y="110"/>
                    <a:pt x="20" y="107"/>
                    <a:pt x="21" y="104"/>
                  </a:cubicBezTo>
                  <a:cubicBezTo>
                    <a:pt x="19" y="102"/>
                    <a:pt x="23" y="100"/>
                    <a:pt x="21" y="97"/>
                  </a:cubicBezTo>
                  <a:cubicBezTo>
                    <a:pt x="18" y="97"/>
                    <a:pt x="15" y="96"/>
                    <a:pt x="12" y="97"/>
                  </a:cubicBezTo>
                  <a:cubicBezTo>
                    <a:pt x="14" y="96"/>
                    <a:pt x="18" y="96"/>
                    <a:pt x="21" y="96"/>
                  </a:cubicBezTo>
                  <a:cubicBezTo>
                    <a:pt x="24" y="88"/>
                    <a:pt x="20" y="79"/>
                    <a:pt x="27" y="72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9" y="66"/>
                    <a:pt x="35" y="60"/>
                    <a:pt x="39" y="53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0"/>
                    <a:pt x="39" y="50"/>
                    <a:pt x="38" y="49"/>
                  </a:cubicBezTo>
                  <a:cubicBezTo>
                    <a:pt x="34" y="54"/>
                    <a:pt x="31" y="60"/>
                    <a:pt x="29" y="66"/>
                  </a:cubicBezTo>
                  <a:cubicBezTo>
                    <a:pt x="30" y="61"/>
                    <a:pt x="33" y="56"/>
                    <a:pt x="36" y="50"/>
                  </a:cubicBezTo>
                  <a:cubicBezTo>
                    <a:pt x="43" y="41"/>
                    <a:pt x="54" y="33"/>
                    <a:pt x="60" y="22"/>
                  </a:cubicBezTo>
                  <a:cubicBezTo>
                    <a:pt x="62" y="20"/>
                    <a:pt x="66" y="18"/>
                    <a:pt x="64" y="14"/>
                  </a:cubicBezTo>
                  <a:cubicBezTo>
                    <a:pt x="68" y="12"/>
                    <a:pt x="69" y="8"/>
                    <a:pt x="71" y="5"/>
                  </a:cubicBezTo>
                  <a:cubicBezTo>
                    <a:pt x="75" y="4"/>
                    <a:pt x="77" y="0"/>
                    <a:pt x="81" y="2"/>
                  </a:cubicBezTo>
                  <a:cubicBezTo>
                    <a:pt x="82" y="1"/>
                    <a:pt x="83" y="4"/>
                    <a:pt x="84" y="4"/>
                  </a:cubicBezTo>
                  <a:cubicBezTo>
                    <a:pt x="87" y="2"/>
                    <a:pt x="89" y="5"/>
                    <a:pt x="91" y="4"/>
                  </a:cubicBezTo>
                  <a:cubicBezTo>
                    <a:pt x="95" y="7"/>
                    <a:pt x="101" y="4"/>
                    <a:pt x="104" y="8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3" y="11"/>
                    <a:pt x="101" y="7"/>
                    <a:pt x="99" y="9"/>
                  </a:cubicBezTo>
                  <a:cubicBezTo>
                    <a:pt x="100" y="10"/>
                    <a:pt x="103" y="9"/>
                    <a:pt x="102" y="12"/>
                  </a:cubicBezTo>
                  <a:cubicBezTo>
                    <a:pt x="109" y="17"/>
                    <a:pt x="116" y="19"/>
                    <a:pt x="121" y="26"/>
                  </a:cubicBezTo>
                  <a:cubicBezTo>
                    <a:pt x="124" y="27"/>
                    <a:pt x="127" y="29"/>
                    <a:pt x="127" y="32"/>
                  </a:cubicBezTo>
                  <a:cubicBezTo>
                    <a:pt x="128" y="33"/>
                    <a:pt x="129" y="34"/>
                    <a:pt x="131" y="35"/>
                  </a:cubicBezTo>
                  <a:cubicBezTo>
                    <a:pt x="131" y="35"/>
                    <a:pt x="131" y="35"/>
                    <a:pt x="131" y="34"/>
                  </a:cubicBezTo>
                  <a:cubicBezTo>
                    <a:pt x="131" y="36"/>
                    <a:pt x="134" y="37"/>
                    <a:pt x="136" y="39"/>
                  </a:cubicBezTo>
                  <a:cubicBezTo>
                    <a:pt x="136" y="39"/>
                    <a:pt x="137" y="38"/>
                    <a:pt x="138" y="39"/>
                  </a:cubicBezTo>
                  <a:cubicBezTo>
                    <a:pt x="137" y="40"/>
                    <a:pt x="137" y="40"/>
                    <a:pt x="137" y="40"/>
                  </a:cubicBezTo>
                  <a:cubicBezTo>
                    <a:pt x="139" y="41"/>
                    <a:pt x="141" y="39"/>
                    <a:pt x="143" y="41"/>
                  </a:cubicBezTo>
                  <a:cubicBezTo>
                    <a:pt x="143" y="41"/>
                    <a:pt x="142" y="41"/>
                    <a:pt x="142" y="41"/>
                  </a:cubicBezTo>
                  <a:cubicBezTo>
                    <a:pt x="146" y="42"/>
                    <a:pt x="150" y="43"/>
                    <a:pt x="155" y="42"/>
                  </a:cubicBezTo>
                  <a:cubicBezTo>
                    <a:pt x="155" y="42"/>
                    <a:pt x="155" y="42"/>
                    <a:pt x="155" y="42"/>
                  </a:cubicBezTo>
                  <a:cubicBezTo>
                    <a:pt x="158" y="42"/>
                    <a:pt x="161" y="41"/>
                    <a:pt x="163" y="41"/>
                  </a:cubicBezTo>
                  <a:cubicBezTo>
                    <a:pt x="164" y="40"/>
                    <a:pt x="164" y="40"/>
                    <a:pt x="164" y="40"/>
                  </a:cubicBezTo>
                  <a:cubicBezTo>
                    <a:pt x="166" y="42"/>
                    <a:pt x="168" y="40"/>
                    <a:pt x="169" y="40"/>
                  </a:cubicBezTo>
                  <a:cubicBezTo>
                    <a:pt x="170" y="41"/>
                    <a:pt x="170" y="42"/>
                    <a:pt x="169" y="42"/>
                  </a:cubicBezTo>
                  <a:cubicBezTo>
                    <a:pt x="167" y="41"/>
                    <a:pt x="165" y="41"/>
                    <a:pt x="163" y="43"/>
                  </a:cubicBezTo>
                  <a:cubicBezTo>
                    <a:pt x="163" y="43"/>
                    <a:pt x="163" y="43"/>
                    <a:pt x="163" y="43"/>
                  </a:cubicBezTo>
                  <a:cubicBezTo>
                    <a:pt x="165" y="44"/>
                    <a:pt x="169" y="43"/>
                    <a:pt x="171" y="42"/>
                  </a:cubicBezTo>
                  <a:cubicBezTo>
                    <a:pt x="171" y="41"/>
                    <a:pt x="171" y="41"/>
                    <a:pt x="171" y="41"/>
                  </a:cubicBezTo>
                  <a:cubicBezTo>
                    <a:pt x="171" y="41"/>
                    <a:pt x="171" y="41"/>
                    <a:pt x="171" y="41"/>
                  </a:cubicBezTo>
                  <a:cubicBezTo>
                    <a:pt x="172" y="39"/>
                    <a:pt x="174" y="42"/>
                    <a:pt x="174" y="40"/>
                  </a:cubicBezTo>
                  <a:cubicBezTo>
                    <a:pt x="176" y="40"/>
                    <a:pt x="177" y="38"/>
                    <a:pt x="178" y="36"/>
                  </a:cubicBezTo>
                  <a:cubicBezTo>
                    <a:pt x="179" y="32"/>
                    <a:pt x="183" y="29"/>
                    <a:pt x="184" y="24"/>
                  </a:cubicBezTo>
                  <a:cubicBezTo>
                    <a:pt x="186" y="24"/>
                    <a:pt x="186" y="24"/>
                    <a:pt x="186" y="24"/>
                  </a:cubicBezTo>
                  <a:cubicBezTo>
                    <a:pt x="185" y="28"/>
                    <a:pt x="182" y="30"/>
                    <a:pt x="181" y="34"/>
                  </a:cubicBezTo>
                  <a:cubicBezTo>
                    <a:pt x="180" y="35"/>
                    <a:pt x="182" y="36"/>
                    <a:pt x="181" y="37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79" y="37"/>
                    <a:pt x="178" y="38"/>
                    <a:pt x="178" y="40"/>
                  </a:cubicBezTo>
                  <a:cubicBezTo>
                    <a:pt x="179" y="39"/>
                    <a:pt x="181" y="40"/>
                    <a:pt x="181" y="39"/>
                  </a:cubicBezTo>
                  <a:cubicBezTo>
                    <a:pt x="181" y="38"/>
                    <a:pt x="180" y="39"/>
                    <a:pt x="179" y="39"/>
                  </a:cubicBezTo>
                  <a:cubicBezTo>
                    <a:pt x="179" y="38"/>
                    <a:pt x="180" y="38"/>
                    <a:pt x="181" y="38"/>
                  </a:cubicBezTo>
                  <a:cubicBezTo>
                    <a:pt x="181" y="39"/>
                    <a:pt x="182" y="39"/>
                    <a:pt x="182" y="40"/>
                  </a:cubicBezTo>
                  <a:cubicBezTo>
                    <a:pt x="180" y="40"/>
                    <a:pt x="178" y="41"/>
                    <a:pt x="176" y="41"/>
                  </a:cubicBezTo>
                  <a:cubicBezTo>
                    <a:pt x="177" y="42"/>
                    <a:pt x="177" y="42"/>
                    <a:pt x="177" y="42"/>
                  </a:cubicBezTo>
                  <a:cubicBezTo>
                    <a:pt x="201" y="39"/>
                    <a:pt x="201" y="39"/>
                    <a:pt x="201" y="39"/>
                  </a:cubicBezTo>
                  <a:cubicBezTo>
                    <a:pt x="202" y="38"/>
                    <a:pt x="202" y="38"/>
                    <a:pt x="202" y="38"/>
                  </a:cubicBezTo>
                  <a:cubicBezTo>
                    <a:pt x="201" y="37"/>
                    <a:pt x="200" y="38"/>
                    <a:pt x="200" y="38"/>
                  </a:cubicBezTo>
                  <a:cubicBezTo>
                    <a:pt x="198" y="38"/>
                    <a:pt x="196" y="39"/>
                    <a:pt x="195" y="38"/>
                  </a:cubicBezTo>
                  <a:cubicBezTo>
                    <a:pt x="197" y="37"/>
                    <a:pt x="199" y="38"/>
                    <a:pt x="201" y="38"/>
                  </a:cubicBezTo>
                  <a:cubicBezTo>
                    <a:pt x="201" y="38"/>
                    <a:pt x="202" y="38"/>
                    <a:pt x="203" y="38"/>
                  </a:cubicBezTo>
                  <a:cubicBezTo>
                    <a:pt x="203" y="37"/>
                    <a:pt x="203" y="37"/>
                    <a:pt x="203" y="36"/>
                  </a:cubicBezTo>
                  <a:cubicBezTo>
                    <a:pt x="204" y="36"/>
                    <a:pt x="204" y="36"/>
                    <a:pt x="204" y="36"/>
                  </a:cubicBezTo>
                  <a:cubicBezTo>
                    <a:pt x="202" y="36"/>
                    <a:pt x="204" y="34"/>
                    <a:pt x="202" y="34"/>
                  </a:cubicBezTo>
                  <a:cubicBezTo>
                    <a:pt x="201" y="34"/>
                    <a:pt x="201" y="34"/>
                    <a:pt x="201" y="34"/>
                  </a:cubicBezTo>
                  <a:cubicBezTo>
                    <a:pt x="202" y="35"/>
                    <a:pt x="202" y="35"/>
                    <a:pt x="202" y="35"/>
                  </a:cubicBezTo>
                  <a:cubicBezTo>
                    <a:pt x="201" y="34"/>
                    <a:pt x="201" y="34"/>
                    <a:pt x="201" y="34"/>
                  </a:cubicBezTo>
                  <a:cubicBezTo>
                    <a:pt x="201" y="36"/>
                    <a:pt x="199" y="34"/>
                    <a:pt x="198" y="35"/>
                  </a:cubicBezTo>
                  <a:cubicBezTo>
                    <a:pt x="198" y="34"/>
                    <a:pt x="198" y="34"/>
                    <a:pt x="198" y="34"/>
                  </a:cubicBezTo>
                  <a:cubicBezTo>
                    <a:pt x="205" y="33"/>
                    <a:pt x="205" y="33"/>
                    <a:pt x="205" y="33"/>
                  </a:cubicBezTo>
                  <a:cubicBezTo>
                    <a:pt x="204" y="34"/>
                    <a:pt x="203" y="33"/>
                    <a:pt x="203" y="34"/>
                  </a:cubicBezTo>
                  <a:cubicBezTo>
                    <a:pt x="204" y="36"/>
                    <a:pt x="204" y="36"/>
                    <a:pt x="204" y="36"/>
                  </a:cubicBezTo>
                  <a:cubicBezTo>
                    <a:pt x="204" y="36"/>
                    <a:pt x="204" y="36"/>
                    <a:pt x="204" y="36"/>
                  </a:cubicBezTo>
                  <a:cubicBezTo>
                    <a:pt x="204" y="37"/>
                    <a:pt x="204" y="37"/>
                    <a:pt x="204" y="37"/>
                  </a:cubicBezTo>
                  <a:cubicBezTo>
                    <a:pt x="206" y="36"/>
                    <a:pt x="207" y="38"/>
                    <a:pt x="209" y="36"/>
                  </a:cubicBezTo>
                  <a:cubicBezTo>
                    <a:pt x="210" y="37"/>
                    <a:pt x="212" y="35"/>
                    <a:pt x="214" y="35"/>
                  </a:cubicBezTo>
                  <a:cubicBezTo>
                    <a:pt x="214" y="36"/>
                    <a:pt x="214" y="36"/>
                    <a:pt x="214" y="36"/>
                  </a:cubicBezTo>
                  <a:cubicBezTo>
                    <a:pt x="210" y="37"/>
                    <a:pt x="207" y="37"/>
                    <a:pt x="204" y="39"/>
                  </a:cubicBezTo>
                  <a:cubicBezTo>
                    <a:pt x="180" y="43"/>
                    <a:pt x="180" y="43"/>
                    <a:pt x="180" y="43"/>
                  </a:cubicBezTo>
                  <a:cubicBezTo>
                    <a:pt x="179" y="44"/>
                    <a:pt x="179" y="44"/>
                    <a:pt x="179" y="44"/>
                  </a:cubicBezTo>
                  <a:cubicBezTo>
                    <a:pt x="182" y="44"/>
                    <a:pt x="185" y="43"/>
                    <a:pt x="188" y="43"/>
                  </a:cubicBezTo>
                  <a:cubicBezTo>
                    <a:pt x="187" y="43"/>
                    <a:pt x="187" y="43"/>
                    <a:pt x="187" y="43"/>
                  </a:cubicBezTo>
                  <a:cubicBezTo>
                    <a:pt x="189" y="45"/>
                    <a:pt x="190" y="42"/>
                    <a:pt x="192" y="42"/>
                  </a:cubicBezTo>
                  <a:cubicBezTo>
                    <a:pt x="192" y="43"/>
                    <a:pt x="192" y="43"/>
                    <a:pt x="192" y="43"/>
                  </a:cubicBezTo>
                  <a:cubicBezTo>
                    <a:pt x="193" y="43"/>
                    <a:pt x="197" y="43"/>
                    <a:pt x="197" y="42"/>
                  </a:cubicBezTo>
                  <a:cubicBezTo>
                    <a:pt x="199" y="43"/>
                    <a:pt x="203" y="42"/>
                    <a:pt x="206" y="41"/>
                  </a:cubicBezTo>
                  <a:cubicBezTo>
                    <a:pt x="206" y="41"/>
                    <a:pt x="206" y="41"/>
                    <a:pt x="205" y="42"/>
                  </a:cubicBezTo>
                  <a:cubicBezTo>
                    <a:pt x="207" y="43"/>
                    <a:pt x="207" y="43"/>
                    <a:pt x="207" y="43"/>
                  </a:cubicBezTo>
                  <a:cubicBezTo>
                    <a:pt x="207" y="42"/>
                    <a:pt x="207" y="42"/>
                    <a:pt x="207" y="41"/>
                  </a:cubicBezTo>
                  <a:cubicBezTo>
                    <a:pt x="210" y="41"/>
                    <a:pt x="210" y="41"/>
                    <a:pt x="210" y="41"/>
                  </a:cubicBezTo>
                  <a:cubicBezTo>
                    <a:pt x="207" y="41"/>
                    <a:pt x="204" y="45"/>
                    <a:pt x="201" y="43"/>
                  </a:cubicBezTo>
                  <a:cubicBezTo>
                    <a:pt x="199" y="42"/>
                    <a:pt x="198" y="46"/>
                    <a:pt x="196" y="44"/>
                  </a:cubicBezTo>
                  <a:cubicBezTo>
                    <a:pt x="196" y="43"/>
                    <a:pt x="196" y="43"/>
                    <a:pt x="196" y="43"/>
                  </a:cubicBezTo>
                  <a:cubicBezTo>
                    <a:pt x="196" y="44"/>
                    <a:pt x="196" y="44"/>
                    <a:pt x="196" y="44"/>
                  </a:cubicBezTo>
                  <a:cubicBezTo>
                    <a:pt x="193" y="44"/>
                    <a:pt x="192" y="44"/>
                    <a:pt x="190" y="45"/>
                  </a:cubicBezTo>
                  <a:cubicBezTo>
                    <a:pt x="190" y="44"/>
                    <a:pt x="190" y="44"/>
                    <a:pt x="190" y="44"/>
                  </a:cubicBezTo>
                  <a:cubicBezTo>
                    <a:pt x="190" y="44"/>
                    <a:pt x="190" y="44"/>
                    <a:pt x="190" y="44"/>
                  </a:cubicBezTo>
                  <a:cubicBezTo>
                    <a:pt x="189" y="46"/>
                    <a:pt x="186" y="45"/>
                    <a:pt x="185" y="47"/>
                  </a:cubicBezTo>
                  <a:cubicBezTo>
                    <a:pt x="185" y="46"/>
                    <a:pt x="185" y="46"/>
                    <a:pt x="184" y="46"/>
                  </a:cubicBezTo>
                  <a:cubicBezTo>
                    <a:pt x="183" y="46"/>
                    <a:pt x="183" y="46"/>
                    <a:pt x="183" y="46"/>
                  </a:cubicBezTo>
                  <a:cubicBezTo>
                    <a:pt x="183" y="47"/>
                    <a:pt x="183" y="47"/>
                    <a:pt x="183" y="47"/>
                  </a:cubicBezTo>
                  <a:cubicBezTo>
                    <a:pt x="192" y="47"/>
                    <a:pt x="200" y="45"/>
                    <a:pt x="207" y="45"/>
                  </a:cubicBezTo>
                  <a:cubicBezTo>
                    <a:pt x="207" y="43"/>
                    <a:pt x="207" y="43"/>
                    <a:pt x="207" y="43"/>
                  </a:cubicBezTo>
                  <a:cubicBezTo>
                    <a:pt x="209" y="44"/>
                    <a:pt x="213" y="44"/>
                    <a:pt x="215" y="42"/>
                  </a:cubicBezTo>
                  <a:cubicBezTo>
                    <a:pt x="215" y="42"/>
                    <a:pt x="215" y="42"/>
                    <a:pt x="215" y="42"/>
                  </a:cubicBezTo>
                  <a:cubicBezTo>
                    <a:pt x="216" y="43"/>
                    <a:pt x="216" y="43"/>
                    <a:pt x="216" y="43"/>
                  </a:cubicBezTo>
                  <a:cubicBezTo>
                    <a:pt x="216" y="42"/>
                    <a:pt x="216" y="42"/>
                    <a:pt x="217" y="42"/>
                  </a:cubicBezTo>
                  <a:cubicBezTo>
                    <a:pt x="218" y="42"/>
                    <a:pt x="218" y="42"/>
                    <a:pt x="218" y="42"/>
                  </a:cubicBezTo>
                  <a:cubicBezTo>
                    <a:pt x="218" y="43"/>
                    <a:pt x="220" y="42"/>
                    <a:pt x="221" y="43"/>
                  </a:cubicBezTo>
                  <a:cubicBezTo>
                    <a:pt x="223" y="43"/>
                    <a:pt x="227" y="41"/>
                    <a:pt x="227" y="43"/>
                  </a:cubicBezTo>
                  <a:cubicBezTo>
                    <a:pt x="227" y="43"/>
                    <a:pt x="227" y="43"/>
                    <a:pt x="227" y="43"/>
                  </a:cubicBezTo>
                  <a:cubicBezTo>
                    <a:pt x="227" y="41"/>
                    <a:pt x="227" y="41"/>
                    <a:pt x="227" y="41"/>
                  </a:cubicBezTo>
                  <a:cubicBezTo>
                    <a:pt x="229" y="42"/>
                    <a:pt x="230" y="43"/>
                    <a:pt x="230" y="41"/>
                  </a:cubicBezTo>
                  <a:cubicBezTo>
                    <a:pt x="230" y="41"/>
                    <a:pt x="230" y="42"/>
                    <a:pt x="231" y="42"/>
                  </a:cubicBezTo>
                  <a:cubicBezTo>
                    <a:pt x="231" y="42"/>
                    <a:pt x="231" y="41"/>
                    <a:pt x="231" y="41"/>
                  </a:cubicBezTo>
                  <a:cubicBezTo>
                    <a:pt x="232" y="41"/>
                    <a:pt x="232" y="41"/>
                    <a:pt x="232" y="41"/>
                  </a:cubicBezTo>
                  <a:cubicBezTo>
                    <a:pt x="232" y="41"/>
                    <a:pt x="232" y="41"/>
                    <a:pt x="232" y="42"/>
                  </a:cubicBezTo>
                  <a:cubicBezTo>
                    <a:pt x="233" y="41"/>
                    <a:pt x="233" y="41"/>
                    <a:pt x="233" y="41"/>
                  </a:cubicBezTo>
                  <a:cubicBezTo>
                    <a:pt x="233" y="41"/>
                    <a:pt x="234" y="42"/>
                    <a:pt x="235" y="41"/>
                  </a:cubicBezTo>
                  <a:cubicBezTo>
                    <a:pt x="235" y="41"/>
                    <a:pt x="235" y="41"/>
                    <a:pt x="235" y="40"/>
                  </a:cubicBezTo>
                  <a:cubicBezTo>
                    <a:pt x="238" y="43"/>
                    <a:pt x="240" y="39"/>
                    <a:pt x="241" y="40"/>
                  </a:cubicBezTo>
                  <a:cubicBezTo>
                    <a:pt x="241" y="42"/>
                    <a:pt x="240" y="40"/>
                    <a:pt x="239" y="42"/>
                  </a:cubicBezTo>
                  <a:cubicBezTo>
                    <a:pt x="240" y="43"/>
                    <a:pt x="242" y="41"/>
                    <a:pt x="243" y="41"/>
                  </a:cubicBezTo>
                  <a:cubicBezTo>
                    <a:pt x="243" y="40"/>
                    <a:pt x="243" y="40"/>
                    <a:pt x="243" y="40"/>
                  </a:cubicBezTo>
                  <a:cubicBezTo>
                    <a:pt x="243" y="40"/>
                    <a:pt x="243" y="40"/>
                    <a:pt x="243" y="40"/>
                  </a:cubicBezTo>
                  <a:cubicBezTo>
                    <a:pt x="243" y="41"/>
                    <a:pt x="243" y="41"/>
                    <a:pt x="243" y="41"/>
                  </a:cubicBezTo>
                  <a:cubicBezTo>
                    <a:pt x="244" y="41"/>
                    <a:pt x="245" y="41"/>
                    <a:pt x="245" y="41"/>
                  </a:cubicBezTo>
                  <a:cubicBezTo>
                    <a:pt x="246" y="41"/>
                    <a:pt x="246" y="41"/>
                    <a:pt x="246" y="41"/>
                  </a:cubicBezTo>
                  <a:cubicBezTo>
                    <a:pt x="245" y="42"/>
                    <a:pt x="245" y="42"/>
                    <a:pt x="245" y="42"/>
                  </a:cubicBezTo>
                  <a:cubicBezTo>
                    <a:pt x="246" y="43"/>
                    <a:pt x="246" y="43"/>
                    <a:pt x="246" y="43"/>
                  </a:cubicBezTo>
                  <a:cubicBezTo>
                    <a:pt x="245" y="44"/>
                    <a:pt x="245" y="44"/>
                    <a:pt x="245" y="44"/>
                  </a:cubicBezTo>
                  <a:cubicBezTo>
                    <a:pt x="244" y="43"/>
                    <a:pt x="244" y="43"/>
                    <a:pt x="244" y="43"/>
                  </a:cubicBezTo>
                  <a:cubicBezTo>
                    <a:pt x="243" y="43"/>
                    <a:pt x="244" y="44"/>
                    <a:pt x="244" y="44"/>
                  </a:cubicBezTo>
                  <a:cubicBezTo>
                    <a:pt x="244" y="45"/>
                    <a:pt x="242" y="44"/>
                    <a:pt x="243" y="43"/>
                  </a:cubicBezTo>
                  <a:cubicBezTo>
                    <a:pt x="237" y="43"/>
                    <a:pt x="237" y="43"/>
                    <a:pt x="237" y="43"/>
                  </a:cubicBezTo>
                  <a:cubicBezTo>
                    <a:pt x="238" y="43"/>
                    <a:pt x="238" y="42"/>
                    <a:pt x="238" y="42"/>
                  </a:cubicBezTo>
                  <a:cubicBezTo>
                    <a:pt x="237" y="41"/>
                    <a:pt x="236" y="45"/>
                    <a:pt x="234" y="43"/>
                  </a:cubicBezTo>
                  <a:cubicBezTo>
                    <a:pt x="234" y="43"/>
                    <a:pt x="234" y="43"/>
                    <a:pt x="234" y="43"/>
                  </a:cubicBezTo>
                  <a:cubicBezTo>
                    <a:pt x="233" y="43"/>
                    <a:pt x="232" y="43"/>
                    <a:pt x="232" y="43"/>
                  </a:cubicBezTo>
                  <a:cubicBezTo>
                    <a:pt x="232" y="43"/>
                    <a:pt x="232" y="43"/>
                    <a:pt x="232" y="43"/>
                  </a:cubicBezTo>
                  <a:cubicBezTo>
                    <a:pt x="231" y="43"/>
                    <a:pt x="228" y="45"/>
                    <a:pt x="225" y="45"/>
                  </a:cubicBezTo>
                  <a:cubicBezTo>
                    <a:pt x="225" y="44"/>
                    <a:pt x="225" y="44"/>
                    <a:pt x="225" y="44"/>
                  </a:cubicBezTo>
                  <a:cubicBezTo>
                    <a:pt x="224" y="45"/>
                    <a:pt x="220" y="44"/>
                    <a:pt x="219" y="46"/>
                  </a:cubicBezTo>
                  <a:cubicBezTo>
                    <a:pt x="215" y="47"/>
                    <a:pt x="210" y="48"/>
                    <a:pt x="205" y="48"/>
                  </a:cubicBezTo>
                  <a:cubicBezTo>
                    <a:pt x="204" y="49"/>
                    <a:pt x="204" y="49"/>
                    <a:pt x="204" y="49"/>
                  </a:cubicBezTo>
                  <a:cubicBezTo>
                    <a:pt x="213" y="48"/>
                    <a:pt x="222" y="49"/>
                    <a:pt x="230" y="46"/>
                  </a:cubicBezTo>
                  <a:cubicBezTo>
                    <a:pt x="231" y="47"/>
                    <a:pt x="232" y="46"/>
                    <a:pt x="232" y="46"/>
                  </a:cubicBezTo>
                  <a:cubicBezTo>
                    <a:pt x="233" y="47"/>
                    <a:pt x="232" y="47"/>
                    <a:pt x="231" y="47"/>
                  </a:cubicBezTo>
                  <a:cubicBezTo>
                    <a:pt x="230" y="47"/>
                    <a:pt x="230" y="47"/>
                    <a:pt x="230" y="47"/>
                  </a:cubicBezTo>
                  <a:cubicBezTo>
                    <a:pt x="230" y="49"/>
                    <a:pt x="229" y="47"/>
                    <a:pt x="228" y="48"/>
                  </a:cubicBezTo>
                  <a:cubicBezTo>
                    <a:pt x="226" y="48"/>
                    <a:pt x="224" y="49"/>
                    <a:pt x="222" y="50"/>
                  </a:cubicBezTo>
                  <a:cubicBezTo>
                    <a:pt x="231" y="49"/>
                    <a:pt x="231" y="49"/>
                    <a:pt x="231" y="49"/>
                  </a:cubicBezTo>
                  <a:cubicBezTo>
                    <a:pt x="230" y="49"/>
                    <a:pt x="229" y="51"/>
                    <a:pt x="229" y="49"/>
                  </a:cubicBezTo>
                  <a:cubicBezTo>
                    <a:pt x="224" y="51"/>
                    <a:pt x="221" y="50"/>
                    <a:pt x="217" y="53"/>
                  </a:cubicBezTo>
                  <a:cubicBezTo>
                    <a:pt x="220" y="54"/>
                    <a:pt x="223" y="53"/>
                    <a:pt x="225" y="54"/>
                  </a:cubicBezTo>
                  <a:cubicBezTo>
                    <a:pt x="226" y="53"/>
                    <a:pt x="226" y="53"/>
                    <a:pt x="226" y="53"/>
                  </a:cubicBezTo>
                  <a:cubicBezTo>
                    <a:pt x="226" y="53"/>
                    <a:pt x="226" y="53"/>
                    <a:pt x="227" y="53"/>
                  </a:cubicBezTo>
                  <a:cubicBezTo>
                    <a:pt x="230" y="54"/>
                    <a:pt x="226" y="51"/>
                    <a:pt x="229" y="51"/>
                  </a:cubicBezTo>
                  <a:cubicBezTo>
                    <a:pt x="228" y="53"/>
                    <a:pt x="228" y="53"/>
                    <a:pt x="228" y="53"/>
                  </a:cubicBezTo>
                  <a:cubicBezTo>
                    <a:pt x="233" y="53"/>
                    <a:pt x="238" y="51"/>
                    <a:pt x="243" y="51"/>
                  </a:cubicBezTo>
                  <a:cubicBezTo>
                    <a:pt x="240" y="49"/>
                    <a:pt x="239" y="51"/>
                    <a:pt x="237" y="49"/>
                  </a:cubicBezTo>
                  <a:cubicBezTo>
                    <a:pt x="241" y="48"/>
                    <a:pt x="241" y="48"/>
                    <a:pt x="241" y="48"/>
                  </a:cubicBezTo>
                  <a:cubicBezTo>
                    <a:pt x="241" y="49"/>
                    <a:pt x="240" y="49"/>
                    <a:pt x="240" y="49"/>
                  </a:cubicBezTo>
                  <a:cubicBezTo>
                    <a:pt x="241" y="49"/>
                    <a:pt x="242" y="50"/>
                    <a:pt x="243" y="50"/>
                  </a:cubicBezTo>
                  <a:cubicBezTo>
                    <a:pt x="243" y="50"/>
                    <a:pt x="243" y="49"/>
                    <a:pt x="243" y="49"/>
                  </a:cubicBezTo>
                  <a:cubicBezTo>
                    <a:pt x="243" y="49"/>
                    <a:pt x="243" y="49"/>
                    <a:pt x="243" y="49"/>
                  </a:cubicBezTo>
                  <a:cubicBezTo>
                    <a:pt x="243" y="50"/>
                    <a:pt x="243" y="50"/>
                    <a:pt x="243" y="50"/>
                  </a:cubicBezTo>
                  <a:cubicBezTo>
                    <a:pt x="244" y="51"/>
                    <a:pt x="244" y="51"/>
                    <a:pt x="245" y="50"/>
                  </a:cubicBezTo>
                  <a:cubicBezTo>
                    <a:pt x="246" y="50"/>
                    <a:pt x="245" y="49"/>
                    <a:pt x="245" y="49"/>
                  </a:cubicBezTo>
                  <a:cubicBezTo>
                    <a:pt x="246" y="47"/>
                    <a:pt x="246" y="47"/>
                    <a:pt x="246" y="47"/>
                  </a:cubicBezTo>
                  <a:cubicBezTo>
                    <a:pt x="245" y="49"/>
                    <a:pt x="245" y="49"/>
                    <a:pt x="245" y="49"/>
                  </a:cubicBezTo>
                  <a:cubicBezTo>
                    <a:pt x="246" y="49"/>
                    <a:pt x="246" y="50"/>
                    <a:pt x="247" y="49"/>
                  </a:cubicBezTo>
                  <a:cubicBezTo>
                    <a:pt x="248" y="50"/>
                    <a:pt x="248" y="50"/>
                    <a:pt x="248" y="50"/>
                  </a:cubicBezTo>
                  <a:cubicBezTo>
                    <a:pt x="249" y="48"/>
                    <a:pt x="249" y="48"/>
                    <a:pt x="249" y="48"/>
                  </a:cubicBezTo>
                  <a:cubicBezTo>
                    <a:pt x="249" y="48"/>
                    <a:pt x="248" y="48"/>
                    <a:pt x="248" y="48"/>
                  </a:cubicBezTo>
                  <a:cubicBezTo>
                    <a:pt x="249" y="47"/>
                    <a:pt x="249" y="47"/>
                    <a:pt x="249" y="47"/>
                  </a:cubicBezTo>
                  <a:cubicBezTo>
                    <a:pt x="250" y="47"/>
                    <a:pt x="250" y="48"/>
                    <a:pt x="250" y="48"/>
                  </a:cubicBezTo>
                  <a:cubicBezTo>
                    <a:pt x="249" y="48"/>
                    <a:pt x="249" y="48"/>
                    <a:pt x="249" y="49"/>
                  </a:cubicBezTo>
                  <a:cubicBezTo>
                    <a:pt x="251" y="47"/>
                    <a:pt x="254" y="51"/>
                    <a:pt x="256" y="49"/>
                  </a:cubicBezTo>
                  <a:cubicBezTo>
                    <a:pt x="256" y="49"/>
                    <a:pt x="256" y="49"/>
                    <a:pt x="256" y="49"/>
                  </a:cubicBezTo>
                  <a:cubicBezTo>
                    <a:pt x="256" y="49"/>
                    <a:pt x="256" y="49"/>
                    <a:pt x="256" y="49"/>
                  </a:cubicBezTo>
                  <a:cubicBezTo>
                    <a:pt x="246" y="50"/>
                    <a:pt x="235" y="54"/>
                    <a:pt x="224" y="55"/>
                  </a:cubicBezTo>
                  <a:cubicBezTo>
                    <a:pt x="223" y="56"/>
                    <a:pt x="223" y="56"/>
                    <a:pt x="223" y="57"/>
                  </a:cubicBezTo>
                  <a:cubicBezTo>
                    <a:pt x="225" y="57"/>
                    <a:pt x="225" y="57"/>
                    <a:pt x="225" y="57"/>
                  </a:cubicBezTo>
                  <a:cubicBezTo>
                    <a:pt x="222" y="59"/>
                    <a:pt x="222" y="56"/>
                    <a:pt x="219" y="57"/>
                  </a:cubicBezTo>
                  <a:cubicBezTo>
                    <a:pt x="217" y="58"/>
                    <a:pt x="214" y="59"/>
                    <a:pt x="212" y="60"/>
                  </a:cubicBezTo>
                  <a:cubicBezTo>
                    <a:pt x="212" y="61"/>
                    <a:pt x="212" y="61"/>
                    <a:pt x="212" y="61"/>
                  </a:cubicBezTo>
                  <a:cubicBezTo>
                    <a:pt x="216" y="61"/>
                    <a:pt x="219" y="59"/>
                    <a:pt x="223" y="60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15" y="64"/>
                    <a:pt x="219" y="63"/>
                    <a:pt x="219" y="63"/>
                  </a:cubicBezTo>
                  <a:cubicBezTo>
                    <a:pt x="219" y="64"/>
                    <a:pt x="219" y="64"/>
                    <a:pt x="219" y="64"/>
                  </a:cubicBezTo>
                  <a:cubicBezTo>
                    <a:pt x="220" y="65"/>
                    <a:pt x="221" y="64"/>
                    <a:pt x="222" y="64"/>
                  </a:cubicBezTo>
                  <a:cubicBezTo>
                    <a:pt x="223" y="65"/>
                    <a:pt x="225" y="65"/>
                    <a:pt x="227" y="65"/>
                  </a:cubicBezTo>
                  <a:cubicBezTo>
                    <a:pt x="237" y="65"/>
                    <a:pt x="248" y="63"/>
                    <a:pt x="258" y="62"/>
                  </a:cubicBezTo>
                  <a:cubicBezTo>
                    <a:pt x="257" y="63"/>
                    <a:pt x="257" y="63"/>
                    <a:pt x="257" y="63"/>
                  </a:cubicBezTo>
                  <a:cubicBezTo>
                    <a:pt x="252" y="65"/>
                    <a:pt x="246" y="65"/>
                    <a:pt x="242" y="66"/>
                  </a:cubicBezTo>
                  <a:cubicBezTo>
                    <a:pt x="245" y="66"/>
                    <a:pt x="249" y="67"/>
                    <a:pt x="252" y="67"/>
                  </a:cubicBezTo>
                  <a:cubicBezTo>
                    <a:pt x="254" y="68"/>
                    <a:pt x="260" y="66"/>
                    <a:pt x="263" y="67"/>
                  </a:cubicBezTo>
                  <a:cubicBezTo>
                    <a:pt x="264" y="64"/>
                    <a:pt x="268" y="65"/>
                    <a:pt x="270" y="63"/>
                  </a:cubicBezTo>
                  <a:cubicBezTo>
                    <a:pt x="271" y="64"/>
                    <a:pt x="272" y="62"/>
                    <a:pt x="272" y="62"/>
                  </a:cubicBezTo>
                  <a:cubicBezTo>
                    <a:pt x="271" y="61"/>
                    <a:pt x="271" y="61"/>
                    <a:pt x="271" y="61"/>
                  </a:cubicBezTo>
                  <a:cubicBezTo>
                    <a:pt x="273" y="60"/>
                    <a:pt x="273" y="60"/>
                    <a:pt x="273" y="60"/>
                  </a:cubicBezTo>
                  <a:cubicBezTo>
                    <a:pt x="272" y="60"/>
                    <a:pt x="273" y="58"/>
                    <a:pt x="271" y="58"/>
                  </a:cubicBezTo>
                  <a:cubicBezTo>
                    <a:pt x="271" y="58"/>
                    <a:pt x="271" y="58"/>
                    <a:pt x="271" y="59"/>
                  </a:cubicBezTo>
                  <a:cubicBezTo>
                    <a:pt x="270" y="59"/>
                    <a:pt x="270" y="59"/>
                    <a:pt x="270" y="59"/>
                  </a:cubicBezTo>
                  <a:cubicBezTo>
                    <a:pt x="271" y="58"/>
                    <a:pt x="271" y="57"/>
                    <a:pt x="272" y="57"/>
                  </a:cubicBezTo>
                  <a:cubicBezTo>
                    <a:pt x="273" y="57"/>
                    <a:pt x="273" y="57"/>
                    <a:pt x="273" y="57"/>
                  </a:cubicBezTo>
                  <a:cubicBezTo>
                    <a:pt x="273" y="56"/>
                    <a:pt x="272" y="56"/>
                    <a:pt x="271" y="56"/>
                  </a:cubicBezTo>
                  <a:cubicBezTo>
                    <a:pt x="271" y="56"/>
                    <a:pt x="271" y="56"/>
                    <a:pt x="271" y="56"/>
                  </a:cubicBezTo>
                  <a:cubicBezTo>
                    <a:pt x="270" y="56"/>
                    <a:pt x="270" y="56"/>
                    <a:pt x="270" y="56"/>
                  </a:cubicBezTo>
                  <a:cubicBezTo>
                    <a:pt x="271" y="53"/>
                    <a:pt x="274" y="57"/>
                    <a:pt x="275" y="54"/>
                  </a:cubicBezTo>
                  <a:cubicBezTo>
                    <a:pt x="275" y="54"/>
                    <a:pt x="275" y="54"/>
                    <a:pt x="276" y="54"/>
                  </a:cubicBezTo>
                  <a:cubicBezTo>
                    <a:pt x="276" y="54"/>
                    <a:pt x="276" y="54"/>
                    <a:pt x="276" y="54"/>
                  </a:cubicBezTo>
                  <a:cubicBezTo>
                    <a:pt x="275" y="52"/>
                    <a:pt x="274" y="51"/>
                    <a:pt x="271" y="52"/>
                  </a:cubicBezTo>
                  <a:cubicBezTo>
                    <a:pt x="272" y="50"/>
                    <a:pt x="276" y="51"/>
                    <a:pt x="275" y="48"/>
                  </a:cubicBezTo>
                  <a:cubicBezTo>
                    <a:pt x="275" y="50"/>
                    <a:pt x="272" y="48"/>
                    <a:pt x="271" y="50"/>
                  </a:cubicBezTo>
                  <a:cubicBezTo>
                    <a:pt x="271" y="48"/>
                    <a:pt x="270" y="51"/>
                    <a:pt x="269" y="49"/>
                  </a:cubicBezTo>
                  <a:cubicBezTo>
                    <a:pt x="270" y="49"/>
                    <a:pt x="270" y="49"/>
                    <a:pt x="270" y="48"/>
                  </a:cubicBezTo>
                  <a:cubicBezTo>
                    <a:pt x="270" y="48"/>
                    <a:pt x="269" y="48"/>
                    <a:pt x="269" y="48"/>
                  </a:cubicBezTo>
                  <a:cubicBezTo>
                    <a:pt x="269" y="50"/>
                    <a:pt x="267" y="48"/>
                    <a:pt x="266" y="50"/>
                  </a:cubicBezTo>
                  <a:cubicBezTo>
                    <a:pt x="266" y="50"/>
                    <a:pt x="264" y="50"/>
                    <a:pt x="263" y="50"/>
                  </a:cubicBezTo>
                  <a:cubicBezTo>
                    <a:pt x="263" y="49"/>
                    <a:pt x="265" y="49"/>
                    <a:pt x="265" y="47"/>
                  </a:cubicBezTo>
                  <a:cubicBezTo>
                    <a:pt x="264" y="48"/>
                    <a:pt x="264" y="48"/>
                    <a:pt x="264" y="48"/>
                  </a:cubicBezTo>
                  <a:cubicBezTo>
                    <a:pt x="265" y="45"/>
                    <a:pt x="267" y="48"/>
                    <a:pt x="269" y="46"/>
                  </a:cubicBezTo>
                  <a:cubicBezTo>
                    <a:pt x="268" y="45"/>
                    <a:pt x="267" y="46"/>
                    <a:pt x="266" y="46"/>
                  </a:cubicBezTo>
                  <a:cubicBezTo>
                    <a:pt x="267" y="45"/>
                    <a:pt x="268" y="45"/>
                    <a:pt x="269" y="45"/>
                  </a:cubicBezTo>
                  <a:cubicBezTo>
                    <a:pt x="269" y="46"/>
                    <a:pt x="269" y="46"/>
                    <a:pt x="269" y="46"/>
                  </a:cubicBezTo>
                  <a:cubicBezTo>
                    <a:pt x="270" y="47"/>
                    <a:pt x="270" y="46"/>
                    <a:pt x="271" y="46"/>
                  </a:cubicBezTo>
                  <a:cubicBezTo>
                    <a:pt x="271" y="45"/>
                    <a:pt x="271" y="45"/>
                    <a:pt x="271" y="45"/>
                  </a:cubicBezTo>
                  <a:cubicBezTo>
                    <a:pt x="273" y="44"/>
                    <a:pt x="272" y="46"/>
                    <a:pt x="273" y="47"/>
                  </a:cubicBezTo>
                  <a:cubicBezTo>
                    <a:pt x="273" y="45"/>
                    <a:pt x="275" y="46"/>
                    <a:pt x="275" y="44"/>
                  </a:cubicBezTo>
                  <a:cubicBezTo>
                    <a:pt x="274" y="43"/>
                    <a:pt x="273" y="44"/>
                    <a:pt x="273" y="44"/>
                  </a:cubicBezTo>
                  <a:cubicBezTo>
                    <a:pt x="273" y="43"/>
                    <a:pt x="273" y="43"/>
                    <a:pt x="273" y="43"/>
                  </a:cubicBezTo>
                  <a:cubicBezTo>
                    <a:pt x="278" y="42"/>
                    <a:pt x="283" y="43"/>
                    <a:pt x="288" y="41"/>
                  </a:cubicBezTo>
                  <a:cubicBezTo>
                    <a:pt x="288" y="40"/>
                    <a:pt x="288" y="40"/>
                    <a:pt x="288" y="40"/>
                  </a:cubicBezTo>
                  <a:cubicBezTo>
                    <a:pt x="290" y="42"/>
                    <a:pt x="293" y="40"/>
                    <a:pt x="294" y="41"/>
                  </a:cubicBezTo>
                  <a:cubicBezTo>
                    <a:pt x="294" y="42"/>
                    <a:pt x="294" y="42"/>
                    <a:pt x="294" y="42"/>
                  </a:cubicBezTo>
                  <a:cubicBezTo>
                    <a:pt x="295" y="42"/>
                    <a:pt x="296" y="42"/>
                    <a:pt x="297" y="42"/>
                  </a:cubicBezTo>
                  <a:cubicBezTo>
                    <a:pt x="297" y="41"/>
                    <a:pt x="297" y="41"/>
                    <a:pt x="297" y="40"/>
                  </a:cubicBezTo>
                  <a:cubicBezTo>
                    <a:pt x="296" y="39"/>
                    <a:pt x="296" y="41"/>
                    <a:pt x="295" y="41"/>
                  </a:cubicBezTo>
                  <a:cubicBezTo>
                    <a:pt x="296" y="41"/>
                    <a:pt x="296" y="39"/>
                    <a:pt x="297" y="40"/>
                  </a:cubicBezTo>
                  <a:cubicBezTo>
                    <a:pt x="297" y="40"/>
                    <a:pt x="297" y="40"/>
                    <a:pt x="297" y="40"/>
                  </a:cubicBezTo>
                  <a:cubicBezTo>
                    <a:pt x="298" y="40"/>
                    <a:pt x="298" y="41"/>
                    <a:pt x="299" y="41"/>
                  </a:cubicBezTo>
                  <a:cubicBezTo>
                    <a:pt x="308" y="41"/>
                    <a:pt x="308" y="41"/>
                    <a:pt x="308" y="41"/>
                  </a:cubicBezTo>
                  <a:cubicBezTo>
                    <a:pt x="308" y="41"/>
                    <a:pt x="308" y="41"/>
                    <a:pt x="308" y="41"/>
                  </a:cubicBezTo>
                  <a:cubicBezTo>
                    <a:pt x="319" y="40"/>
                    <a:pt x="329" y="40"/>
                    <a:pt x="339" y="38"/>
                  </a:cubicBezTo>
                  <a:cubicBezTo>
                    <a:pt x="340" y="39"/>
                    <a:pt x="340" y="39"/>
                    <a:pt x="340" y="39"/>
                  </a:cubicBezTo>
                  <a:cubicBezTo>
                    <a:pt x="349" y="37"/>
                    <a:pt x="361" y="38"/>
                    <a:pt x="371" y="35"/>
                  </a:cubicBezTo>
                  <a:cubicBezTo>
                    <a:pt x="370" y="34"/>
                    <a:pt x="370" y="34"/>
                    <a:pt x="370" y="34"/>
                  </a:cubicBezTo>
                  <a:cubicBezTo>
                    <a:pt x="371" y="34"/>
                    <a:pt x="371" y="34"/>
                    <a:pt x="371" y="34"/>
                  </a:cubicBezTo>
                  <a:cubicBezTo>
                    <a:pt x="371" y="35"/>
                    <a:pt x="372" y="35"/>
                    <a:pt x="373" y="35"/>
                  </a:cubicBezTo>
                  <a:cubicBezTo>
                    <a:pt x="373" y="36"/>
                    <a:pt x="371" y="35"/>
                    <a:pt x="370" y="37"/>
                  </a:cubicBezTo>
                  <a:cubicBezTo>
                    <a:pt x="371" y="38"/>
                    <a:pt x="373" y="38"/>
                    <a:pt x="374" y="37"/>
                  </a:cubicBezTo>
                  <a:cubicBezTo>
                    <a:pt x="375" y="37"/>
                    <a:pt x="374" y="38"/>
                    <a:pt x="374" y="38"/>
                  </a:cubicBezTo>
                  <a:cubicBezTo>
                    <a:pt x="376" y="38"/>
                    <a:pt x="378" y="38"/>
                    <a:pt x="380" y="37"/>
                  </a:cubicBezTo>
                  <a:cubicBezTo>
                    <a:pt x="380" y="38"/>
                    <a:pt x="380" y="38"/>
                    <a:pt x="380" y="38"/>
                  </a:cubicBezTo>
                  <a:cubicBezTo>
                    <a:pt x="385" y="38"/>
                    <a:pt x="390" y="35"/>
                    <a:pt x="394" y="37"/>
                  </a:cubicBezTo>
                  <a:cubicBezTo>
                    <a:pt x="395" y="34"/>
                    <a:pt x="396" y="38"/>
                    <a:pt x="397" y="36"/>
                  </a:cubicBezTo>
                  <a:cubicBezTo>
                    <a:pt x="397" y="35"/>
                    <a:pt x="398" y="36"/>
                    <a:pt x="398" y="36"/>
                  </a:cubicBezTo>
                  <a:cubicBezTo>
                    <a:pt x="398" y="35"/>
                    <a:pt x="398" y="35"/>
                    <a:pt x="398" y="35"/>
                  </a:cubicBezTo>
                  <a:cubicBezTo>
                    <a:pt x="398" y="35"/>
                    <a:pt x="400" y="35"/>
                    <a:pt x="401" y="34"/>
                  </a:cubicBezTo>
                  <a:cubicBezTo>
                    <a:pt x="403" y="35"/>
                    <a:pt x="404" y="33"/>
                    <a:pt x="407" y="33"/>
                  </a:cubicBezTo>
                  <a:cubicBezTo>
                    <a:pt x="407" y="35"/>
                    <a:pt x="407" y="35"/>
                    <a:pt x="407" y="35"/>
                  </a:cubicBezTo>
                  <a:cubicBezTo>
                    <a:pt x="406" y="34"/>
                    <a:pt x="406" y="34"/>
                    <a:pt x="406" y="34"/>
                  </a:cubicBezTo>
                  <a:cubicBezTo>
                    <a:pt x="406" y="36"/>
                    <a:pt x="404" y="37"/>
                    <a:pt x="406" y="39"/>
                  </a:cubicBezTo>
                  <a:cubicBezTo>
                    <a:pt x="408" y="39"/>
                    <a:pt x="406" y="36"/>
                    <a:pt x="408" y="36"/>
                  </a:cubicBezTo>
                  <a:cubicBezTo>
                    <a:pt x="408" y="37"/>
                    <a:pt x="408" y="38"/>
                    <a:pt x="409" y="38"/>
                  </a:cubicBezTo>
                  <a:cubicBezTo>
                    <a:pt x="410" y="38"/>
                    <a:pt x="409" y="37"/>
                    <a:pt x="410" y="37"/>
                  </a:cubicBezTo>
                  <a:cubicBezTo>
                    <a:pt x="410" y="36"/>
                    <a:pt x="409" y="37"/>
                    <a:pt x="409" y="37"/>
                  </a:cubicBezTo>
                  <a:cubicBezTo>
                    <a:pt x="411" y="36"/>
                    <a:pt x="411" y="36"/>
                    <a:pt x="411" y="36"/>
                  </a:cubicBezTo>
                  <a:cubicBezTo>
                    <a:pt x="410" y="37"/>
                    <a:pt x="410" y="37"/>
                    <a:pt x="410" y="37"/>
                  </a:cubicBezTo>
                  <a:cubicBezTo>
                    <a:pt x="411" y="38"/>
                    <a:pt x="413" y="38"/>
                    <a:pt x="414" y="37"/>
                  </a:cubicBezTo>
                  <a:cubicBezTo>
                    <a:pt x="415" y="37"/>
                    <a:pt x="413" y="38"/>
                    <a:pt x="412" y="38"/>
                  </a:cubicBezTo>
                  <a:cubicBezTo>
                    <a:pt x="409" y="40"/>
                    <a:pt x="406" y="37"/>
                    <a:pt x="404" y="41"/>
                  </a:cubicBezTo>
                  <a:cubicBezTo>
                    <a:pt x="406" y="42"/>
                    <a:pt x="411" y="40"/>
                    <a:pt x="412" y="42"/>
                  </a:cubicBezTo>
                  <a:cubicBezTo>
                    <a:pt x="411" y="43"/>
                    <a:pt x="408" y="43"/>
                    <a:pt x="408" y="44"/>
                  </a:cubicBezTo>
                  <a:cubicBezTo>
                    <a:pt x="408" y="44"/>
                    <a:pt x="408" y="43"/>
                    <a:pt x="407" y="43"/>
                  </a:cubicBezTo>
                  <a:cubicBezTo>
                    <a:pt x="405" y="43"/>
                    <a:pt x="406" y="45"/>
                    <a:pt x="405" y="45"/>
                  </a:cubicBezTo>
                  <a:cubicBezTo>
                    <a:pt x="404" y="45"/>
                    <a:pt x="404" y="45"/>
                    <a:pt x="404" y="45"/>
                  </a:cubicBezTo>
                  <a:cubicBezTo>
                    <a:pt x="405" y="47"/>
                    <a:pt x="402" y="46"/>
                    <a:pt x="402" y="47"/>
                  </a:cubicBezTo>
                  <a:cubicBezTo>
                    <a:pt x="401" y="47"/>
                    <a:pt x="401" y="47"/>
                    <a:pt x="401" y="47"/>
                  </a:cubicBezTo>
                  <a:cubicBezTo>
                    <a:pt x="399" y="48"/>
                    <a:pt x="395" y="48"/>
                    <a:pt x="393" y="49"/>
                  </a:cubicBezTo>
                  <a:cubicBezTo>
                    <a:pt x="400" y="49"/>
                    <a:pt x="400" y="49"/>
                    <a:pt x="400" y="49"/>
                  </a:cubicBezTo>
                  <a:cubicBezTo>
                    <a:pt x="394" y="50"/>
                    <a:pt x="388" y="50"/>
                    <a:pt x="383" y="53"/>
                  </a:cubicBezTo>
                  <a:cubicBezTo>
                    <a:pt x="385" y="51"/>
                    <a:pt x="385" y="51"/>
                    <a:pt x="385" y="51"/>
                  </a:cubicBezTo>
                  <a:cubicBezTo>
                    <a:pt x="383" y="52"/>
                    <a:pt x="379" y="51"/>
                    <a:pt x="377" y="53"/>
                  </a:cubicBezTo>
                  <a:cubicBezTo>
                    <a:pt x="378" y="53"/>
                    <a:pt x="380" y="50"/>
                    <a:pt x="381" y="51"/>
                  </a:cubicBezTo>
                  <a:cubicBezTo>
                    <a:pt x="384" y="52"/>
                    <a:pt x="385" y="47"/>
                    <a:pt x="387" y="49"/>
                  </a:cubicBezTo>
                  <a:cubicBezTo>
                    <a:pt x="391" y="47"/>
                    <a:pt x="395" y="48"/>
                    <a:pt x="398" y="45"/>
                  </a:cubicBezTo>
                  <a:cubicBezTo>
                    <a:pt x="390" y="46"/>
                    <a:pt x="390" y="46"/>
                    <a:pt x="390" y="46"/>
                  </a:cubicBezTo>
                  <a:cubicBezTo>
                    <a:pt x="390" y="45"/>
                    <a:pt x="390" y="45"/>
                    <a:pt x="390" y="45"/>
                  </a:cubicBezTo>
                  <a:cubicBezTo>
                    <a:pt x="389" y="45"/>
                    <a:pt x="387" y="45"/>
                    <a:pt x="386" y="46"/>
                  </a:cubicBezTo>
                  <a:cubicBezTo>
                    <a:pt x="391" y="47"/>
                    <a:pt x="391" y="47"/>
                    <a:pt x="391" y="47"/>
                  </a:cubicBezTo>
                  <a:cubicBezTo>
                    <a:pt x="390" y="48"/>
                    <a:pt x="389" y="47"/>
                    <a:pt x="388" y="48"/>
                  </a:cubicBezTo>
                  <a:cubicBezTo>
                    <a:pt x="388" y="47"/>
                    <a:pt x="387" y="47"/>
                    <a:pt x="387" y="47"/>
                  </a:cubicBezTo>
                  <a:cubicBezTo>
                    <a:pt x="386" y="48"/>
                    <a:pt x="386" y="48"/>
                    <a:pt x="386" y="48"/>
                  </a:cubicBezTo>
                  <a:cubicBezTo>
                    <a:pt x="386" y="47"/>
                    <a:pt x="386" y="47"/>
                    <a:pt x="386" y="47"/>
                  </a:cubicBezTo>
                  <a:cubicBezTo>
                    <a:pt x="385" y="49"/>
                    <a:pt x="382" y="48"/>
                    <a:pt x="381" y="49"/>
                  </a:cubicBezTo>
                  <a:cubicBezTo>
                    <a:pt x="380" y="50"/>
                    <a:pt x="377" y="47"/>
                    <a:pt x="377" y="50"/>
                  </a:cubicBezTo>
                  <a:cubicBezTo>
                    <a:pt x="376" y="51"/>
                    <a:pt x="376" y="51"/>
                    <a:pt x="376" y="51"/>
                  </a:cubicBezTo>
                  <a:cubicBezTo>
                    <a:pt x="375" y="49"/>
                    <a:pt x="375" y="49"/>
                    <a:pt x="375" y="49"/>
                  </a:cubicBezTo>
                  <a:cubicBezTo>
                    <a:pt x="365" y="51"/>
                    <a:pt x="365" y="51"/>
                    <a:pt x="365" y="51"/>
                  </a:cubicBezTo>
                  <a:cubicBezTo>
                    <a:pt x="366" y="51"/>
                    <a:pt x="366" y="51"/>
                    <a:pt x="366" y="51"/>
                  </a:cubicBezTo>
                  <a:cubicBezTo>
                    <a:pt x="360" y="51"/>
                    <a:pt x="357" y="53"/>
                    <a:pt x="351" y="55"/>
                  </a:cubicBezTo>
                  <a:cubicBezTo>
                    <a:pt x="350" y="55"/>
                    <a:pt x="349" y="54"/>
                    <a:pt x="348" y="54"/>
                  </a:cubicBezTo>
                  <a:cubicBezTo>
                    <a:pt x="347" y="55"/>
                    <a:pt x="347" y="55"/>
                    <a:pt x="347" y="55"/>
                  </a:cubicBezTo>
                  <a:cubicBezTo>
                    <a:pt x="343" y="55"/>
                    <a:pt x="341" y="55"/>
                    <a:pt x="335" y="55"/>
                  </a:cubicBezTo>
                  <a:cubicBezTo>
                    <a:pt x="341" y="54"/>
                    <a:pt x="341" y="54"/>
                    <a:pt x="341" y="54"/>
                  </a:cubicBezTo>
                  <a:cubicBezTo>
                    <a:pt x="341" y="54"/>
                    <a:pt x="341" y="54"/>
                    <a:pt x="341" y="54"/>
                  </a:cubicBezTo>
                  <a:cubicBezTo>
                    <a:pt x="342" y="53"/>
                    <a:pt x="342" y="53"/>
                    <a:pt x="342" y="53"/>
                  </a:cubicBezTo>
                  <a:cubicBezTo>
                    <a:pt x="341" y="55"/>
                    <a:pt x="341" y="55"/>
                    <a:pt x="341" y="55"/>
                  </a:cubicBezTo>
                  <a:cubicBezTo>
                    <a:pt x="342" y="55"/>
                    <a:pt x="343" y="55"/>
                    <a:pt x="343" y="55"/>
                  </a:cubicBezTo>
                  <a:cubicBezTo>
                    <a:pt x="344" y="55"/>
                    <a:pt x="344" y="54"/>
                    <a:pt x="344" y="54"/>
                  </a:cubicBezTo>
                  <a:cubicBezTo>
                    <a:pt x="345" y="55"/>
                    <a:pt x="345" y="55"/>
                    <a:pt x="345" y="55"/>
                  </a:cubicBezTo>
                  <a:cubicBezTo>
                    <a:pt x="345" y="54"/>
                    <a:pt x="345" y="53"/>
                    <a:pt x="347" y="53"/>
                  </a:cubicBezTo>
                  <a:cubicBezTo>
                    <a:pt x="347" y="53"/>
                    <a:pt x="347" y="53"/>
                    <a:pt x="346" y="54"/>
                  </a:cubicBezTo>
                  <a:cubicBezTo>
                    <a:pt x="347" y="54"/>
                    <a:pt x="347" y="54"/>
                    <a:pt x="347" y="54"/>
                  </a:cubicBezTo>
                  <a:cubicBezTo>
                    <a:pt x="349" y="53"/>
                    <a:pt x="352" y="54"/>
                    <a:pt x="355" y="52"/>
                  </a:cubicBezTo>
                  <a:cubicBezTo>
                    <a:pt x="362" y="50"/>
                    <a:pt x="362" y="50"/>
                    <a:pt x="362" y="50"/>
                  </a:cubicBezTo>
                  <a:cubicBezTo>
                    <a:pt x="362" y="49"/>
                    <a:pt x="363" y="49"/>
                    <a:pt x="364" y="49"/>
                  </a:cubicBezTo>
                  <a:cubicBezTo>
                    <a:pt x="364" y="49"/>
                    <a:pt x="364" y="49"/>
                    <a:pt x="364" y="49"/>
                  </a:cubicBezTo>
                  <a:cubicBezTo>
                    <a:pt x="369" y="48"/>
                    <a:pt x="375" y="47"/>
                    <a:pt x="380" y="46"/>
                  </a:cubicBezTo>
                  <a:cubicBezTo>
                    <a:pt x="380" y="46"/>
                    <a:pt x="380" y="46"/>
                    <a:pt x="380" y="46"/>
                  </a:cubicBezTo>
                  <a:cubicBezTo>
                    <a:pt x="379" y="44"/>
                    <a:pt x="379" y="44"/>
                    <a:pt x="379" y="44"/>
                  </a:cubicBezTo>
                  <a:cubicBezTo>
                    <a:pt x="379" y="45"/>
                    <a:pt x="378" y="45"/>
                    <a:pt x="378" y="45"/>
                  </a:cubicBezTo>
                  <a:cubicBezTo>
                    <a:pt x="377" y="44"/>
                    <a:pt x="377" y="44"/>
                    <a:pt x="377" y="44"/>
                  </a:cubicBezTo>
                  <a:cubicBezTo>
                    <a:pt x="379" y="43"/>
                    <a:pt x="379" y="43"/>
                    <a:pt x="379" y="43"/>
                  </a:cubicBezTo>
                  <a:cubicBezTo>
                    <a:pt x="377" y="42"/>
                    <a:pt x="375" y="44"/>
                    <a:pt x="375" y="46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3" y="44"/>
                    <a:pt x="372" y="45"/>
                    <a:pt x="371" y="46"/>
                  </a:cubicBezTo>
                  <a:cubicBezTo>
                    <a:pt x="371" y="47"/>
                    <a:pt x="371" y="47"/>
                    <a:pt x="371" y="47"/>
                  </a:cubicBezTo>
                  <a:cubicBezTo>
                    <a:pt x="370" y="46"/>
                    <a:pt x="370" y="46"/>
                    <a:pt x="369" y="45"/>
                  </a:cubicBezTo>
                  <a:cubicBezTo>
                    <a:pt x="362" y="47"/>
                    <a:pt x="362" y="47"/>
                    <a:pt x="362" y="47"/>
                  </a:cubicBezTo>
                  <a:cubicBezTo>
                    <a:pt x="362" y="47"/>
                    <a:pt x="362" y="47"/>
                    <a:pt x="362" y="47"/>
                  </a:cubicBezTo>
                  <a:cubicBezTo>
                    <a:pt x="362" y="46"/>
                    <a:pt x="361" y="47"/>
                    <a:pt x="361" y="46"/>
                  </a:cubicBezTo>
                  <a:cubicBezTo>
                    <a:pt x="361" y="47"/>
                    <a:pt x="360" y="48"/>
                    <a:pt x="359" y="48"/>
                  </a:cubicBezTo>
                  <a:cubicBezTo>
                    <a:pt x="359" y="47"/>
                    <a:pt x="359" y="47"/>
                    <a:pt x="359" y="47"/>
                  </a:cubicBezTo>
                  <a:cubicBezTo>
                    <a:pt x="358" y="47"/>
                    <a:pt x="358" y="49"/>
                    <a:pt x="356" y="49"/>
                  </a:cubicBezTo>
                  <a:cubicBezTo>
                    <a:pt x="357" y="48"/>
                    <a:pt x="357" y="48"/>
                    <a:pt x="357" y="48"/>
                  </a:cubicBezTo>
                  <a:cubicBezTo>
                    <a:pt x="356" y="47"/>
                    <a:pt x="353" y="47"/>
                    <a:pt x="352" y="48"/>
                  </a:cubicBezTo>
                  <a:cubicBezTo>
                    <a:pt x="352" y="49"/>
                    <a:pt x="352" y="49"/>
                    <a:pt x="352" y="49"/>
                  </a:cubicBezTo>
                  <a:cubicBezTo>
                    <a:pt x="352" y="48"/>
                    <a:pt x="351" y="48"/>
                    <a:pt x="351" y="48"/>
                  </a:cubicBezTo>
                  <a:cubicBezTo>
                    <a:pt x="347" y="49"/>
                    <a:pt x="342" y="49"/>
                    <a:pt x="338" y="50"/>
                  </a:cubicBezTo>
                  <a:cubicBezTo>
                    <a:pt x="336" y="50"/>
                    <a:pt x="333" y="50"/>
                    <a:pt x="331" y="51"/>
                  </a:cubicBezTo>
                  <a:cubicBezTo>
                    <a:pt x="332" y="52"/>
                    <a:pt x="332" y="52"/>
                    <a:pt x="332" y="52"/>
                  </a:cubicBezTo>
                  <a:cubicBezTo>
                    <a:pt x="331" y="51"/>
                    <a:pt x="331" y="51"/>
                    <a:pt x="331" y="51"/>
                  </a:cubicBezTo>
                  <a:cubicBezTo>
                    <a:pt x="330" y="52"/>
                    <a:pt x="330" y="53"/>
                    <a:pt x="331" y="53"/>
                  </a:cubicBezTo>
                  <a:cubicBezTo>
                    <a:pt x="331" y="54"/>
                    <a:pt x="332" y="53"/>
                    <a:pt x="333" y="53"/>
                  </a:cubicBezTo>
                  <a:cubicBezTo>
                    <a:pt x="333" y="54"/>
                    <a:pt x="331" y="54"/>
                    <a:pt x="331" y="55"/>
                  </a:cubicBezTo>
                  <a:cubicBezTo>
                    <a:pt x="330" y="54"/>
                    <a:pt x="330" y="54"/>
                    <a:pt x="330" y="54"/>
                  </a:cubicBezTo>
                  <a:cubicBezTo>
                    <a:pt x="330" y="56"/>
                    <a:pt x="327" y="55"/>
                    <a:pt x="328" y="57"/>
                  </a:cubicBezTo>
                  <a:cubicBezTo>
                    <a:pt x="327" y="56"/>
                    <a:pt x="327" y="56"/>
                    <a:pt x="327" y="56"/>
                  </a:cubicBezTo>
                  <a:cubicBezTo>
                    <a:pt x="327" y="56"/>
                    <a:pt x="328" y="56"/>
                    <a:pt x="328" y="56"/>
                  </a:cubicBezTo>
                  <a:cubicBezTo>
                    <a:pt x="328" y="55"/>
                    <a:pt x="327" y="55"/>
                    <a:pt x="326" y="55"/>
                  </a:cubicBezTo>
                  <a:cubicBezTo>
                    <a:pt x="326" y="55"/>
                    <a:pt x="326" y="55"/>
                    <a:pt x="326" y="55"/>
                  </a:cubicBezTo>
                  <a:cubicBezTo>
                    <a:pt x="328" y="55"/>
                    <a:pt x="329" y="53"/>
                    <a:pt x="330" y="52"/>
                  </a:cubicBezTo>
                  <a:cubicBezTo>
                    <a:pt x="330" y="52"/>
                    <a:pt x="327" y="53"/>
                    <a:pt x="326" y="51"/>
                  </a:cubicBezTo>
                  <a:cubicBezTo>
                    <a:pt x="325" y="52"/>
                    <a:pt x="325" y="52"/>
                    <a:pt x="325" y="52"/>
                  </a:cubicBezTo>
                  <a:cubicBezTo>
                    <a:pt x="326" y="53"/>
                    <a:pt x="326" y="53"/>
                    <a:pt x="327" y="53"/>
                  </a:cubicBezTo>
                  <a:cubicBezTo>
                    <a:pt x="327" y="53"/>
                    <a:pt x="327" y="53"/>
                    <a:pt x="327" y="53"/>
                  </a:cubicBezTo>
                  <a:cubicBezTo>
                    <a:pt x="326" y="53"/>
                    <a:pt x="325" y="52"/>
                    <a:pt x="324" y="52"/>
                  </a:cubicBezTo>
                  <a:cubicBezTo>
                    <a:pt x="323" y="54"/>
                    <a:pt x="322" y="52"/>
                    <a:pt x="320" y="53"/>
                  </a:cubicBezTo>
                  <a:cubicBezTo>
                    <a:pt x="321" y="51"/>
                    <a:pt x="324" y="53"/>
                    <a:pt x="325" y="51"/>
                  </a:cubicBezTo>
                  <a:cubicBezTo>
                    <a:pt x="322" y="51"/>
                    <a:pt x="318" y="52"/>
                    <a:pt x="314" y="52"/>
                  </a:cubicBezTo>
                  <a:cubicBezTo>
                    <a:pt x="314" y="52"/>
                    <a:pt x="313" y="53"/>
                    <a:pt x="313" y="53"/>
                  </a:cubicBezTo>
                  <a:cubicBezTo>
                    <a:pt x="312" y="51"/>
                    <a:pt x="311" y="53"/>
                    <a:pt x="311" y="52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312" y="52"/>
                    <a:pt x="313" y="50"/>
                    <a:pt x="314" y="52"/>
                  </a:cubicBezTo>
                  <a:cubicBezTo>
                    <a:pt x="318" y="49"/>
                    <a:pt x="328" y="52"/>
                    <a:pt x="333" y="48"/>
                  </a:cubicBezTo>
                  <a:cubicBezTo>
                    <a:pt x="332" y="49"/>
                    <a:pt x="333" y="49"/>
                    <a:pt x="333" y="49"/>
                  </a:cubicBezTo>
                  <a:cubicBezTo>
                    <a:pt x="343" y="48"/>
                    <a:pt x="343" y="48"/>
                    <a:pt x="343" y="48"/>
                  </a:cubicBezTo>
                  <a:cubicBezTo>
                    <a:pt x="343" y="47"/>
                    <a:pt x="343" y="47"/>
                    <a:pt x="343" y="47"/>
                  </a:cubicBezTo>
                  <a:cubicBezTo>
                    <a:pt x="344" y="47"/>
                    <a:pt x="344" y="47"/>
                    <a:pt x="344" y="47"/>
                  </a:cubicBezTo>
                  <a:cubicBezTo>
                    <a:pt x="344" y="48"/>
                    <a:pt x="344" y="48"/>
                    <a:pt x="344" y="48"/>
                  </a:cubicBezTo>
                  <a:cubicBezTo>
                    <a:pt x="346" y="47"/>
                    <a:pt x="350" y="48"/>
                    <a:pt x="352" y="47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55" y="47"/>
                    <a:pt x="358" y="46"/>
                    <a:pt x="360" y="46"/>
                  </a:cubicBezTo>
                  <a:cubicBezTo>
                    <a:pt x="360" y="45"/>
                    <a:pt x="360" y="45"/>
                    <a:pt x="361" y="45"/>
                  </a:cubicBezTo>
                  <a:cubicBezTo>
                    <a:pt x="361" y="45"/>
                    <a:pt x="361" y="45"/>
                    <a:pt x="361" y="45"/>
                  </a:cubicBezTo>
                  <a:cubicBezTo>
                    <a:pt x="362" y="45"/>
                    <a:pt x="361" y="45"/>
                    <a:pt x="361" y="46"/>
                  </a:cubicBezTo>
                  <a:cubicBezTo>
                    <a:pt x="362" y="46"/>
                    <a:pt x="364" y="45"/>
                    <a:pt x="365" y="45"/>
                  </a:cubicBezTo>
                  <a:cubicBezTo>
                    <a:pt x="365" y="45"/>
                    <a:pt x="365" y="45"/>
                    <a:pt x="365" y="45"/>
                  </a:cubicBezTo>
                  <a:cubicBezTo>
                    <a:pt x="370" y="45"/>
                    <a:pt x="375" y="42"/>
                    <a:pt x="380" y="43"/>
                  </a:cubicBezTo>
                  <a:cubicBezTo>
                    <a:pt x="380" y="43"/>
                    <a:pt x="379" y="43"/>
                    <a:pt x="379" y="44"/>
                  </a:cubicBezTo>
                  <a:cubicBezTo>
                    <a:pt x="381" y="45"/>
                    <a:pt x="380" y="43"/>
                    <a:pt x="381" y="43"/>
                  </a:cubicBezTo>
                  <a:cubicBezTo>
                    <a:pt x="381" y="42"/>
                    <a:pt x="381" y="42"/>
                    <a:pt x="381" y="42"/>
                  </a:cubicBezTo>
                  <a:cubicBezTo>
                    <a:pt x="380" y="42"/>
                    <a:pt x="384" y="42"/>
                    <a:pt x="384" y="41"/>
                  </a:cubicBezTo>
                  <a:cubicBezTo>
                    <a:pt x="383" y="40"/>
                    <a:pt x="383" y="40"/>
                    <a:pt x="383" y="40"/>
                  </a:cubicBezTo>
                  <a:cubicBezTo>
                    <a:pt x="384" y="41"/>
                    <a:pt x="385" y="38"/>
                    <a:pt x="386" y="40"/>
                  </a:cubicBezTo>
                  <a:cubicBezTo>
                    <a:pt x="387" y="41"/>
                    <a:pt x="387" y="39"/>
                    <a:pt x="387" y="39"/>
                  </a:cubicBezTo>
                  <a:cubicBezTo>
                    <a:pt x="387" y="40"/>
                    <a:pt x="389" y="40"/>
                    <a:pt x="390" y="40"/>
                  </a:cubicBezTo>
                  <a:cubicBezTo>
                    <a:pt x="391" y="39"/>
                    <a:pt x="391" y="39"/>
                    <a:pt x="391" y="39"/>
                  </a:cubicBezTo>
                  <a:cubicBezTo>
                    <a:pt x="390" y="39"/>
                    <a:pt x="390" y="39"/>
                    <a:pt x="390" y="39"/>
                  </a:cubicBezTo>
                  <a:cubicBezTo>
                    <a:pt x="390" y="39"/>
                    <a:pt x="390" y="39"/>
                    <a:pt x="389" y="39"/>
                  </a:cubicBezTo>
                  <a:cubicBezTo>
                    <a:pt x="390" y="38"/>
                    <a:pt x="390" y="38"/>
                    <a:pt x="390" y="38"/>
                  </a:cubicBezTo>
                  <a:cubicBezTo>
                    <a:pt x="387" y="39"/>
                    <a:pt x="386" y="37"/>
                    <a:pt x="383" y="39"/>
                  </a:cubicBezTo>
                  <a:cubicBezTo>
                    <a:pt x="382" y="38"/>
                    <a:pt x="382" y="38"/>
                    <a:pt x="382" y="38"/>
                  </a:cubicBezTo>
                  <a:cubicBezTo>
                    <a:pt x="378" y="39"/>
                    <a:pt x="375" y="39"/>
                    <a:pt x="372" y="40"/>
                  </a:cubicBezTo>
                  <a:cubicBezTo>
                    <a:pt x="371" y="40"/>
                    <a:pt x="371" y="40"/>
                    <a:pt x="370" y="40"/>
                  </a:cubicBezTo>
                  <a:cubicBezTo>
                    <a:pt x="370" y="40"/>
                    <a:pt x="370" y="40"/>
                    <a:pt x="370" y="40"/>
                  </a:cubicBezTo>
                  <a:cubicBezTo>
                    <a:pt x="362" y="41"/>
                    <a:pt x="350" y="42"/>
                    <a:pt x="341" y="43"/>
                  </a:cubicBezTo>
                  <a:cubicBezTo>
                    <a:pt x="341" y="42"/>
                    <a:pt x="341" y="42"/>
                    <a:pt x="341" y="42"/>
                  </a:cubicBezTo>
                  <a:cubicBezTo>
                    <a:pt x="343" y="41"/>
                    <a:pt x="345" y="42"/>
                    <a:pt x="346" y="40"/>
                  </a:cubicBezTo>
                  <a:cubicBezTo>
                    <a:pt x="345" y="42"/>
                    <a:pt x="342" y="38"/>
                    <a:pt x="341" y="41"/>
                  </a:cubicBezTo>
                  <a:cubicBezTo>
                    <a:pt x="340" y="41"/>
                    <a:pt x="340" y="41"/>
                    <a:pt x="340" y="41"/>
                  </a:cubicBezTo>
                  <a:cubicBezTo>
                    <a:pt x="340" y="41"/>
                    <a:pt x="340" y="41"/>
                    <a:pt x="340" y="41"/>
                  </a:cubicBezTo>
                  <a:cubicBezTo>
                    <a:pt x="339" y="41"/>
                    <a:pt x="338" y="41"/>
                    <a:pt x="336" y="42"/>
                  </a:cubicBezTo>
                  <a:cubicBezTo>
                    <a:pt x="336" y="41"/>
                    <a:pt x="336" y="41"/>
                    <a:pt x="336" y="41"/>
                  </a:cubicBezTo>
                  <a:cubicBezTo>
                    <a:pt x="337" y="42"/>
                    <a:pt x="338" y="41"/>
                    <a:pt x="339" y="40"/>
                  </a:cubicBezTo>
                  <a:cubicBezTo>
                    <a:pt x="338" y="40"/>
                    <a:pt x="337" y="40"/>
                    <a:pt x="336" y="40"/>
                  </a:cubicBezTo>
                  <a:cubicBezTo>
                    <a:pt x="336" y="41"/>
                    <a:pt x="335" y="41"/>
                    <a:pt x="335" y="42"/>
                  </a:cubicBezTo>
                  <a:cubicBezTo>
                    <a:pt x="335" y="40"/>
                    <a:pt x="334" y="42"/>
                    <a:pt x="333" y="42"/>
                  </a:cubicBezTo>
                  <a:cubicBezTo>
                    <a:pt x="332" y="41"/>
                    <a:pt x="332" y="41"/>
                    <a:pt x="332" y="41"/>
                  </a:cubicBezTo>
                  <a:cubicBezTo>
                    <a:pt x="331" y="42"/>
                    <a:pt x="330" y="41"/>
                    <a:pt x="331" y="42"/>
                  </a:cubicBezTo>
                  <a:cubicBezTo>
                    <a:pt x="331" y="43"/>
                    <a:pt x="331" y="43"/>
                    <a:pt x="331" y="43"/>
                  </a:cubicBezTo>
                  <a:cubicBezTo>
                    <a:pt x="328" y="43"/>
                    <a:pt x="328" y="43"/>
                    <a:pt x="328" y="43"/>
                  </a:cubicBezTo>
                  <a:cubicBezTo>
                    <a:pt x="328" y="42"/>
                    <a:pt x="331" y="43"/>
                    <a:pt x="330" y="42"/>
                  </a:cubicBezTo>
                  <a:cubicBezTo>
                    <a:pt x="325" y="43"/>
                    <a:pt x="323" y="42"/>
                    <a:pt x="319" y="44"/>
                  </a:cubicBezTo>
                  <a:cubicBezTo>
                    <a:pt x="317" y="42"/>
                    <a:pt x="314" y="44"/>
                    <a:pt x="314" y="44"/>
                  </a:cubicBezTo>
                  <a:cubicBezTo>
                    <a:pt x="314" y="43"/>
                    <a:pt x="316" y="43"/>
                    <a:pt x="316" y="42"/>
                  </a:cubicBezTo>
                  <a:cubicBezTo>
                    <a:pt x="315" y="41"/>
                    <a:pt x="314" y="42"/>
                    <a:pt x="314" y="42"/>
                  </a:cubicBezTo>
                  <a:cubicBezTo>
                    <a:pt x="313" y="42"/>
                    <a:pt x="312" y="43"/>
                    <a:pt x="311" y="44"/>
                  </a:cubicBezTo>
                  <a:cubicBezTo>
                    <a:pt x="311" y="45"/>
                    <a:pt x="311" y="45"/>
                    <a:pt x="311" y="45"/>
                  </a:cubicBezTo>
                  <a:cubicBezTo>
                    <a:pt x="309" y="44"/>
                    <a:pt x="309" y="46"/>
                    <a:pt x="308" y="46"/>
                  </a:cubicBezTo>
                  <a:cubicBezTo>
                    <a:pt x="308" y="45"/>
                    <a:pt x="308" y="45"/>
                    <a:pt x="308" y="45"/>
                  </a:cubicBezTo>
                  <a:cubicBezTo>
                    <a:pt x="309" y="45"/>
                    <a:pt x="308" y="44"/>
                    <a:pt x="308" y="43"/>
                  </a:cubicBezTo>
                  <a:cubicBezTo>
                    <a:pt x="307" y="44"/>
                    <a:pt x="307" y="44"/>
                    <a:pt x="306" y="45"/>
                  </a:cubicBezTo>
                  <a:cubicBezTo>
                    <a:pt x="306" y="44"/>
                    <a:pt x="306" y="44"/>
                    <a:pt x="306" y="44"/>
                  </a:cubicBezTo>
                  <a:cubicBezTo>
                    <a:pt x="306" y="44"/>
                    <a:pt x="305" y="44"/>
                    <a:pt x="305" y="45"/>
                  </a:cubicBezTo>
                  <a:cubicBezTo>
                    <a:pt x="305" y="45"/>
                    <a:pt x="305" y="45"/>
                    <a:pt x="306" y="45"/>
                  </a:cubicBezTo>
                  <a:cubicBezTo>
                    <a:pt x="305" y="45"/>
                    <a:pt x="305" y="45"/>
                    <a:pt x="305" y="45"/>
                  </a:cubicBezTo>
                  <a:cubicBezTo>
                    <a:pt x="305" y="46"/>
                    <a:pt x="304" y="46"/>
                    <a:pt x="303" y="46"/>
                  </a:cubicBezTo>
                  <a:cubicBezTo>
                    <a:pt x="303" y="44"/>
                    <a:pt x="302" y="46"/>
                    <a:pt x="301" y="46"/>
                  </a:cubicBezTo>
                  <a:cubicBezTo>
                    <a:pt x="301" y="46"/>
                    <a:pt x="301" y="46"/>
                    <a:pt x="301" y="46"/>
                  </a:cubicBezTo>
                  <a:cubicBezTo>
                    <a:pt x="299" y="46"/>
                    <a:pt x="296" y="46"/>
                    <a:pt x="295" y="47"/>
                  </a:cubicBezTo>
                  <a:cubicBezTo>
                    <a:pt x="296" y="48"/>
                    <a:pt x="297" y="47"/>
                    <a:pt x="298" y="47"/>
                  </a:cubicBezTo>
                  <a:cubicBezTo>
                    <a:pt x="294" y="48"/>
                    <a:pt x="294" y="48"/>
                    <a:pt x="294" y="48"/>
                  </a:cubicBezTo>
                  <a:cubicBezTo>
                    <a:pt x="294" y="48"/>
                    <a:pt x="294" y="48"/>
                    <a:pt x="294" y="48"/>
                  </a:cubicBezTo>
                  <a:cubicBezTo>
                    <a:pt x="292" y="48"/>
                    <a:pt x="289" y="47"/>
                    <a:pt x="288" y="49"/>
                  </a:cubicBezTo>
                  <a:cubicBezTo>
                    <a:pt x="290" y="49"/>
                    <a:pt x="290" y="49"/>
                    <a:pt x="290" y="49"/>
                  </a:cubicBezTo>
                  <a:cubicBezTo>
                    <a:pt x="289" y="49"/>
                    <a:pt x="289" y="49"/>
                    <a:pt x="289" y="49"/>
                  </a:cubicBezTo>
                  <a:cubicBezTo>
                    <a:pt x="290" y="50"/>
                    <a:pt x="290" y="49"/>
                    <a:pt x="291" y="49"/>
                  </a:cubicBezTo>
                  <a:cubicBezTo>
                    <a:pt x="291" y="49"/>
                    <a:pt x="291" y="49"/>
                    <a:pt x="291" y="49"/>
                  </a:cubicBezTo>
                  <a:cubicBezTo>
                    <a:pt x="292" y="48"/>
                    <a:pt x="292" y="48"/>
                    <a:pt x="292" y="48"/>
                  </a:cubicBezTo>
                  <a:cubicBezTo>
                    <a:pt x="292" y="49"/>
                    <a:pt x="292" y="49"/>
                    <a:pt x="293" y="49"/>
                  </a:cubicBezTo>
                  <a:cubicBezTo>
                    <a:pt x="293" y="49"/>
                    <a:pt x="293" y="49"/>
                    <a:pt x="293" y="49"/>
                  </a:cubicBezTo>
                  <a:cubicBezTo>
                    <a:pt x="292" y="51"/>
                    <a:pt x="289" y="50"/>
                    <a:pt x="287" y="51"/>
                  </a:cubicBezTo>
                  <a:cubicBezTo>
                    <a:pt x="288" y="50"/>
                    <a:pt x="287" y="50"/>
                    <a:pt x="286" y="50"/>
                  </a:cubicBezTo>
                  <a:cubicBezTo>
                    <a:pt x="286" y="51"/>
                    <a:pt x="285" y="50"/>
                    <a:pt x="285" y="51"/>
                  </a:cubicBezTo>
                  <a:cubicBezTo>
                    <a:pt x="285" y="52"/>
                    <a:pt x="286" y="52"/>
                    <a:pt x="286" y="52"/>
                  </a:cubicBezTo>
                  <a:cubicBezTo>
                    <a:pt x="285" y="52"/>
                    <a:pt x="285" y="52"/>
                    <a:pt x="285" y="52"/>
                  </a:cubicBezTo>
                  <a:cubicBezTo>
                    <a:pt x="285" y="52"/>
                    <a:pt x="284" y="51"/>
                    <a:pt x="284" y="51"/>
                  </a:cubicBezTo>
                  <a:cubicBezTo>
                    <a:pt x="283" y="52"/>
                    <a:pt x="283" y="52"/>
                    <a:pt x="283" y="52"/>
                  </a:cubicBezTo>
                  <a:cubicBezTo>
                    <a:pt x="283" y="51"/>
                    <a:pt x="282" y="51"/>
                    <a:pt x="282" y="51"/>
                  </a:cubicBezTo>
                  <a:cubicBezTo>
                    <a:pt x="281" y="53"/>
                    <a:pt x="278" y="51"/>
                    <a:pt x="277" y="53"/>
                  </a:cubicBezTo>
                  <a:cubicBezTo>
                    <a:pt x="277" y="54"/>
                    <a:pt x="278" y="53"/>
                    <a:pt x="279" y="53"/>
                  </a:cubicBezTo>
                  <a:cubicBezTo>
                    <a:pt x="279" y="54"/>
                    <a:pt x="279" y="54"/>
                    <a:pt x="279" y="54"/>
                  </a:cubicBezTo>
                  <a:cubicBezTo>
                    <a:pt x="282" y="54"/>
                    <a:pt x="287" y="54"/>
                    <a:pt x="291" y="54"/>
                  </a:cubicBezTo>
                  <a:cubicBezTo>
                    <a:pt x="288" y="57"/>
                    <a:pt x="285" y="53"/>
                    <a:pt x="282" y="55"/>
                  </a:cubicBezTo>
                  <a:cubicBezTo>
                    <a:pt x="284" y="57"/>
                    <a:pt x="289" y="55"/>
                    <a:pt x="291" y="55"/>
                  </a:cubicBezTo>
                  <a:cubicBezTo>
                    <a:pt x="292" y="56"/>
                    <a:pt x="292" y="56"/>
                    <a:pt x="292" y="56"/>
                  </a:cubicBezTo>
                  <a:cubicBezTo>
                    <a:pt x="290" y="57"/>
                    <a:pt x="287" y="56"/>
                    <a:pt x="286" y="57"/>
                  </a:cubicBezTo>
                  <a:cubicBezTo>
                    <a:pt x="289" y="58"/>
                    <a:pt x="292" y="57"/>
                    <a:pt x="294" y="55"/>
                  </a:cubicBezTo>
                  <a:cubicBezTo>
                    <a:pt x="295" y="55"/>
                    <a:pt x="296" y="56"/>
                    <a:pt x="296" y="55"/>
                  </a:cubicBezTo>
                  <a:cubicBezTo>
                    <a:pt x="296" y="57"/>
                    <a:pt x="295" y="57"/>
                    <a:pt x="294" y="58"/>
                  </a:cubicBezTo>
                  <a:cubicBezTo>
                    <a:pt x="292" y="57"/>
                    <a:pt x="292" y="57"/>
                    <a:pt x="292" y="57"/>
                  </a:cubicBezTo>
                  <a:cubicBezTo>
                    <a:pt x="290" y="59"/>
                    <a:pt x="285" y="56"/>
                    <a:pt x="283" y="59"/>
                  </a:cubicBezTo>
                  <a:cubicBezTo>
                    <a:pt x="282" y="58"/>
                    <a:pt x="281" y="60"/>
                    <a:pt x="280" y="60"/>
                  </a:cubicBezTo>
                  <a:cubicBezTo>
                    <a:pt x="281" y="61"/>
                    <a:pt x="281" y="60"/>
                    <a:pt x="282" y="60"/>
                  </a:cubicBezTo>
                  <a:cubicBezTo>
                    <a:pt x="281" y="61"/>
                    <a:pt x="281" y="61"/>
                    <a:pt x="281" y="61"/>
                  </a:cubicBezTo>
                  <a:cubicBezTo>
                    <a:pt x="286" y="60"/>
                    <a:pt x="293" y="59"/>
                    <a:pt x="299" y="57"/>
                  </a:cubicBezTo>
                  <a:cubicBezTo>
                    <a:pt x="298" y="59"/>
                    <a:pt x="295" y="59"/>
                    <a:pt x="293" y="60"/>
                  </a:cubicBezTo>
                  <a:cubicBezTo>
                    <a:pt x="294" y="60"/>
                    <a:pt x="294" y="60"/>
                    <a:pt x="294" y="60"/>
                  </a:cubicBezTo>
                  <a:cubicBezTo>
                    <a:pt x="293" y="60"/>
                    <a:pt x="293" y="60"/>
                    <a:pt x="293" y="60"/>
                  </a:cubicBezTo>
                  <a:cubicBezTo>
                    <a:pt x="291" y="62"/>
                    <a:pt x="291" y="62"/>
                    <a:pt x="291" y="62"/>
                  </a:cubicBezTo>
                  <a:cubicBezTo>
                    <a:pt x="290" y="61"/>
                    <a:pt x="290" y="61"/>
                    <a:pt x="290" y="61"/>
                  </a:cubicBezTo>
                  <a:cubicBezTo>
                    <a:pt x="291" y="64"/>
                    <a:pt x="287" y="63"/>
                    <a:pt x="285" y="64"/>
                  </a:cubicBezTo>
                  <a:cubicBezTo>
                    <a:pt x="286" y="65"/>
                    <a:pt x="286" y="65"/>
                    <a:pt x="286" y="65"/>
                  </a:cubicBezTo>
                  <a:cubicBezTo>
                    <a:pt x="285" y="65"/>
                    <a:pt x="285" y="65"/>
                    <a:pt x="285" y="65"/>
                  </a:cubicBezTo>
                  <a:cubicBezTo>
                    <a:pt x="285" y="64"/>
                    <a:pt x="285" y="64"/>
                    <a:pt x="285" y="64"/>
                  </a:cubicBezTo>
                  <a:cubicBezTo>
                    <a:pt x="283" y="64"/>
                    <a:pt x="281" y="64"/>
                    <a:pt x="279" y="65"/>
                  </a:cubicBezTo>
                  <a:cubicBezTo>
                    <a:pt x="281" y="65"/>
                    <a:pt x="281" y="65"/>
                    <a:pt x="281" y="65"/>
                  </a:cubicBezTo>
                  <a:cubicBezTo>
                    <a:pt x="279" y="67"/>
                    <a:pt x="274" y="66"/>
                    <a:pt x="273" y="68"/>
                  </a:cubicBezTo>
                  <a:cubicBezTo>
                    <a:pt x="276" y="70"/>
                    <a:pt x="278" y="66"/>
                    <a:pt x="282" y="67"/>
                  </a:cubicBezTo>
                  <a:cubicBezTo>
                    <a:pt x="282" y="67"/>
                    <a:pt x="282" y="67"/>
                    <a:pt x="281" y="67"/>
                  </a:cubicBezTo>
                  <a:cubicBezTo>
                    <a:pt x="282" y="68"/>
                    <a:pt x="282" y="69"/>
                    <a:pt x="283" y="69"/>
                  </a:cubicBezTo>
                  <a:cubicBezTo>
                    <a:pt x="284" y="68"/>
                    <a:pt x="284" y="68"/>
                    <a:pt x="284" y="68"/>
                  </a:cubicBezTo>
                  <a:cubicBezTo>
                    <a:pt x="283" y="69"/>
                    <a:pt x="283" y="69"/>
                    <a:pt x="283" y="69"/>
                  </a:cubicBezTo>
                  <a:cubicBezTo>
                    <a:pt x="284" y="70"/>
                    <a:pt x="285" y="70"/>
                    <a:pt x="286" y="70"/>
                  </a:cubicBezTo>
                  <a:cubicBezTo>
                    <a:pt x="287" y="71"/>
                    <a:pt x="291" y="69"/>
                    <a:pt x="292" y="71"/>
                  </a:cubicBezTo>
                  <a:cubicBezTo>
                    <a:pt x="293" y="71"/>
                    <a:pt x="296" y="69"/>
                    <a:pt x="297" y="71"/>
                  </a:cubicBezTo>
                  <a:cubicBezTo>
                    <a:pt x="302" y="70"/>
                    <a:pt x="307" y="70"/>
                    <a:pt x="311" y="72"/>
                  </a:cubicBezTo>
                  <a:cubicBezTo>
                    <a:pt x="316" y="73"/>
                    <a:pt x="322" y="71"/>
                    <a:pt x="328" y="72"/>
                  </a:cubicBezTo>
                  <a:cubicBezTo>
                    <a:pt x="330" y="72"/>
                    <a:pt x="329" y="71"/>
                    <a:pt x="329" y="70"/>
                  </a:cubicBezTo>
                  <a:cubicBezTo>
                    <a:pt x="330" y="71"/>
                    <a:pt x="330" y="71"/>
                    <a:pt x="330" y="71"/>
                  </a:cubicBezTo>
                  <a:cubicBezTo>
                    <a:pt x="329" y="72"/>
                    <a:pt x="329" y="72"/>
                    <a:pt x="329" y="72"/>
                  </a:cubicBezTo>
                  <a:cubicBezTo>
                    <a:pt x="330" y="72"/>
                    <a:pt x="331" y="72"/>
                    <a:pt x="332" y="72"/>
                  </a:cubicBezTo>
                  <a:cubicBezTo>
                    <a:pt x="332" y="72"/>
                    <a:pt x="332" y="71"/>
                    <a:pt x="332" y="71"/>
                  </a:cubicBezTo>
                  <a:cubicBezTo>
                    <a:pt x="334" y="72"/>
                    <a:pt x="337" y="71"/>
                    <a:pt x="339" y="70"/>
                  </a:cubicBezTo>
                  <a:cubicBezTo>
                    <a:pt x="335" y="70"/>
                    <a:pt x="335" y="70"/>
                    <a:pt x="335" y="70"/>
                  </a:cubicBezTo>
                  <a:cubicBezTo>
                    <a:pt x="338" y="68"/>
                    <a:pt x="343" y="67"/>
                    <a:pt x="347" y="67"/>
                  </a:cubicBezTo>
                  <a:cubicBezTo>
                    <a:pt x="345" y="69"/>
                    <a:pt x="341" y="66"/>
                    <a:pt x="341" y="70"/>
                  </a:cubicBezTo>
                  <a:cubicBezTo>
                    <a:pt x="339" y="70"/>
                    <a:pt x="338" y="71"/>
                    <a:pt x="337" y="72"/>
                  </a:cubicBezTo>
                  <a:cubicBezTo>
                    <a:pt x="339" y="75"/>
                    <a:pt x="343" y="72"/>
                    <a:pt x="345" y="72"/>
                  </a:cubicBezTo>
                  <a:cubicBezTo>
                    <a:pt x="345" y="72"/>
                    <a:pt x="345" y="73"/>
                    <a:pt x="345" y="74"/>
                  </a:cubicBezTo>
                  <a:cubicBezTo>
                    <a:pt x="346" y="74"/>
                    <a:pt x="347" y="75"/>
                    <a:pt x="348" y="74"/>
                  </a:cubicBezTo>
                  <a:cubicBezTo>
                    <a:pt x="352" y="75"/>
                    <a:pt x="358" y="75"/>
                    <a:pt x="363" y="76"/>
                  </a:cubicBezTo>
                  <a:cubicBezTo>
                    <a:pt x="367" y="77"/>
                    <a:pt x="371" y="77"/>
                    <a:pt x="374" y="77"/>
                  </a:cubicBezTo>
                  <a:cubicBezTo>
                    <a:pt x="376" y="78"/>
                    <a:pt x="376" y="78"/>
                    <a:pt x="378" y="79"/>
                  </a:cubicBezTo>
                  <a:cubicBezTo>
                    <a:pt x="383" y="79"/>
                    <a:pt x="388" y="80"/>
                    <a:pt x="394" y="81"/>
                  </a:cubicBezTo>
                  <a:cubicBezTo>
                    <a:pt x="394" y="81"/>
                    <a:pt x="394" y="81"/>
                    <a:pt x="394" y="81"/>
                  </a:cubicBezTo>
                  <a:cubicBezTo>
                    <a:pt x="394" y="80"/>
                    <a:pt x="393" y="80"/>
                    <a:pt x="393" y="80"/>
                  </a:cubicBezTo>
                  <a:cubicBezTo>
                    <a:pt x="396" y="80"/>
                    <a:pt x="401" y="82"/>
                    <a:pt x="405" y="82"/>
                  </a:cubicBezTo>
                  <a:cubicBezTo>
                    <a:pt x="405" y="82"/>
                    <a:pt x="405" y="81"/>
                    <a:pt x="406" y="81"/>
                  </a:cubicBezTo>
                  <a:cubicBezTo>
                    <a:pt x="406" y="81"/>
                    <a:pt x="406" y="81"/>
                    <a:pt x="406" y="81"/>
                  </a:cubicBezTo>
                  <a:cubicBezTo>
                    <a:pt x="406" y="82"/>
                    <a:pt x="406" y="82"/>
                    <a:pt x="406" y="82"/>
                  </a:cubicBezTo>
                  <a:cubicBezTo>
                    <a:pt x="412" y="84"/>
                    <a:pt x="412" y="84"/>
                    <a:pt x="412" y="84"/>
                  </a:cubicBezTo>
                  <a:cubicBezTo>
                    <a:pt x="412" y="83"/>
                    <a:pt x="412" y="83"/>
                    <a:pt x="412" y="83"/>
                  </a:cubicBezTo>
                  <a:cubicBezTo>
                    <a:pt x="412" y="83"/>
                    <a:pt x="413" y="83"/>
                    <a:pt x="413" y="83"/>
                  </a:cubicBezTo>
                  <a:cubicBezTo>
                    <a:pt x="412" y="84"/>
                    <a:pt x="412" y="84"/>
                    <a:pt x="412" y="84"/>
                  </a:cubicBezTo>
                  <a:cubicBezTo>
                    <a:pt x="414" y="85"/>
                    <a:pt x="416" y="84"/>
                    <a:pt x="417" y="85"/>
                  </a:cubicBezTo>
                  <a:cubicBezTo>
                    <a:pt x="417" y="84"/>
                    <a:pt x="417" y="84"/>
                    <a:pt x="417" y="84"/>
                  </a:cubicBezTo>
                  <a:cubicBezTo>
                    <a:pt x="418" y="86"/>
                    <a:pt x="421" y="86"/>
                    <a:pt x="423" y="87"/>
                  </a:cubicBezTo>
                  <a:cubicBezTo>
                    <a:pt x="420" y="86"/>
                    <a:pt x="415" y="85"/>
                    <a:pt x="411" y="8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3" name="Rectangle 15">
              <a:extLst>
                <a:ext uri="{FF2B5EF4-FFF2-40B4-BE49-F238E27FC236}">
                  <a16:creationId xmlns:a16="http://schemas.microsoft.com/office/drawing/2014/main" id="{98DA9D21-D6F6-CA39-C206-BAF493E320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22026" y="2645277"/>
              <a:ext cx="12673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4" name="Freeform 16">
              <a:extLst>
                <a:ext uri="{FF2B5EF4-FFF2-40B4-BE49-F238E27FC236}">
                  <a16:creationId xmlns:a16="http://schemas.microsoft.com/office/drawing/2014/main" id="{D4BF30AF-185D-9260-498F-5627F6D8715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0145" y="2718145"/>
              <a:ext cx="11881" cy="11881"/>
            </a:xfrm>
            <a:custGeom>
              <a:avLst/>
              <a:gdLst>
                <a:gd name="T0" fmla="*/ 0 w 15"/>
                <a:gd name="T1" fmla="*/ 15 h 15"/>
                <a:gd name="T2" fmla="*/ 15 w 15"/>
                <a:gd name="T3" fmla="*/ 0 h 15"/>
                <a:gd name="T4" fmla="*/ 15 w 15"/>
                <a:gd name="T5" fmla="*/ 15 h 15"/>
                <a:gd name="T6" fmla="*/ 0 w 15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15"/>
                  </a:moveTo>
                  <a:lnTo>
                    <a:pt x="15" y="0"/>
                  </a:lnTo>
                  <a:lnTo>
                    <a:pt x="15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E3A82B7B-7958-E0C3-EC23-AD4252151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6384" y="2802893"/>
              <a:ext cx="35642" cy="0"/>
            </a:xfrm>
            <a:custGeom>
              <a:avLst/>
              <a:gdLst>
                <a:gd name="T0" fmla="*/ 0 w 45"/>
                <a:gd name="T1" fmla="*/ 45 w 45"/>
                <a:gd name="T2" fmla="*/ 15 w 45"/>
                <a:gd name="T3" fmla="*/ 0 w 4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45">
                  <a:moveTo>
                    <a:pt x="0" y="0"/>
                  </a:moveTo>
                  <a:lnTo>
                    <a:pt x="45" y="0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6" name="Freeform 18">
              <a:extLst>
                <a:ext uri="{FF2B5EF4-FFF2-40B4-BE49-F238E27FC236}">
                  <a16:creationId xmlns:a16="http://schemas.microsoft.com/office/drawing/2014/main" id="{2E41766A-07F3-16B4-6BC2-0CD089DC3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8460" y="3362073"/>
              <a:ext cx="23761" cy="24553"/>
            </a:xfrm>
            <a:custGeom>
              <a:avLst/>
              <a:gdLst>
                <a:gd name="T0" fmla="*/ 0 w 2"/>
                <a:gd name="T1" fmla="*/ 1 h 2"/>
                <a:gd name="T2" fmla="*/ 2 w 2"/>
                <a:gd name="T3" fmla="*/ 1 h 2"/>
                <a:gd name="T4" fmla="*/ 0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1" y="2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7" name="Freeform 19">
              <a:extLst>
                <a:ext uri="{FF2B5EF4-FFF2-40B4-BE49-F238E27FC236}">
                  <a16:creationId xmlns:a16="http://schemas.microsoft.com/office/drawing/2014/main" id="{91F1FEAC-77BB-6ED9-94F6-CE22F3111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9950" y="2718145"/>
              <a:ext cx="48314" cy="36434"/>
            </a:xfrm>
            <a:custGeom>
              <a:avLst/>
              <a:gdLst>
                <a:gd name="T0" fmla="*/ 0 w 4"/>
                <a:gd name="T1" fmla="*/ 3 h 3"/>
                <a:gd name="T2" fmla="*/ 2 w 4"/>
                <a:gd name="T3" fmla="*/ 1 h 3"/>
                <a:gd name="T4" fmla="*/ 4 w 4"/>
                <a:gd name="T5" fmla="*/ 0 h 3"/>
                <a:gd name="T6" fmla="*/ 0 w 4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cubicBezTo>
                    <a:pt x="0" y="2"/>
                    <a:pt x="2" y="2"/>
                    <a:pt x="2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3"/>
                    <a:pt x="0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8" name="Freeform 20">
              <a:extLst>
                <a:ext uri="{FF2B5EF4-FFF2-40B4-BE49-F238E27FC236}">
                  <a16:creationId xmlns:a16="http://schemas.microsoft.com/office/drawing/2014/main" id="{A95DF422-BA9C-8ABD-62E0-ACD473E2C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504" y="2705472"/>
              <a:ext cx="11881" cy="12673"/>
            </a:xfrm>
            <a:custGeom>
              <a:avLst/>
              <a:gdLst>
                <a:gd name="T0" fmla="*/ 15 w 15"/>
                <a:gd name="T1" fmla="*/ 0 h 16"/>
                <a:gd name="T2" fmla="*/ 15 w 15"/>
                <a:gd name="T3" fmla="*/ 0 h 16"/>
                <a:gd name="T4" fmla="*/ 0 w 15"/>
                <a:gd name="T5" fmla="*/ 16 h 16"/>
                <a:gd name="T6" fmla="*/ 0 w 15"/>
                <a:gd name="T7" fmla="*/ 0 h 16"/>
                <a:gd name="T8" fmla="*/ 15 w 1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5" y="0"/>
                  </a:moveTo>
                  <a:lnTo>
                    <a:pt x="15" y="0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9" name="Freeform 21">
              <a:extLst>
                <a:ext uri="{FF2B5EF4-FFF2-40B4-BE49-F238E27FC236}">
                  <a16:creationId xmlns:a16="http://schemas.microsoft.com/office/drawing/2014/main" id="{53A3EA9B-9A85-A4B5-3F2F-8104A8775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2026" y="3350192"/>
              <a:ext cx="12673" cy="23761"/>
            </a:xfrm>
            <a:custGeom>
              <a:avLst/>
              <a:gdLst>
                <a:gd name="T0" fmla="*/ 0 w 1"/>
                <a:gd name="T1" fmla="*/ 1 h 2"/>
                <a:gd name="T2" fmla="*/ 1 w 1"/>
                <a:gd name="T3" fmla="*/ 2 h 2"/>
                <a:gd name="T4" fmla="*/ 0 w 1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0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0" name="Freeform 22">
              <a:extLst>
                <a:ext uri="{FF2B5EF4-FFF2-40B4-BE49-F238E27FC236}">
                  <a16:creationId xmlns:a16="http://schemas.microsoft.com/office/drawing/2014/main" id="{0FA85FD3-4024-F2DD-F59B-9E9921FE4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8070" y="2705472"/>
              <a:ext cx="11881" cy="12673"/>
            </a:xfrm>
            <a:custGeom>
              <a:avLst/>
              <a:gdLst>
                <a:gd name="T0" fmla="*/ 0 w 15"/>
                <a:gd name="T1" fmla="*/ 16 h 16"/>
                <a:gd name="T2" fmla="*/ 15 w 15"/>
                <a:gd name="T3" fmla="*/ 0 h 16"/>
                <a:gd name="T4" fmla="*/ 15 w 15"/>
                <a:gd name="T5" fmla="*/ 0 h 16"/>
                <a:gd name="T6" fmla="*/ 0 w 15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0" y="16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1" name="Rectangle 23">
              <a:extLst>
                <a:ext uri="{FF2B5EF4-FFF2-40B4-BE49-F238E27FC236}">
                  <a16:creationId xmlns:a16="http://schemas.microsoft.com/office/drawing/2014/main" id="{6FAFCE3F-D461-21D5-123F-F91A0F744D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8070" y="2802893"/>
              <a:ext cx="1188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BCA482E5-02DA-F538-854D-DEC4F52EAC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7875" y="2547856"/>
              <a:ext cx="23761" cy="11881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2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1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3" name="Freeform 25">
              <a:extLst>
                <a:ext uri="{FF2B5EF4-FFF2-40B4-BE49-F238E27FC236}">
                  <a16:creationId xmlns:a16="http://schemas.microsoft.com/office/drawing/2014/main" id="{E0EE6374-3318-8F63-1A4F-9EA5A9CDD51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9755" y="2730025"/>
              <a:ext cx="24553" cy="24553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1 h 2"/>
                <a:gd name="T4" fmla="*/ 2 w 2"/>
                <a:gd name="T5" fmla="*/ 0 h 2"/>
                <a:gd name="T6" fmla="*/ 1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2" y="1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1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4" name="Freeform 26">
              <a:extLst>
                <a:ext uri="{FF2B5EF4-FFF2-40B4-BE49-F238E27FC236}">
                  <a16:creationId xmlns:a16="http://schemas.microsoft.com/office/drawing/2014/main" id="{7716A978-89CB-8107-9528-4B333F27A3D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5799" y="2815566"/>
              <a:ext cx="95837" cy="36434"/>
            </a:xfrm>
            <a:custGeom>
              <a:avLst/>
              <a:gdLst>
                <a:gd name="T0" fmla="*/ 0 w 8"/>
                <a:gd name="T1" fmla="*/ 3 h 3"/>
                <a:gd name="T2" fmla="*/ 2 w 8"/>
                <a:gd name="T3" fmla="*/ 1 h 3"/>
                <a:gd name="T4" fmla="*/ 4 w 8"/>
                <a:gd name="T5" fmla="*/ 2 h 3"/>
                <a:gd name="T6" fmla="*/ 7 w 8"/>
                <a:gd name="T7" fmla="*/ 0 h 3"/>
                <a:gd name="T8" fmla="*/ 5 w 8"/>
                <a:gd name="T9" fmla="*/ 2 h 3"/>
                <a:gd name="T10" fmla="*/ 8 w 8"/>
                <a:gd name="T11" fmla="*/ 2 h 3"/>
                <a:gd name="T12" fmla="*/ 0 w 8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0" y="3"/>
                  </a:moveTo>
                  <a:cubicBezTo>
                    <a:pt x="1" y="2"/>
                    <a:pt x="2" y="2"/>
                    <a:pt x="2" y="1"/>
                  </a:cubicBezTo>
                  <a:cubicBezTo>
                    <a:pt x="2" y="1"/>
                    <a:pt x="3" y="2"/>
                    <a:pt x="4" y="2"/>
                  </a:cubicBezTo>
                  <a:cubicBezTo>
                    <a:pt x="4" y="1"/>
                    <a:pt x="6" y="1"/>
                    <a:pt x="7" y="0"/>
                  </a:cubicBezTo>
                  <a:cubicBezTo>
                    <a:pt x="6" y="1"/>
                    <a:pt x="5" y="1"/>
                    <a:pt x="5" y="2"/>
                  </a:cubicBezTo>
                  <a:cubicBezTo>
                    <a:pt x="8" y="2"/>
                    <a:pt x="8" y="2"/>
                    <a:pt x="8" y="2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5" name="Freeform 27">
              <a:extLst>
                <a:ext uri="{FF2B5EF4-FFF2-40B4-BE49-F238E27FC236}">
                  <a16:creationId xmlns:a16="http://schemas.microsoft.com/office/drawing/2014/main" id="{ADDCFFEA-C7FB-AF05-7A7E-85427207C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4309" y="3337519"/>
              <a:ext cx="47522" cy="0"/>
            </a:xfrm>
            <a:custGeom>
              <a:avLst/>
              <a:gdLst>
                <a:gd name="T0" fmla="*/ 60 w 60"/>
                <a:gd name="T1" fmla="*/ 0 w 60"/>
                <a:gd name="T2" fmla="*/ 60 w 6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0">
                  <a:moveTo>
                    <a:pt x="60" y="0"/>
                  </a:moveTo>
                  <a:lnTo>
                    <a:pt x="0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6" name="Freeform 28">
              <a:extLst>
                <a:ext uri="{FF2B5EF4-FFF2-40B4-BE49-F238E27FC236}">
                  <a16:creationId xmlns:a16="http://schemas.microsoft.com/office/drawing/2014/main" id="{AD9F485E-CFF2-9B24-6C53-9875ECDEAA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1246" y="2730025"/>
              <a:ext cx="96629" cy="60987"/>
            </a:xfrm>
            <a:custGeom>
              <a:avLst/>
              <a:gdLst>
                <a:gd name="T0" fmla="*/ 8 w 8"/>
                <a:gd name="T1" fmla="*/ 2 h 5"/>
                <a:gd name="T2" fmla="*/ 8 w 8"/>
                <a:gd name="T3" fmla="*/ 3 h 5"/>
                <a:gd name="T4" fmla="*/ 8 w 8"/>
                <a:gd name="T5" fmla="*/ 2 h 5"/>
                <a:gd name="T6" fmla="*/ 5 w 8"/>
                <a:gd name="T7" fmla="*/ 3 h 5"/>
                <a:gd name="T8" fmla="*/ 7 w 8"/>
                <a:gd name="T9" fmla="*/ 4 h 5"/>
                <a:gd name="T10" fmla="*/ 4 w 8"/>
                <a:gd name="T11" fmla="*/ 5 h 5"/>
                <a:gd name="T12" fmla="*/ 4 w 8"/>
                <a:gd name="T13" fmla="*/ 4 h 5"/>
                <a:gd name="T14" fmla="*/ 0 w 8"/>
                <a:gd name="T15" fmla="*/ 5 h 5"/>
                <a:gd name="T16" fmla="*/ 2 w 8"/>
                <a:gd name="T17" fmla="*/ 3 h 5"/>
                <a:gd name="T18" fmla="*/ 3 w 8"/>
                <a:gd name="T19" fmla="*/ 5 h 5"/>
                <a:gd name="T20" fmla="*/ 5 w 8"/>
                <a:gd name="T21" fmla="*/ 2 h 5"/>
                <a:gd name="T22" fmla="*/ 5 w 8"/>
                <a:gd name="T23" fmla="*/ 3 h 5"/>
                <a:gd name="T24" fmla="*/ 8 w 8"/>
                <a:gd name="T25" fmla="*/ 2 h 5"/>
                <a:gd name="T26" fmla="*/ 8 w 8"/>
                <a:gd name="T27" fmla="*/ 3 h 5"/>
                <a:gd name="T28" fmla="*/ 8 w 8"/>
                <a:gd name="T2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5">
                  <a:moveTo>
                    <a:pt x="8" y="2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6" y="4"/>
                    <a:pt x="5" y="4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5"/>
                    <a:pt x="2" y="4"/>
                    <a:pt x="0" y="5"/>
                  </a:cubicBezTo>
                  <a:cubicBezTo>
                    <a:pt x="1" y="3"/>
                    <a:pt x="2" y="5"/>
                    <a:pt x="2" y="3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4"/>
                    <a:pt x="5" y="3"/>
                    <a:pt x="5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0"/>
                    <a:pt x="7" y="3"/>
                    <a:pt x="8" y="2"/>
                  </a:cubicBezTo>
                  <a:cubicBezTo>
                    <a:pt x="8" y="3"/>
                    <a:pt x="8" y="3"/>
                    <a:pt x="8" y="3"/>
                  </a:cubicBezTo>
                  <a:lnTo>
                    <a:pt x="8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5D222212-4B6A-3B65-799F-DCAE3F860C1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9560" y="2584290"/>
              <a:ext cx="24553" cy="11881"/>
            </a:xfrm>
            <a:custGeom>
              <a:avLst/>
              <a:gdLst>
                <a:gd name="T0" fmla="*/ 0 w 31"/>
                <a:gd name="T1" fmla="*/ 15 h 15"/>
                <a:gd name="T2" fmla="*/ 31 w 31"/>
                <a:gd name="T3" fmla="*/ 0 h 15"/>
                <a:gd name="T4" fmla="*/ 31 w 31"/>
                <a:gd name="T5" fmla="*/ 15 h 15"/>
                <a:gd name="T6" fmla="*/ 0 w 31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15">
                  <a:moveTo>
                    <a:pt x="0" y="15"/>
                  </a:moveTo>
                  <a:lnTo>
                    <a:pt x="31" y="0"/>
                  </a:lnTo>
                  <a:lnTo>
                    <a:pt x="31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902E52A6-46DF-9D90-CD9B-FA1A28FC6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9560" y="2559737"/>
              <a:ext cx="11881" cy="1267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1 h 1"/>
                <a:gd name="T4" fmla="*/ 0 w 1"/>
                <a:gd name="T5" fmla="*/ 0 h 1"/>
                <a:gd name="T6" fmla="*/ 1 w 1"/>
                <a:gd name="T7" fmla="*/ 0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41F2BC85-9DE8-2740-7896-CA9AECE8F2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5799" y="2997735"/>
              <a:ext cx="72076" cy="23761"/>
            </a:xfrm>
            <a:custGeom>
              <a:avLst/>
              <a:gdLst>
                <a:gd name="T0" fmla="*/ 1 w 6"/>
                <a:gd name="T1" fmla="*/ 2 h 2"/>
                <a:gd name="T2" fmla="*/ 0 w 6"/>
                <a:gd name="T3" fmla="*/ 1 h 2"/>
                <a:gd name="T4" fmla="*/ 6 w 6"/>
                <a:gd name="T5" fmla="*/ 0 h 2"/>
                <a:gd name="T6" fmla="*/ 1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1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1"/>
                    <a:pt x="2" y="1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73C274A-47EC-2E30-7038-A0090EED9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9560" y="2718145"/>
              <a:ext cx="11881" cy="11881"/>
            </a:xfrm>
            <a:custGeom>
              <a:avLst/>
              <a:gdLst>
                <a:gd name="T0" fmla="*/ 0 w 15"/>
                <a:gd name="T1" fmla="*/ 0 h 15"/>
                <a:gd name="T2" fmla="*/ 15 w 15"/>
                <a:gd name="T3" fmla="*/ 15 h 15"/>
                <a:gd name="T4" fmla="*/ 0 w 15"/>
                <a:gd name="T5" fmla="*/ 15 h 15"/>
                <a:gd name="T6" fmla="*/ 0 w 15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0"/>
                  </a:moveTo>
                  <a:lnTo>
                    <a:pt x="15" y="15"/>
                  </a:lnTo>
                  <a:lnTo>
                    <a:pt x="0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1" name="Freeform 33">
              <a:extLst>
                <a:ext uri="{FF2B5EF4-FFF2-40B4-BE49-F238E27FC236}">
                  <a16:creationId xmlns:a16="http://schemas.microsoft.com/office/drawing/2014/main" id="{C0B5BDEE-86C6-7998-09DE-F822956FE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7875" y="3325639"/>
              <a:ext cx="23761" cy="0"/>
            </a:xfrm>
            <a:custGeom>
              <a:avLst/>
              <a:gdLst>
                <a:gd name="T0" fmla="*/ 30 w 30"/>
                <a:gd name="T1" fmla="*/ 0 w 30"/>
                <a:gd name="T2" fmla="*/ 3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0">
                  <a:moveTo>
                    <a:pt x="30" y="0"/>
                  </a:moveTo>
                  <a:lnTo>
                    <a:pt x="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2" name="Freeform 34">
              <a:extLst>
                <a:ext uri="{FF2B5EF4-FFF2-40B4-BE49-F238E27FC236}">
                  <a16:creationId xmlns:a16="http://schemas.microsoft.com/office/drawing/2014/main" id="{8A7216C4-8FE8-34CF-6A3A-278C37B566E3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5604" y="2596171"/>
              <a:ext cx="48314" cy="12673"/>
            </a:xfrm>
            <a:custGeom>
              <a:avLst/>
              <a:gdLst>
                <a:gd name="T0" fmla="*/ 61 w 61"/>
                <a:gd name="T1" fmla="*/ 0 h 16"/>
                <a:gd name="T2" fmla="*/ 61 w 61"/>
                <a:gd name="T3" fmla="*/ 0 h 16"/>
                <a:gd name="T4" fmla="*/ 0 w 61"/>
                <a:gd name="T5" fmla="*/ 16 h 16"/>
                <a:gd name="T6" fmla="*/ 0 w 61"/>
                <a:gd name="T7" fmla="*/ 16 h 16"/>
                <a:gd name="T8" fmla="*/ 61 w 61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6">
                  <a:moveTo>
                    <a:pt x="61" y="0"/>
                  </a:moveTo>
                  <a:lnTo>
                    <a:pt x="61" y="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3" name="Freeform 35">
              <a:extLst>
                <a:ext uri="{FF2B5EF4-FFF2-40B4-BE49-F238E27FC236}">
                  <a16:creationId xmlns:a16="http://schemas.microsoft.com/office/drawing/2014/main" id="{BE92E045-5468-3752-58A5-601FD79195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8975" y="2705472"/>
              <a:ext cx="132271" cy="36434"/>
            </a:xfrm>
            <a:custGeom>
              <a:avLst/>
              <a:gdLst>
                <a:gd name="T0" fmla="*/ 5 w 11"/>
                <a:gd name="T1" fmla="*/ 3 h 3"/>
                <a:gd name="T2" fmla="*/ 0 w 11"/>
                <a:gd name="T3" fmla="*/ 3 h 3"/>
                <a:gd name="T4" fmla="*/ 3 w 11"/>
                <a:gd name="T5" fmla="*/ 1 h 3"/>
                <a:gd name="T6" fmla="*/ 2 w 11"/>
                <a:gd name="T7" fmla="*/ 2 h 3"/>
                <a:gd name="T8" fmla="*/ 5 w 11"/>
                <a:gd name="T9" fmla="*/ 2 h 3"/>
                <a:gd name="T10" fmla="*/ 7 w 11"/>
                <a:gd name="T11" fmla="*/ 1 h 3"/>
                <a:gd name="T12" fmla="*/ 11 w 11"/>
                <a:gd name="T13" fmla="*/ 1 h 3"/>
                <a:gd name="T14" fmla="*/ 5 w 11"/>
                <a:gd name="T1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3">
                  <a:moveTo>
                    <a:pt x="5" y="3"/>
                  </a:moveTo>
                  <a:cubicBezTo>
                    <a:pt x="4" y="1"/>
                    <a:pt x="2" y="3"/>
                    <a:pt x="0" y="3"/>
                  </a:cubicBezTo>
                  <a:cubicBezTo>
                    <a:pt x="2" y="3"/>
                    <a:pt x="1" y="0"/>
                    <a:pt x="3" y="1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3" y="2"/>
                    <a:pt x="4" y="2"/>
                    <a:pt x="5" y="2"/>
                  </a:cubicBezTo>
                  <a:cubicBezTo>
                    <a:pt x="4" y="1"/>
                    <a:pt x="7" y="3"/>
                    <a:pt x="7" y="1"/>
                  </a:cubicBezTo>
                  <a:cubicBezTo>
                    <a:pt x="8" y="1"/>
                    <a:pt x="10" y="1"/>
                    <a:pt x="11" y="1"/>
                  </a:cubicBezTo>
                  <a:cubicBezTo>
                    <a:pt x="5" y="3"/>
                    <a:pt x="5" y="3"/>
                    <a:pt x="5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4" name="Freeform 36">
              <a:extLst>
                <a:ext uri="{FF2B5EF4-FFF2-40B4-BE49-F238E27FC236}">
                  <a16:creationId xmlns:a16="http://schemas.microsoft.com/office/drawing/2014/main" id="{6BCCD76E-B03E-2D31-46BA-E534AC9C50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5604" y="2766459"/>
              <a:ext cx="35642" cy="24553"/>
            </a:xfrm>
            <a:custGeom>
              <a:avLst/>
              <a:gdLst>
                <a:gd name="T0" fmla="*/ 1 w 3"/>
                <a:gd name="T1" fmla="*/ 2 h 2"/>
                <a:gd name="T2" fmla="*/ 0 w 3"/>
                <a:gd name="T3" fmla="*/ 1 h 2"/>
                <a:gd name="T4" fmla="*/ 3 w 3"/>
                <a:gd name="T5" fmla="*/ 1 h 2"/>
                <a:gd name="T6" fmla="*/ 1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3" y="0"/>
                    <a:pt x="3" y="1"/>
                  </a:cubicBezTo>
                  <a:cubicBezTo>
                    <a:pt x="3" y="2"/>
                    <a:pt x="1" y="0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5" name="Freeform 37">
              <a:extLst>
                <a:ext uri="{FF2B5EF4-FFF2-40B4-BE49-F238E27FC236}">
                  <a16:creationId xmlns:a16="http://schemas.microsoft.com/office/drawing/2014/main" id="{A6F081E2-45F8-2267-C606-2DCC19C91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680" y="3313758"/>
              <a:ext cx="23761" cy="0"/>
            </a:xfrm>
            <a:custGeom>
              <a:avLst/>
              <a:gdLst>
                <a:gd name="T0" fmla="*/ 30 w 30"/>
                <a:gd name="T1" fmla="*/ 0 w 30"/>
                <a:gd name="T2" fmla="*/ 3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0">
                  <a:moveTo>
                    <a:pt x="30" y="0"/>
                  </a:moveTo>
                  <a:lnTo>
                    <a:pt x="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6" name="Rectangle 38">
              <a:extLst>
                <a:ext uri="{FF2B5EF4-FFF2-40B4-BE49-F238E27FC236}">
                  <a16:creationId xmlns:a16="http://schemas.microsoft.com/office/drawing/2014/main" id="{3E9B09C4-2629-57A8-FA1C-8237F739E7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69365" y="2851999"/>
              <a:ext cx="1188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7" name="Freeform 39">
              <a:extLst>
                <a:ext uri="{FF2B5EF4-FFF2-40B4-BE49-F238E27FC236}">
                  <a16:creationId xmlns:a16="http://schemas.microsoft.com/office/drawing/2014/main" id="{BF044EA4-1C50-F92E-63C8-C83A7695F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7290" y="2596171"/>
              <a:ext cx="23761" cy="12673"/>
            </a:xfrm>
            <a:custGeom>
              <a:avLst/>
              <a:gdLst>
                <a:gd name="T0" fmla="*/ 30 w 30"/>
                <a:gd name="T1" fmla="*/ 0 h 16"/>
                <a:gd name="T2" fmla="*/ 30 w 30"/>
                <a:gd name="T3" fmla="*/ 16 h 16"/>
                <a:gd name="T4" fmla="*/ 0 w 30"/>
                <a:gd name="T5" fmla="*/ 16 h 16"/>
                <a:gd name="T6" fmla="*/ 0 w 30"/>
                <a:gd name="T7" fmla="*/ 16 h 16"/>
                <a:gd name="T8" fmla="*/ 30 w 3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30" y="0"/>
                  </a:moveTo>
                  <a:lnTo>
                    <a:pt x="3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8" name="Rectangle 40">
              <a:extLst>
                <a:ext uri="{FF2B5EF4-FFF2-40B4-BE49-F238E27FC236}">
                  <a16:creationId xmlns:a16="http://schemas.microsoft.com/office/drawing/2014/main" id="{B20B904C-E818-B3A7-A280-D748556F72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1051" y="2924867"/>
              <a:ext cx="24553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9" name="Freeform 41">
              <a:extLst>
                <a:ext uri="{FF2B5EF4-FFF2-40B4-BE49-F238E27FC236}">
                  <a16:creationId xmlns:a16="http://schemas.microsoft.com/office/drawing/2014/main" id="{8E473D3F-42E0-4F84-989A-6AE0BAD9B4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3529" y="2924867"/>
              <a:ext cx="35642" cy="11881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0 h 1"/>
                <a:gd name="T4" fmla="*/ 3 w 3"/>
                <a:gd name="T5" fmla="*/ 0 h 1"/>
                <a:gd name="T6" fmla="*/ 3 w 3"/>
                <a:gd name="T7" fmla="*/ 1 h 1"/>
                <a:gd name="T8" fmla="*/ 0 w 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1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0" name="Freeform 42">
              <a:extLst>
                <a:ext uri="{FF2B5EF4-FFF2-40B4-BE49-F238E27FC236}">
                  <a16:creationId xmlns:a16="http://schemas.microsoft.com/office/drawing/2014/main" id="{1DB1CD20-0892-1F70-56E9-F0FE0782C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3724" y="3398506"/>
              <a:ext cx="23761" cy="12673"/>
            </a:xfrm>
            <a:custGeom>
              <a:avLst/>
              <a:gdLst>
                <a:gd name="T0" fmla="*/ 30 w 30"/>
                <a:gd name="T1" fmla="*/ 0 h 16"/>
                <a:gd name="T2" fmla="*/ 0 w 30"/>
                <a:gd name="T3" fmla="*/ 16 h 16"/>
                <a:gd name="T4" fmla="*/ 30 w 30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16">
                  <a:moveTo>
                    <a:pt x="30" y="0"/>
                  </a:moveTo>
                  <a:lnTo>
                    <a:pt x="0" y="16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1" name="Freeform 43">
              <a:extLst>
                <a:ext uri="{FF2B5EF4-FFF2-40B4-BE49-F238E27FC236}">
                  <a16:creationId xmlns:a16="http://schemas.microsoft.com/office/drawing/2014/main" id="{9780D8A6-B661-B543-163E-26D81CA12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3724" y="3350192"/>
              <a:ext cx="23761" cy="11881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0"/>
                    <a:pt x="1" y="1"/>
                    <a:pt x="2" y="1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2" name="Rectangle 44">
              <a:extLst>
                <a:ext uri="{FF2B5EF4-FFF2-40B4-BE49-F238E27FC236}">
                  <a16:creationId xmlns:a16="http://schemas.microsoft.com/office/drawing/2014/main" id="{47499A45-3F70-C8C8-E9B0-1A24439A85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61648" y="2875761"/>
              <a:ext cx="23761" cy="12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3" name="Freeform 45">
              <a:extLst>
                <a:ext uri="{FF2B5EF4-FFF2-40B4-BE49-F238E27FC236}">
                  <a16:creationId xmlns:a16="http://schemas.microsoft.com/office/drawing/2014/main" id="{5B5AAD99-4778-C440-181A-691296EA8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1051" y="3373953"/>
              <a:ext cx="12673" cy="1267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4" name="Freeform 46">
              <a:extLst>
                <a:ext uri="{FF2B5EF4-FFF2-40B4-BE49-F238E27FC236}">
                  <a16:creationId xmlns:a16="http://schemas.microsoft.com/office/drawing/2014/main" id="{F771467A-DD82-939B-8625-53BF31A30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8975" y="3411179"/>
              <a:ext cx="84748" cy="23761"/>
            </a:xfrm>
            <a:custGeom>
              <a:avLst/>
              <a:gdLst>
                <a:gd name="T0" fmla="*/ 0 w 7"/>
                <a:gd name="T1" fmla="*/ 0 h 2"/>
                <a:gd name="T2" fmla="*/ 7 w 7"/>
                <a:gd name="T3" fmla="*/ 1 h 2"/>
                <a:gd name="T4" fmla="*/ 0 w 7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">
                  <a:moveTo>
                    <a:pt x="0" y="0"/>
                  </a:moveTo>
                  <a:cubicBezTo>
                    <a:pt x="2" y="0"/>
                    <a:pt x="5" y="0"/>
                    <a:pt x="7" y="1"/>
                  </a:cubicBezTo>
                  <a:cubicBezTo>
                    <a:pt x="5" y="2"/>
                    <a:pt x="2" y="0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5" name="Freeform 47">
              <a:extLst>
                <a:ext uri="{FF2B5EF4-FFF2-40B4-BE49-F238E27FC236}">
                  <a16:creationId xmlns:a16="http://schemas.microsoft.com/office/drawing/2014/main" id="{500BBCBF-B34F-B7B5-69D6-9CEFD2C04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1453" y="2730025"/>
              <a:ext cx="35642" cy="11881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1"/>
                    <a:pt x="2" y="0"/>
                    <a:pt x="3" y="0"/>
                  </a:cubicBezTo>
                  <a:cubicBezTo>
                    <a:pt x="3" y="1"/>
                    <a:pt x="1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6" name="Freeform 48">
              <a:extLst>
                <a:ext uri="{FF2B5EF4-FFF2-40B4-BE49-F238E27FC236}">
                  <a16:creationId xmlns:a16="http://schemas.microsoft.com/office/drawing/2014/main" id="{C2E44064-D578-75B5-96B9-A518015AD0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6900" y="2596171"/>
              <a:ext cx="24553" cy="12673"/>
            </a:xfrm>
            <a:custGeom>
              <a:avLst/>
              <a:gdLst>
                <a:gd name="T0" fmla="*/ 0 w 31"/>
                <a:gd name="T1" fmla="*/ 16 h 16"/>
                <a:gd name="T2" fmla="*/ 31 w 31"/>
                <a:gd name="T3" fmla="*/ 0 h 16"/>
                <a:gd name="T4" fmla="*/ 15 w 31"/>
                <a:gd name="T5" fmla="*/ 16 h 16"/>
                <a:gd name="T6" fmla="*/ 0 w 31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16">
                  <a:moveTo>
                    <a:pt x="0" y="16"/>
                  </a:moveTo>
                  <a:lnTo>
                    <a:pt x="31" y="0"/>
                  </a:lnTo>
                  <a:lnTo>
                    <a:pt x="15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7" name="Freeform 49">
              <a:extLst>
                <a:ext uri="{FF2B5EF4-FFF2-40B4-BE49-F238E27FC236}">
                  <a16:creationId xmlns:a16="http://schemas.microsoft.com/office/drawing/2014/main" id="{0763D765-BBF6-E088-6897-D884093FB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1453" y="2802893"/>
              <a:ext cx="23761" cy="24553"/>
            </a:xfrm>
            <a:custGeom>
              <a:avLst/>
              <a:gdLst>
                <a:gd name="T0" fmla="*/ 0 w 30"/>
                <a:gd name="T1" fmla="*/ 16 h 31"/>
                <a:gd name="T2" fmla="*/ 30 w 30"/>
                <a:gd name="T3" fmla="*/ 0 h 31"/>
                <a:gd name="T4" fmla="*/ 0 w 30"/>
                <a:gd name="T5" fmla="*/ 31 h 31"/>
                <a:gd name="T6" fmla="*/ 0 w 30"/>
                <a:gd name="T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31">
                  <a:moveTo>
                    <a:pt x="0" y="16"/>
                  </a:moveTo>
                  <a:lnTo>
                    <a:pt x="30" y="0"/>
                  </a:lnTo>
                  <a:lnTo>
                    <a:pt x="0" y="31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8" name="Freeform 50">
              <a:extLst>
                <a:ext uri="{FF2B5EF4-FFF2-40B4-BE49-F238E27FC236}">
                  <a16:creationId xmlns:a16="http://schemas.microsoft.com/office/drawing/2014/main" id="{779FAB78-8FEB-F325-90D1-6C44D0EB1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3334" y="2888433"/>
              <a:ext cx="23761" cy="11881"/>
            </a:xfrm>
            <a:custGeom>
              <a:avLst/>
              <a:gdLst>
                <a:gd name="T0" fmla="*/ 30 w 30"/>
                <a:gd name="T1" fmla="*/ 0 h 15"/>
                <a:gd name="T2" fmla="*/ 30 w 30"/>
                <a:gd name="T3" fmla="*/ 0 h 15"/>
                <a:gd name="T4" fmla="*/ 0 w 30"/>
                <a:gd name="T5" fmla="*/ 15 h 15"/>
                <a:gd name="T6" fmla="*/ 0 w 30"/>
                <a:gd name="T7" fmla="*/ 0 h 15"/>
                <a:gd name="T8" fmla="*/ 30 w 3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5">
                  <a:moveTo>
                    <a:pt x="30" y="0"/>
                  </a:moveTo>
                  <a:lnTo>
                    <a:pt x="30" y="0"/>
                  </a:lnTo>
                  <a:lnTo>
                    <a:pt x="0" y="15"/>
                  </a:lnTo>
                  <a:lnTo>
                    <a:pt x="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9" name="Freeform 51">
              <a:extLst>
                <a:ext uri="{FF2B5EF4-FFF2-40B4-BE49-F238E27FC236}">
                  <a16:creationId xmlns:a16="http://schemas.microsoft.com/office/drawing/2014/main" id="{FDA4A761-6A1D-A36C-B572-F41A4DB365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1453" y="3009615"/>
              <a:ext cx="47522" cy="24553"/>
            </a:xfrm>
            <a:custGeom>
              <a:avLst/>
              <a:gdLst>
                <a:gd name="T0" fmla="*/ 0 w 4"/>
                <a:gd name="T1" fmla="*/ 2 h 2"/>
                <a:gd name="T2" fmla="*/ 0 w 4"/>
                <a:gd name="T3" fmla="*/ 1 h 2"/>
                <a:gd name="T4" fmla="*/ 4 w 4"/>
                <a:gd name="T5" fmla="*/ 0 h 2"/>
                <a:gd name="T6" fmla="*/ 0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0" name="Freeform 52">
              <a:extLst>
                <a:ext uri="{FF2B5EF4-FFF2-40B4-BE49-F238E27FC236}">
                  <a16:creationId xmlns:a16="http://schemas.microsoft.com/office/drawing/2014/main" id="{67BEAE1C-8F49-E3B1-2B27-A6EF5A3E80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8975" y="3362073"/>
              <a:ext cx="36434" cy="24553"/>
            </a:xfrm>
            <a:custGeom>
              <a:avLst/>
              <a:gdLst>
                <a:gd name="T0" fmla="*/ 0 w 3"/>
                <a:gd name="T1" fmla="*/ 2 h 2"/>
                <a:gd name="T2" fmla="*/ 3 w 3"/>
                <a:gd name="T3" fmla="*/ 1 h 2"/>
                <a:gd name="T4" fmla="*/ 0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1" y="1"/>
                    <a:pt x="2" y="0"/>
                    <a:pt x="3" y="1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1" name="Freeform 53">
              <a:extLst>
                <a:ext uri="{FF2B5EF4-FFF2-40B4-BE49-F238E27FC236}">
                  <a16:creationId xmlns:a16="http://schemas.microsoft.com/office/drawing/2014/main" id="{553F3B79-0FAA-E9CB-3C2E-7FBC394770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1258" y="2596171"/>
              <a:ext cx="35642" cy="12673"/>
            </a:xfrm>
            <a:custGeom>
              <a:avLst/>
              <a:gdLst>
                <a:gd name="T0" fmla="*/ 0 w 45"/>
                <a:gd name="T1" fmla="*/ 16 h 16"/>
                <a:gd name="T2" fmla="*/ 45 w 45"/>
                <a:gd name="T3" fmla="*/ 0 h 16"/>
                <a:gd name="T4" fmla="*/ 15 w 45"/>
                <a:gd name="T5" fmla="*/ 16 h 16"/>
                <a:gd name="T6" fmla="*/ 0 w 45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16">
                  <a:moveTo>
                    <a:pt x="0" y="16"/>
                  </a:moveTo>
                  <a:lnTo>
                    <a:pt x="45" y="0"/>
                  </a:lnTo>
                  <a:lnTo>
                    <a:pt x="15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2" name="Freeform 54">
              <a:extLst>
                <a:ext uri="{FF2B5EF4-FFF2-40B4-BE49-F238E27FC236}">
                  <a16:creationId xmlns:a16="http://schemas.microsoft.com/office/drawing/2014/main" id="{796E0EE9-5B9A-F626-6B8F-838D607049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8780" y="2985062"/>
              <a:ext cx="36434" cy="12673"/>
            </a:xfrm>
            <a:custGeom>
              <a:avLst/>
              <a:gdLst>
                <a:gd name="T0" fmla="*/ 31 w 46"/>
                <a:gd name="T1" fmla="*/ 0 h 16"/>
                <a:gd name="T2" fmla="*/ 46 w 46"/>
                <a:gd name="T3" fmla="*/ 16 h 16"/>
                <a:gd name="T4" fmla="*/ 0 w 46"/>
                <a:gd name="T5" fmla="*/ 16 h 16"/>
                <a:gd name="T6" fmla="*/ 0 w 46"/>
                <a:gd name="T7" fmla="*/ 16 h 16"/>
                <a:gd name="T8" fmla="*/ 31 w 46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6">
                  <a:moveTo>
                    <a:pt x="31" y="0"/>
                  </a:moveTo>
                  <a:lnTo>
                    <a:pt x="46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3" name="Freeform 55">
              <a:extLst>
                <a:ext uri="{FF2B5EF4-FFF2-40B4-BE49-F238E27FC236}">
                  <a16:creationId xmlns:a16="http://schemas.microsoft.com/office/drawing/2014/main" id="{BE186B06-D811-094C-7BE4-0D9BC5696B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8780" y="3240891"/>
              <a:ext cx="48314" cy="11881"/>
            </a:xfrm>
            <a:custGeom>
              <a:avLst/>
              <a:gdLst>
                <a:gd name="T0" fmla="*/ 0 w 4"/>
                <a:gd name="T1" fmla="*/ 1 h 1"/>
                <a:gd name="T2" fmla="*/ 4 w 4"/>
                <a:gd name="T3" fmla="*/ 1 h 1"/>
                <a:gd name="T4" fmla="*/ 0 w 4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cubicBezTo>
                    <a:pt x="1" y="0"/>
                    <a:pt x="3" y="0"/>
                    <a:pt x="4" y="1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4" name="Freeform 56">
              <a:extLst>
                <a:ext uri="{FF2B5EF4-FFF2-40B4-BE49-F238E27FC236}">
                  <a16:creationId xmlns:a16="http://schemas.microsoft.com/office/drawing/2014/main" id="{30EF9C3C-F00F-B742-1076-25A50F4CC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3139" y="2900314"/>
              <a:ext cx="23761" cy="0"/>
            </a:xfrm>
            <a:custGeom>
              <a:avLst/>
              <a:gdLst>
                <a:gd name="T0" fmla="*/ 30 w 30"/>
                <a:gd name="T1" fmla="*/ 0 w 30"/>
                <a:gd name="T2" fmla="*/ 3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0">
                  <a:moveTo>
                    <a:pt x="30" y="0"/>
                  </a:moveTo>
                  <a:lnTo>
                    <a:pt x="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5" name="Freeform 57">
              <a:extLst>
                <a:ext uri="{FF2B5EF4-FFF2-40B4-BE49-F238E27FC236}">
                  <a16:creationId xmlns:a16="http://schemas.microsoft.com/office/drawing/2014/main" id="{C7C0F1E0-31B2-D4FA-ED6D-9A486DB00D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1258" y="2827446"/>
              <a:ext cx="11881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6" name="Freeform 58">
              <a:extLst>
                <a:ext uri="{FF2B5EF4-FFF2-40B4-BE49-F238E27FC236}">
                  <a16:creationId xmlns:a16="http://schemas.microsoft.com/office/drawing/2014/main" id="{ECDC0C47-1571-507D-E624-5CF4587B4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8586" y="3009615"/>
              <a:ext cx="48314" cy="24553"/>
            </a:xfrm>
            <a:custGeom>
              <a:avLst/>
              <a:gdLst>
                <a:gd name="T0" fmla="*/ 0 w 4"/>
                <a:gd name="T1" fmla="*/ 2 h 2"/>
                <a:gd name="T2" fmla="*/ 0 w 4"/>
                <a:gd name="T3" fmla="*/ 1 h 2"/>
                <a:gd name="T4" fmla="*/ 4 w 4"/>
                <a:gd name="T5" fmla="*/ 0 h 2"/>
                <a:gd name="T6" fmla="*/ 0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"/>
                    <a:pt x="1" y="1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7" name="Freeform 59">
              <a:extLst>
                <a:ext uri="{FF2B5EF4-FFF2-40B4-BE49-F238E27FC236}">
                  <a16:creationId xmlns:a16="http://schemas.microsoft.com/office/drawing/2014/main" id="{7266B02A-EDF4-CAD8-6C11-01F2AC3691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239" y="2948628"/>
              <a:ext cx="240780" cy="97421"/>
            </a:xfrm>
            <a:custGeom>
              <a:avLst/>
              <a:gdLst>
                <a:gd name="T0" fmla="*/ 19 w 20"/>
                <a:gd name="T1" fmla="*/ 1 h 8"/>
                <a:gd name="T2" fmla="*/ 20 w 20"/>
                <a:gd name="T3" fmla="*/ 2 h 8"/>
                <a:gd name="T4" fmla="*/ 14 w 20"/>
                <a:gd name="T5" fmla="*/ 4 h 8"/>
                <a:gd name="T6" fmla="*/ 7 w 20"/>
                <a:gd name="T7" fmla="*/ 5 h 8"/>
                <a:gd name="T8" fmla="*/ 0 w 20"/>
                <a:gd name="T9" fmla="*/ 8 h 8"/>
                <a:gd name="T10" fmla="*/ 18 w 20"/>
                <a:gd name="T11" fmla="*/ 2 h 8"/>
                <a:gd name="T12" fmla="*/ 20 w 20"/>
                <a:gd name="T13" fmla="*/ 0 h 8"/>
                <a:gd name="T14" fmla="*/ 19 w 20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8">
                  <a:moveTo>
                    <a:pt x="19" y="1"/>
                  </a:moveTo>
                  <a:cubicBezTo>
                    <a:pt x="20" y="2"/>
                    <a:pt x="20" y="2"/>
                    <a:pt x="20" y="2"/>
                  </a:cubicBezTo>
                  <a:cubicBezTo>
                    <a:pt x="18" y="1"/>
                    <a:pt x="17" y="6"/>
                    <a:pt x="14" y="4"/>
                  </a:cubicBezTo>
                  <a:cubicBezTo>
                    <a:pt x="12" y="5"/>
                    <a:pt x="10" y="4"/>
                    <a:pt x="7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5" y="5"/>
                    <a:pt x="12" y="5"/>
                    <a:pt x="18" y="2"/>
                  </a:cubicBezTo>
                  <a:cubicBezTo>
                    <a:pt x="18" y="0"/>
                    <a:pt x="20" y="1"/>
                    <a:pt x="20" y="0"/>
                  </a:cubicBezTo>
                  <a:lnTo>
                    <a:pt x="19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8" name="Rectangle 60">
              <a:extLst>
                <a:ext uri="{FF2B5EF4-FFF2-40B4-BE49-F238E27FC236}">
                  <a16:creationId xmlns:a16="http://schemas.microsoft.com/office/drawing/2014/main" id="{9DD8415C-7F99-B24F-2E56-912E370435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3139" y="3082483"/>
              <a:ext cx="1188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9" name="Freeform 61">
              <a:extLst>
                <a:ext uri="{FF2B5EF4-FFF2-40B4-BE49-F238E27FC236}">
                  <a16:creationId xmlns:a16="http://schemas.microsoft.com/office/drawing/2014/main" id="{F8DF0924-87B1-1209-4CE9-DAD8FA1C0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8586" y="2948628"/>
              <a:ext cx="12673" cy="24553"/>
            </a:xfrm>
            <a:custGeom>
              <a:avLst/>
              <a:gdLst>
                <a:gd name="T0" fmla="*/ 0 w 1"/>
                <a:gd name="T1" fmla="*/ 2 h 2"/>
                <a:gd name="T2" fmla="*/ 0 w 1"/>
                <a:gd name="T3" fmla="*/ 0 h 2"/>
                <a:gd name="T4" fmla="*/ 1 w 1"/>
                <a:gd name="T5" fmla="*/ 2 h 2"/>
                <a:gd name="T6" fmla="*/ 0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2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0" name="Freeform 62">
              <a:extLst>
                <a:ext uri="{FF2B5EF4-FFF2-40B4-BE49-F238E27FC236}">
                  <a16:creationId xmlns:a16="http://schemas.microsoft.com/office/drawing/2014/main" id="{C79A8389-539A-7AB7-C750-B8980BCEC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2944" y="2912194"/>
              <a:ext cx="23761" cy="12673"/>
            </a:xfrm>
            <a:custGeom>
              <a:avLst/>
              <a:gdLst>
                <a:gd name="T0" fmla="*/ 30 w 30"/>
                <a:gd name="T1" fmla="*/ 0 h 16"/>
                <a:gd name="T2" fmla="*/ 30 w 30"/>
                <a:gd name="T3" fmla="*/ 0 h 16"/>
                <a:gd name="T4" fmla="*/ 15 w 30"/>
                <a:gd name="T5" fmla="*/ 16 h 16"/>
                <a:gd name="T6" fmla="*/ 0 w 30"/>
                <a:gd name="T7" fmla="*/ 0 h 16"/>
                <a:gd name="T8" fmla="*/ 30 w 3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30" y="0"/>
                  </a:moveTo>
                  <a:lnTo>
                    <a:pt x="30" y="0"/>
                  </a:lnTo>
                  <a:lnTo>
                    <a:pt x="15" y="16"/>
                  </a:lnTo>
                  <a:lnTo>
                    <a:pt x="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1" name="Freeform 63">
              <a:extLst>
                <a:ext uri="{FF2B5EF4-FFF2-40B4-BE49-F238E27FC236}">
                  <a16:creationId xmlns:a16="http://schemas.microsoft.com/office/drawing/2014/main" id="{B9157F6E-5C8F-C4A0-8C88-345814261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2944" y="3082483"/>
              <a:ext cx="48314" cy="12673"/>
            </a:xfrm>
            <a:custGeom>
              <a:avLst/>
              <a:gdLst>
                <a:gd name="T0" fmla="*/ 0 w 61"/>
                <a:gd name="T1" fmla="*/ 16 h 16"/>
                <a:gd name="T2" fmla="*/ 61 w 61"/>
                <a:gd name="T3" fmla="*/ 0 h 16"/>
                <a:gd name="T4" fmla="*/ 45 w 61"/>
                <a:gd name="T5" fmla="*/ 16 h 16"/>
                <a:gd name="T6" fmla="*/ 0 w 61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1" h="16">
                  <a:moveTo>
                    <a:pt x="0" y="16"/>
                  </a:moveTo>
                  <a:lnTo>
                    <a:pt x="61" y="0"/>
                  </a:lnTo>
                  <a:lnTo>
                    <a:pt x="45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2" name="Freeform 64">
              <a:extLst>
                <a:ext uri="{FF2B5EF4-FFF2-40B4-BE49-F238E27FC236}">
                  <a16:creationId xmlns:a16="http://schemas.microsoft.com/office/drawing/2014/main" id="{8D9B68A6-1CCF-798F-4529-76C02A35D7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4824" y="3034168"/>
              <a:ext cx="23761" cy="11881"/>
            </a:xfrm>
            <a:custGeom>
              <a:avLst/>
              <a:gdLst>
                <a:gd name="T0" fmla="*/ 0 w 30"/>
                <a:gd name="T1" fmla="*/ 15 h 15"/>
                <a:gd name="T2" fmla="*/ 30 w 30"/>
                <a:gd name="T3" fmla="*/ 0 h 15"/>
                <a:gd name="T4" fmla="*/ 30 w 30"/>
                <a:gd name="T5" fmla="*/ 15 h 15"/>
                <a:gd name="T6" fmla="*/ 0 w 30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5">
                  <a:moveTo>
                    <a:pt x="0" y="15"/>
                  </a:moveTo>
                  <a:lnTo>
                    <a:pt x="30" y="0"/>
                  </a:lnTo>
                  <a:lnTo>
                    <a:pt x="3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3" name="Freeform 65">
              <a:extLst>
                <a:ext uri="{FF2B5EF4-FFF2-40B4-BE49-F238E27FC236}">
                  <a16:creationId xmlns:a16="http://schemas.microsoft.com/office/drawing/2014/main" id="{108AC6B9-2417-CC0D-8A94-F98B5FA61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8391" y="3277325"/>
              <a:ext cx="96629" cy="23761"/>
            </a:xfrm>
            <a:custGeom>
              <a:avLst/>
              <a:gdLst>
                <a:gd name="T0" fmla="*/ 6 w 8"/>
                <a:gd name="T1" fmla="*/ 2 h 2"/>
                <a:gd name="T2" fmla="*/ 0 w 8"/>
                <a:gd name="T3" fmla="*/ 1 h 2"/>
                <a:gd name="T4" fmla="*/ 6 w 8"/>
                <a:gd name="T5" fmla="*/ 1 h 2"/>
                <a:gd name="T6" fmla="*/ 5 w 8"/>
                <a:gd name="T7" fmla="*/ 2 h 2"/>
                <a:gd name="T8" fmla="*/ 8 w 8"/>
                <a:gd name="T9" fmla="*/ 2 h 2"/>
                <a:gd name="T10" fmla="*/ 6 w 8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5" y="2"/>
                    <a:pt x="2" y="1"/>
                    <a:pt x="0" y="1"/>
                  </a:cubicBezTo>
                  <a:cubicBezTo>
                    <a:pt x="2" y="0"/>
                    <a:pt x="5" y="2"/>
                    <a:pt x="6" y="1"/>
                  </a:cubicBezTo>
                  <a:cubicBezTo>
                    <a:pt x="5" y="1"/>
                    <a:pt x="5" y="1"/>
                    <a:pt x="5" y="2"/>
                  </a:cubicBezTo>
                  <a:cubicBezTo>
                    <a:pt x="8" y="2"/>
                    <a:pt x="8" y="2"/>
                    <a:pt x="8" y="2"/>
                  </a:cubicBezTo>
                  <a:lnTo>
                    <a:pt x="6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4" name="Freeform 66">
              <a:extLst>
                <a:ext uri="{FF2B5EF4-FFF2-40B4-BE49-F238E27FC236}">
                  <a16:creationId xmlns:a16="http://schemas.microsoft.com/office/drawing/2014/main" id="{86BA3927-4C26-50D6-79ED-CDDBE86A3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8586" y="3411179"/>
              <a:ext cx="36434" cy="0"/>
            </a:xfrm>
            <a:custGeom>
              <a:avLst/>
              <a:gdLst>
                <a:gd name="T0" fmla="*/ 46 w 46"/>
                <a:gd name="T1" fmla="*/ 0 w 46"/>
                <a:gd name="T2" fmla="*/ 46 w 4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6">
                  <a:moveTo>
                    <a:pt x="46" y="0"/>
                  </a:moveTo>
                  <a:lnTo>
                    <a:pt x="0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5" name="Rectangle 67">
              <a:extLst>
                <a:ext uri="{FF2B5EF4-FFF2-40B4-BE49-F238E27FC236}">
                  <a16:creationId xmlns:a16="http://schemas.microsoft.com/office/drawing/2014/main" id="{2A119656-92AD-EF48-567D-5A554D2C6E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1453" y="3836504"/>
              <a:ext cx="1188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6" name="Freeform 68">
              <a:extLst>
                <a:ext uri="{FF2B5EF4-FFF2-40B4-BE49-F238E27FC236}">
                  <a16:creationId xmlns:a16="http://schemas.microsoft.com/office/drawing/2014/main" id="{CF5DE303-10E8-46D1-35A0-23F241106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8586" y="3325639"/>
              <a:ext cx="24553" cy="11881"/>
            </a:xfrm>
            <a:custGeom>
              <a:avLst/>
              <a:gdLst>
                <a:gd name="T0" fmla="*/ 1 w 2"/>
                <a:gd name="T1" fmla="*/ 1 h 1"/>
                <a:gd name="T2" fmla="*/ 1 w 2"/>
                <a:gd name="T3" fmla="*/ 1 h 1"/>
                <a:gd name="T4" fmla="*/ 0 w 2"/>
                <a:gd name="T5" fmla="*/ 0 h 1"/>
                <a:gd name="T6" fmla="*/ 1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7" name="Freeform 69">
              <a:extLst>
                <a:ext uri="{FF2B5EF4-FFF2-40B4-BE49-F238E27FC236}">
                  <a16:creationId xmlns:a16="http://schemas.microsoft.com/office/drawing/2014/main" id="{5E4D24DC-E473-109E-FAEA-C92CC9FCC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4629" y="2766459"/>
              <a:ext cx="23761" cy="12673"/>
            </a:xfrm>
            <a:custGeom>
              <a:avLst/>
              <a:gdLst>
                <a:gd name="T0" fmla="*/ 30 w 30"/>
                <a:gd name="T1" fmla="*/ 0 h 16"/>
                <a:gd name="T2" fmla="*/ 0 w 30"/>
                <a:gd name="T3" fmla="*/ 16 h 16"/>
                <a:gd name="T4" fmla="*/ 30 w 30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16">
                  <a:moveTo>
                    <a:pt x="30" y="0"/>
                  </a:moveTo>
                  <a:lnTo>
                    <a:pt x="0" y="16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8" name="Freeform 70">
              <a:extLst>
                <a:ext uri="{FF2B5EF4-FFF2-40B4-BE49-F238E27FC236}">
                  <a16:creationId xmlns:a16="http://schemas.microsoft.com/office/drawing/2014/main" id="{D74C8F4F-6A33-A436-77F5-8F2140AB5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56510" y="3046049"/>
              <a:ext cx="48314" cy="24553"/>
            </a:xfrm>
            <a:custGeom>
              <a:avLst/>
              <a:gdLst>
                <a:gd name="T0" fmla="*/ 0 w 4"/>
                <a:gd name="T1" fmla="*/ 1 h 2"/>
                <a:gd name="T2" fmla="*/ 4 w 4"/>
                <a:gd name="T3" fmla="*/ 0 h 2"/>
                <a:gd name="T4" fmla="*/ 0 w 4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0" y="1"/>
                  </a:moveTo>
                  <a:cubicBezTo>
                    <a:pt x="0" y="0"/>
                    <a:pt x="2" y="1"/>
                    <a:pt x="4" y="0"/>
                  </a:cubicBezTo>
                  <a:cubicBezTo>
                    <a:pt x="3" y="2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9" name="Freeform 71">
              <a:extLst>
                <a:ext uri="{FF2B5EF4-FFF2-40B4-BE49-F238E27FC236}">
                  <a16:creationId xmlns:a16="http://schemas.microsoft.com/office/drawing/2014/main" id="{B30EB566-EFA5-AB42-A88D-0C65254E3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2944" y="3447613"/>
              <a:ext cx="48314" cy="11881"/>
            </a:xfrm>
            <a:custGeom>
              <a:avLst/>
              <a:gdLst>
                <a:gd name="T0" fmla="*/ 61 w 61"/>
                <a:gd name="T1" fmla="*/ 0 h 15"/>
                <a:gd name="T2" fmla="*/ 61 w 61"/>
                <a:gd name="T3" fmla="*/ 0 h 15"/>
                <a:gd name="T4" fmla="*/ 0 w 61"/>
                <a:gd name="T5" fmla="*/ 15 h 15"/>
                <a:gd name="T6" fmla="*/ 0 w 61"/>
                <a:gd name="T7" fmla="*/ 15 h 15"/>
                <a:gd name="T8" fmla="*/ 61 w 61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5">
                  <a:moveTo>
                    <a:pt x="61" y="0"/>
                  </a:moveTo>
                  <a:lnTo>
                    <a:pt x="61" y="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0" name="Freeform 72">
              <a:extLst>
                <a:ext uri="{FF2B5EF4-FFF2-40B4-BE49-F238E27FC236}">
                  <a16:creationId xmlns:a16="http://schemas.microsoft.com/office/drawing/2014/main" id="{88297C44-7EB2-3E32-271A-E44A2C48C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5019" y="3823832"/>
              <a:ext cx="23761" cy="12673"/>
            </a:xfrm>
            <a:custGeom>
              <a:avLst/>
              <a:gdLst>
                <a:gd name="T0" fmla="*/ 0 w 30"/>
                <a:gd name="T1" fmla="*/ 0 h 16"/>
                <a:gd name="T2" fmla="*/ 30 w 30"/>
                <a:gd name="T3" fmla="*/ 16 h 16"/>
                <a:gd name="T4" fmla="*/ 0 w 30"/>
                <a:gd name="T5" fmla="*/ 16 h 16"/>
                <a:gd name="T6" fmla="*/ 0 w 30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6">
                  <a:moveTo>
                    <a:pt x="0" y="0"/>
                  </a:moveTo>
                  <a:lnTo>
                    <a:pt x="30" y="16"/>
                  </a:lnTo>
                  <a:lnTo>
                    <a:pt x="0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1" name="Freeform 73">
              <a:extLst>
                <a:ext uri="{FF2B5EF4-FFF2-40B4-BE49-F238E27FC236}">
                  <a16:creationId xmlns:a16="http://schemas.microsoft.com/office/drawing/2014/main" id="{4D78695C-94F5-EC85-14F3-2FC4E0BC7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8196" y="3070602"/>
              <a:ext cx="84748" cy="48314"/>
            </a:xfrm>
            <a:custGeom>
              <a:avLst/>
              <a:gdLst>
                <a:gd name="T0" fmla="*/ 3 w 7"/>
                <a:gd name="T1" fmla="*/ 3 h 4"/>
                <a:gd name="T2" fmla="*/ 0 w 7"/>
                <a:gd name="T3" fmla="*/ 4 h 4"/>
                <a:gd name="T4" fmla="*/ 3 w 7"/>
                <a:gd name="T5" fmla="*/ 3 h 4"/>
                <a:gd name="T6" fmla="*/ 2 w 7"/>
                <a:gd name="T7" fmla="*/ 3 h 4"/>
                <a:gd name="T8" fmla="*/ 2 w 7"/>
                <a:gd name="T9" fmla="*/ 2 h 4"/>
                <a:gd name="T10" fmla="*/ 1 w 7"/>
                <a:gd name="T11" fmla="*/ 2 h 4"/>
                <a:gd name="T12" fmla="*/ 7 w 7"/>
                <a:gd name="T13" fmla="*/ 2 h 4"/>
                <a:gd name="T14" fmla="*/ 4 w 7"/>
                <a:gd name="T15" fmla="*/ 4 h 4"/>
                <a:gd name="T16" fmla="*/ 3 w 7"/>
                <a:gd name="T1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3" y="4"/>
                    <a:pt x="1" y="4"/>
                    <a:pt x="0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2" y="0"/>
                    <a:pt x="4" y="2"/>
                    <a:pt x="7" y="2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2" name="Freeform 74">
              <a:extLst>
                <a:ext uri="{FF2B5EF4-FFF2-40B4-BE49-F238E27FC236}">
                  <a16:creationId xmlns:a16="http://schemas.microsoft.com/office/drawing/2014/main" id="{0DD54423-9DC5-4F28-B990-FDB57E5FF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2749" y="2815566"/>
              <a:ext cx="23761" cy="23761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0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0" y="2"/>
                    <a:pt x="0" y="0"/>
                    <a:pt x="0" y="0"/>
                  </a:cubicBezTo>
                  <a:cubicBezTo>
                    <a:pt x="0" y="1"/>
                    <a:pt x="1" y="1"/>
                    <a:pt x="2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3" name="Freeform 75">
              <a:extLst>
                <a:ext uri="{FF2B5EF4-FFF2-40B4-BE49-F238E27FC236}">
                  <a16:creationId xmlns:a16="http://schemas.microsoft.com/office/drawing/2014/main" id="{496E7498-2A33-24AA-BF5F-9DE5A43DE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0868" y="2973181"/>
              <a:ext cx="47522" cy="11881"/>
            </a:xfrm>
            <a:custGeom>
              <a:avLst/>
              <a:gdLst>
                <a:gd name="T0" fmla="*/ 0 w 4"/>
                <a:gd name="T1" fmla="*/ 1 h 1"/>
                <a:gd name="T2" fmla="*/ 0 w 4"/>
                <a:gd name="T3" fmla="*/ 0 h 1"/>
                <a:gd name="T4" fmla="*/ 4 w 4"/>
                <a:gd name="T5" fmla="*/ 0 h 1"/>
                <a:gd name="T6" fmla="*/ 0 w 4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3" y="0"/>
                    <a:pt x="2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4" name="Freeform 76">
              <a:extLst>
                <a:ext uri="{FF2B5EF4-FFF2-40B4-BE49-F238E27FC236}">
                  <a16:creationId xmlns:a16="http://schemas.microsoft.com/office/drawing/2014/main" id="{4D42FFBD-1816-E43F-9F44-384AF23E6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4629" y="2888433"/>
              <a:ext cx="11881" cy="11881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5" name="Freeform 77">
              <a:extLst>
                <a:ext uri="{FF2B5EF4-FFF2-40B4-BE49-F238E27FC236}">
                  <a16:creationId xmlns:a16="http://schemas.microsoft.com/office/drawing/2014/main" id="{9E038A7F-7472-2F71-0075-E82D47C3F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4629" y="2948628"/>
              <a:ext cx="11881" cy="12673"/>
            </a:xfrm>
            <a:custGeom>
              <a:avLst/>
              <a:gdLst>
                <a:gd name="T0" fmla="*/ 0 w 15"/>
                <a:gd name="T1" fmla="*/ 16 h 16"/>
                <a:gd name="T2" fmla="*/ 15 w 15"/>
                <a:gd name="T3" fmla="*/ 0 h 16"/>
                <a:gd name="T4" fmla="*/ 0 w 15"/>
                <a:gd name="T5" fmla="*/ 16 h 16"/>
                <a:gd name="T6" fmla="*/ 0 w 15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0" y="16"/>
                  </a:moveTo>
                  <a:lnTo>
                    <a:pt x="15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6" name="Freeform 78">
              <a:extLst>
                <a:ext uri="{FF2B5EF4-FFF2-40B4-BE49-F238E27FC236}">
                  <a16:creationId xmlns:a16="http://schemas.microsoft.com/office/drawing/2014/main" id="{F2055F28-A81C-4787-7659-C24436623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1063" y="3423060"/>
              <a:ext cx="23761" cy="0"/>
            </a:xfrm>
            <a:custGeom>
              <a:avLst/>
              <a:gdLst>
                <a:gd name="T0" fmla="*/ 30 w 30"/>
                <a:gd name="T1" fmla="*/ 0 w 30"/>
                <a:gd name="T2" fmla="*/ 3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0">
                  <a:moveTo>
                    <a:pt x="30" y="0"/>
                  </a:moveTo>
                  <a:lnTo>
                    <a:pt x="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7" name="Freeform 79">
              <a:extLst>
                <a:ext uri="{FF2B5EF4-FFF2-40B4-BE49-F238E27FC236}">
                  <a16:creationId xmlns:a16="http://schemas.microsoft.com/office/drawing/2014/main" id="{F6FAF5EB-B1A4-46DA-94A3-14AD1210C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8196" y="3021496"/>
              <a:ext cx="36434" cy="12673"/>
            </a:xfrm>
            <a:custGeom>
              <a:avLst/>
              <a:gdLst>
                <a:gd name="T0" fmla="*/ 0 w 46"/>
                <a:gd name="T1" fmla="*/ 16 h 16"/>
                <a:gd name="T2" fmla="*/ 46 w 46"/>
                <a:gd name="T3" fmla="*/ 0 h 16"/>
                <a:gd name="T4" fmla="*/ 31 w 46"/>
                <a:gd name="T5" fmla="*/ 16 h 16"/>
                <a:gd name="T6" fmla="*/ 0 w 46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16">
                  <a:moveTo>
                    <a:pt x="0" y="16"/>
                  </a:moveTo>
                  <a:lnTo>
                    <a:pt x="46" y="0"/>
                  </a:lnTo>
                  <a:lnTo>
                    <a:pt x="31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8" name="Freeform 80">
              <a:extLst>
                <a:ext uri="{FF2B5EF4-FFF2-40B4-BE49-F238E27FC236}">
                  <a16:creationId xmlns:a16="http://schemas.microsoft.com/office/drawing/2014/main" id="{C0315F2F-B2B7-1DAA-2D50-AE03F9CFBB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0478" y="3447613"/>
              <a:ext cx="180585" cy="60195"/>
            </a:xfrm>
            <a:custGeom>
              <a:avLst/>
              <a:gdLst>
                <a:gd name="T0" fmla="*/ 6 w 15"/>
                <a:gd name="T1" fmla="*/ 3 h 5"/>
                <a:gd name="T2" fmla="*/ 4 w 15"/>
                <a:gd name="T3" fmla="*/ 4 h 5"/>
                <a:gd name="T4" fmla="*/ 4 w 15"/>
                <a:gd name="T5" fmla="*/ 2 h 5"/>
                <a:gd name="T6" fmla="*/ 1 w 15"/>
                <a:gd name="T7" fmla="*/ 3 h 5"/>
                <a:gd name="T8" fmla="*/ 0 w 15"/>
                <a:gd name="T9" fmla="*/ 2 h 5"/>
                <a:gd name="T10" fmla="*/ 1 w 15"/>
                <a:gd name="T11" fmla="*/ 2 h 5"/>
                <a:gd name="T12" fmla="*/ 2 w 15"/>
                <a:gd name="T13" fmla="*/ 3 h 5"/>
                <a:gd name="T14" fmla="*/ 10 w 15"/>
                <a:gd name="T15" fmla="*/ 2 h 5"/>
                <a:gd name="T16" fmla="*/ 15 w 15"/>
                <a:gd name="T17" fmla="*/ 2 h 5"/>
                <a:gd name="T18" fmla="*/ 6 w 15"/>
                <a:gd name="T1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5">
                  <a:moveTo>
                    <a:pt x="6" y="3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5" y="2"/>
                    <a:pt x="4" y="2"/>
                  </a:cubicBezTo>
                  <a:cubicBezTo>
                    <a:pt x="4" y="4"/>
                    <a:pt x="2" y="3"/>
                    <a:pt x="1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3"/>
                    <a:pt x="2" y="3"/>
                  </a:cubicBezTo>
                  <a:cubicBezTo>
                    <a:pt x="3" y="0"/>
                    <a:pt x="7" y="2"/>
                    <a:pt x="10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2" y="3"/>
                    <a:pt x="9" y="5"/>
                    <a:pt x="6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9" name="Freeform 81">
              <a:extLst>
                <a:ext uri="{FF2B5EF4-FFF2-40B4-BE49-F238E27FC236}">
                  <a16:creationId xmlns:a16="http://schemas.microsoft.com/office/drawing/2014/main" id="{AF2FD665-1604-4051-7B50-F3CDC4B4A2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4434" y="3289205"/>
              <a:ext cx="60195" cy="24553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4 w 5"/>
                <a:gd name="T5" fmla="*/ 0 h 2"/>
                <a:gd name="T6" fmla="*/ 3 w 5"/>
                <a:gd name="T7" fmla="*/ 0 h 2"/>
                <a:gd name="T8" fmla="*/ 5 w 5"/>
                <a:gd name="T9" fmla="*/ 0 h 2"/>
                <a:gd name="T10" fmla="*/ 4 w 5"/>
                <a:gd name="T11" fmla="*/ 1 h 2"/>
                <a:gd name="T12" fmla="*/ 5 w 5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4" y="2"/>
                    <a:pt x="2" y="1"/>
                    <a:pt x="0" y="1"/>
                  </a:cubicBezTo>
                  <a:cubicBezTo>
                    <a:pt x="1" y="0"/>
                    <a:pt x="3" y="2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4" y="1"/>
                    <a:pt x="4" y="1"/>
                  </a:cubicBezTo>
                  <a:lnTo>
                    <a:pt x="5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0" name="Freeform 82">
              <a:extLst>
                <a:ext uri="{FF2B5EF4-FFF2-40B4-BE49-F238E27FC236}">
                  <a16:creationId xmlns:a16="http://schemas.microsoft.com/office/drawing/2014/main" id="{9BADD478-4A7A-6D36-E5D2-63A52BCC0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0868" y="3398506"/>
              <a:ext cx="47522" cy="72868"/>
            </a:xfrm>
            <a:custGeom>
              <a:avLst/>
              <a:gdLst>
                <a:gd name="T0" fmla="*/ 4 w 4"/>
                <a:gd name="T1" fmla="*/ 3 h 6"/>
                <a:gd name="T2" fmla="*/ 2 w 4"/>
                <a:gd name="T3" fmla="*/ 4 h 6"/>
                <a:gd name="T4" fmla="*/ 0 w 4"/>
                <a:gd name="T5" fmla="*/ 4 h 6"/>
                <a:gd name="T6" fmla="*/ 4 w 4"/>
                <a:gd name="T7" fmla="*/ 2 h 6"/>
                <a:gd name="T8" fmla="*/ 4 w 4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4" y="3"/>
                  </a:moveTo>
                  <a:cubicBezTo>
                    <a:pt x="3" y="3"/>
                    <a:pt x="2" y="4"/>
                    <a:pt x="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6"/>
                    <a:pt x="1" y="0"/>
                    <a:pt x="4" y="2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1" name="Rectangle 83">
              <a:extLst>
                <a:ext uri="{FF2B5EF4-FFF2-40B4-BE49-F238E27FC236}">
                  <a16:creationId xmlns:a16="http://schemas.microsoft.com/office/drawing/2014/main" id="{8DD79AC7-EBCB-22D5-1CD3-FB78AAEBCC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36120" y="2608843"/>
              <a:ext cx="24553" cy="1188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2" name="Freeform 84">
              <a:extLst>
                <a:ext uri="{FF2B5EF4-FFF2-40B4-BE49-F238E27FC236}">
                  <a16:creationId xmlns:a16="http://schemas.microsoft.com/office/drawing/2014/main" id="{BA825F81-70E7-8FE1-CE8D-71BD06C7C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4044" y="2961301"/>
              <a:ext cx="144151" cy="60195"/>
            </a:xfrm>
            <a:custGeom>
              <a:avLst/>
              <a:gdLst>
                <a:gd name="T0" fmla="*/ 11 w 12"/>
                <a:gd name="T1" fmla="*/ 0 h 5"/>
                <a:gd name="T2" fmla="*/ 10 w 12"/>
                <a:gd name="T3" fmla="*/ 2 h 5"/>
                <a:gd name="T4" fmla="*/ 11 w 12"/>
                <a:gd name="T5" fmla="*/ 2 h 5"/>
                <a:gd name="T6" fmla="*/ 2 w 12"/>
                <a:gd name="T7" fmla="*/ 3 h 5"/>
                <a:gd name="T8" fmla="*/ 2 w 12"/>
                <a:gd name="T9" fmla="*/ 4 h 5"/>
                <a:gd name="T10" fmla="*/ 3 w 12"/>
                <a:gd name="T11" fmla="*/ 4 h 5"/>
                <a:gd name="T12" fmla="*/ 3 w 12"/>
                <a:gd name="T13" fmla="*/ 5 h 5"/>
                <a:gd name="T14" fmla="*/ 0 w 12"/>
                <a:gd name="T15" fmla="*/ 4 h 5"/>
                <a:gd name="T16" fmla="*/ 8 w 12"/>
                <a:gd name="T17" fmla="*/ 2 h 5"/>
                <a:gd name="T18" fmla="*/ 9 w 12"/>
                <a:gd name="T19" fmla="*/ 1 h 5"/>
                <a:gd name="T20" fmla="*/ 8 w 12"/>
                <a:gd name="T21" fmla="*/ 2 h 5"/>
                <a:gd name="T22" fmla="*/ 9 w 12"/>
                <a:gd name="T23" fmla="*/ 3 h 5"/>
                <a:gd name="T24" fmla="*/ 10 w 12"/>
                <a:gd name="T25" fmla="*/ 0 h 5"/>
                <a:gd name="T26" fmla="*/ 12 w 12"/>
                <a:gd name="T27" fmla="*/ 1 h 5"/>
                <a:gd name="T28" fmla="*/ 11 w 12"/>
                <a:gd name="T2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5">
                  <a:moveTo>
                    <a:pt x="11" y="0"/>
                  </a:moveTo>
                  <a:cubicBezTo>
                    <a:pt x="10" y="1"/>
                    <a:pt x="10" y="1"/>
                    <a:pt x="1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8" y="3"/>
                    <a:pt x="5" y="5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4"/>
                    <a:pt x="1" y="4"/>
                    <a:pt x="0" y="4"/>
                  </a:cubicBezTo>
                  <a:cubicBezTo>
                    <a:pt x="2" y="2"/>
                    <a:pt x="7" y="4"/>
                    <a:pt x="8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8" y="2"/>
                    <a:pt x="8" y="2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10" y="2"/>
                    <a:pt x="9" y="1"/>
                    <a:pt x="10" y="0"/>
                  </a:cubicBezTo>
                  <a:cubicBezTo>
                    <a:pt x="11" y="0"/>
                    <a:pt x="11" y="1"/>
                    <a:pt x="12" y="1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3" name="Freeform 85">
              <a:extLst>
                <a:ext uri="{FF2B5EF4-FFF2-40B4-BE49-F238E27FC236}">
                  <a16:creationId xmlns:a16="http://schemas.microsoft.com/office/drawing/2014/main" id="{2328A656-1A25-BA80-0D89-D0D13C12C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8793" y="3070602"/>
              <a:ext cx="59403" cy="24553"/>
            </a:xfrm>
            <a:custGeom>
              <a:avLst/>
              <a:gdLst>
                <a:gd name="T0" fmla="*/ 0 w 5"/>
                <a:gd name="T1" fmla="*/ 2 h 2"/>
                <a:gd name="T2" fmla="*/ 5 w 5"/>
                <a:gd name="T3" fmla="*/ 0 h 2"/>
                <a:gd name="T4" fmla="*/ 0 w 5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2"/>
                  </a:moveTo>
                  <a:cubicBezTo>
                    <a:pt x="1" y="1"/>
                    <a:pt x="3" y="0"/>
                    <a:pt x="5" y="0"/>
                  </a:cubicBezTo>
                  <a:cubicBezTo>
                    <a:pt x="3" y="1"/>
                    <a:pt x="1" y="2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4" name="Freeform 86">
              <a:extLst>
                <a:ext uri="{FF2B5EF4-FFF2-40B4-BE49-F238E27FC236}">
                  <a16:creationId xmlns:a16="http://schemas.microsoft.com/office/drawing/2014/main" id="{5F315DA8-A714-7950-6B77-50BBF0487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2359" y="2802893"/>
              <a:ext cx="48314" cy="0"/>
            </a:xfrm>
            <a:custGeom>
              <a:avLst/>
              <a:gdLst>
                <a:gd name="T0" fmla="*/ 61 w 61"/>
                <a:gd name="T1" fmla="*/ 61 w 61"/>
                <a:gd name="T2" fmla="*/ 15 w 61"/>
                <a:gd name="T3" fmla="*/ 0 w 61"/>
                <a:gd name="T4" fmla="*/ 61 w 6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1">
                  <a:moveTo>
                    <a:pt x="61" y="0"/>
                  </a:moveTo>
                  <a:lnTo>
                    <a:pt x="61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5" name="Freeform 87">
              <a:extLst>
                <a:ext uri="{FF2B5EF4-FFF2-40B4-BE49-F238E27FC236}">
                  <a16:creationId xmlns:a16="http://schemas.microsoft.com/office/drawing/2014/main" id="{63925BD5-FE47-BCBD-D63C-14A2B53A9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5535" y="3095155"/>
              <a:ext cx="240780" cy="72868"/>
            </a:xfrm>
            <a:custGeom>
              <a:avLst/>
              <a:gdLst>
                <a:gd name="T0" fmla="*/ 20 w 20"/>
                <a:gd name="T1" fmla="*/ 3 h 6"/>
                <a:gd name="T2" fmla="*/ 17 w 20"/>
                <a:gd name="T3" fmla="*/ 3 h 6"/>
                <a:gd name="T4" fmla="*/ 17 w 20"/>
                <a:gd name="T5" fmla="*/ 4 h 6"/>
                <a:gd name="T6" fmla="*/ 16 w 20"/>
                <a:gd name="T7" fmla="*/ 3 h 6"/>
                <a:gd name="T8" fmla="*/ 12 w 20"/>
                <a:gd name="T9" fmla="*/ 4 h 6"/>
                <a:gd name="T10" fmla="*/ 12 w 20"/>
                <a:gd name="T11" fmla="*/ 3 h 6"/>
                <a:gd name="T12" fmla="*/ 7 w 20"/>
                <a:gd name="T13" fmla="*/ 5 h 6"/>
                <a:gd name="T14" fmla="*/ 6 w 20"/>
                <a:gd name="T15" fmla="*/ 4 h 6"/>
                <a:gd name="T16" fmla="*/ 0 w 20"/>
                <a:gd name="T17" fmla="*/ 5 h 6"/>
                <a:gd name="T18" fmla="*/ 10 w 20"/>
                <a:gd name="T19" fmla="*/ 2 h 6"/>
                <a:gd name="T20" fmla="*/ 6 w 20"/>
                <a:gd name="T21" fmla="*/ 2 h 6"/>
                <a:gd name="T22" fmla="*/ 13 w 20"/>
                <a:gd name="T23" fmla="*/ 0 h 6"/>
                <a:gd name="T24" fmla="*/ 14 w 20"/>
                <a:gd name="T25" fmla="*/ 0 h 6"/>
                <a:gd name="T26" fmla="*/ 12 w 20"/>
                <a:gd name="T27" fmla="*/ 3 h 6"/>
                <a:gd name="T28" fmla="*/ 17 w 20"/>
                <a:gd name="T29" fmla="*/ 2 h 6"/>
                <a:gd name="T30" fmla="*/ 19 w 20"/>
                <a:gd name="T31" fmla="*/ 3 h 6"/>
                <a:gd name="T32" fmla="*/ 20 w 20"/>
                <a:gd name="T33" fmla="*/ 2 h 6"/>
                <a:gd name="T34" fmla="*/ 20 w 20"/>
                <a:gd name="T3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" h="6">
                  <a:moveTo>
                    <a:pt x="20" y="3"/>
                  </a:moveTo>
                  <a:cubicBezTo>
                    <a:pt x="19" y="3"/>
                    <a:pt x="18" y="3"/>
                    <a:pt x="17" y="3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3"/>
                    <a:pt x="16" y="3"/>
                  </a:cubicBezTo>
                  <a:cubicBezTo>
                    <a:pt x="15" y="6"/>
                    <a:pt x="14" y="2"/>
                    <a:pt x="12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0" y="3"/>
                    <a:pt x="9" y="4"/>
                    <a:pt x="7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6"/>
                    <a:pt x="1" y="5"/>
                    <a:pt x="0" y="5"/>
                  </a:cubicBezTo>
                  <a:cubicBezTo>
                    <a:pt x="4" y="4"/>
                    <a:pt x="7" y="4"/>
                    <a:pt x="10" y="2"/>
                  </a:cubicBezTo>
                  <a:cubicBezTo>
                    <a:pt x="9" y="2"/>
                    <a:pt x="7" y="2"/>
                    <a:pt x="6" y="2"/>
                  </a:cubicBezTo>
                  <a:cubicBezTo>
                    <a:pt x="8" y="1"/>
                    <a:pt x="10" y="2"/>
                    <a:pt x="1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0" y="2"/>
                    <a:pt x="12" y="3"/>
                  </a:cubicBezTo>
                  <a:cubicBezTo>
                    <a:pt x="14" y="3"/>
                    <a:pt x="15" y="2"/>
                    <a:pt x="17" y="2"/>
                  </a:cubicBezTo>
                  <a:cubicBezTo>
                    <a:pt x="17" y="3"/>
                    <a:pt x="19" y="2"/>
                    <a:pt x="19" y="3"/>
                  </a:cubicBezTo>
                  <a:cubicBezTo>
                    <a:pt x="20" y="2"/>
                    <a:pt x="20" y="2"/>
                    <a:pt x="20" y="2"/>
                  </a:cubicBezTo>
                  <a:lnTo>
                    <a:pt x="20" y="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6" name="Freeform 88">
              <a:extLst>
                <a:ext uri="{FF2B5EF4-FFF2-40B4-BE49-F238E27FC236}">
                  <a16:creationId xmlns:a16="http://schemas.microsoft.com/office/drawing/2014/main" id="{03074944-4E29-7D66-6A49-820A514EF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283" y="2669038"/>
              <a:ext cx="95837" cy="36434"/>
            </a:xfrm>
            <a:custGeom>
              <a:avLst/>
              <a:gdLst>
                <a:gd name="T0" fmla="*/ 0 w 8"/>
                <a:gd name="T1" fmla="*/ 2 h 3"/>
                <a:gd name="T2" fmla="*/ 6 w 8"/>
                <a:gd name="T3" fmla="*/ 0 h 3"/>
                <a:gd name="T4" fmla="*/ 8 w 8"/>
                <a:gd name="T5" fmla="*/ 1 h 3"/>
                <a:gd name="T6" fmla="*/ 0 w 8"/>
                <a:gd name="T7" fmla="*/ 3 h 3"/>
                <a:gd name="T8" fmla="*/ 0 w 8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">
                  <a:moveTo>
                    <a:pt x="0" y="2"/>
                  </a:moveTo>
                  <a:cubicBezTo>
                    <a:pt x="2" y="1"/>
                    <a:pt x="5" y="2"/>
                    <a:pt x="6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0" y="3"/>
                    <a:pt x="0" y="3"/>
                    <a:pt x="0" y="3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7" name="Freeform 89">
              <a:extLst>
                <a:ext uri="{FF2B5EF4-FFF2-40B4-BE49-F238E27FC236}">
                  <a16:creationId xmlns:a16="http://schemas.microsoft.com/office/drawing/2014/main" id="{07057CA9-4C4B-1371-4D2A-5D20330C7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0478" y="3168023"/>
              <a:ext cx="83956" cy="23761"/>
            </a:xfrm>
            <a:custGeom>
              <a:avLst/>
              <a:gdLst>
                <a:gd name="T0" fmla="*/ 3 w 7"/>
                <a:gd name="T1" fmla="*/ 1 h 2"/>
                <a:gd name="T2" fmla="*/ 2 w 7"/>
                <a:gd name="T3" fmla="*/ 2 h 2"/>
                <a:gd name="T4" fmla="*/ 0 w 7"/>
                <a:gd name="T5" fmla="*/ 1 h 2"/>
                <a:gd name="T6" fmla="*/ 7 w 7"/>
                <a:gd name="T7" fmla="*/ 0 h 2"/>
                <a:gd name="T8" fmla="*/ 3 w 7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">
                  <a:moveTo>
                    <a:pt x="3" y="1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0" y="1"/>
                    <a:pt x="0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1"/>
                    <a:pt x="4" y="1"/>
                    <a:pt x="3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8" name="Freeform 90">
              <a:extLst>
                <a:ext uri="{FF2B5EF4-FFF2-40B4-BE49-F238E27FC236}">
                  <a16:creationId xmlns:a16="http://schemas.microsoft.com/office/drawing/2014/main" id="{54923286-EE50-7C45-33AB-788B2C6F3B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0088" y="3264652"/>
              <a:ext cx="204346" cy="36434"/>
            </a:xfrm>
            <a:custGeom>
              <a:avLst/>
              <a:gdLst>
                <a:gd name="T0" fmla="*/ 17 w 17"/>
                <a:gd name="T1" fmla="*/ 2 h 3"/>
                <a:gd name="T2" fmla="*/ 15 w 17"/>
                <a:gd name="T3" fmla="*/ 2 h 3"/>
                <a:gd name="T4" fmla="*/ 16 w 17"/>
                <a:gd name="T5" fmla="*/ 2 h 3"/>
                <a:gd name="T6" fmla="*/ 7 w 17"/>
                <a:gd name="T7" fmla="*/ 2 h 3"/>
                <a:gd name="T8" fmla="*/ 4 w 17"/>
                <a:gd name="T9" fmla="*/ 2 h 3"/>
                <a:gd name="T10" fmla="*/ 1 w 17"/>
                <a:gd name="T11" fmla="*/ 1 h 3"/>
                <a:gd name="T12" fmla="*/ 8 w 17"/>
                <a:gd name="T13" fmla="*/ 0 h 3"/>
                <a:gd name="T14" fmla="*/ 9 w 17"/>
                <a:gd name="T15" fmla="*/ 1 h 3"/>
                <a:gd name="T16" fmla="*/ 9 w 17"/>
                <a:gd name="T17" fmla="*/ 0 h 3"/>
                <a:gd name="T18" fmla="*/ 12 w 17"/>
                <a:gd name="T19" fmla="*/ 2 h 3"/>
                <a:gd name="T20" fmla="*/ 17 w 17"/>
                <a:gd name="T21" fmla="*/ 1 h 3"/>
                <a:gd name="T22" fmla="*/ 17 w 17"/>
                <a:gd name="T2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3">
                  <a:moveTo>
                    <a:pt x="17" y="2"/>
                  </a:moveTo>
                  <a:cubicBezTo>
                    <a:pt x="17" y="2"/>
                    <a:pt x="15" y="1"/>
                    <a:pt x="15" y="2"/>
                  </a:cubicBezTo>
                  <a:cubicBezTo>
                    <a:pt x="15" y="3"/>
                    <a:pt x="16" y="2"/>
                    <a:pt x="16" y="2"/>
                  </a:cubicBezTo>
                  <a:cubicBezTo>
                    <a:pt x="14" y="2"/>
                    <a:pt x="10" y="3"/>
                    <a:pt x="7" y="2"/>
                  </a:cubicBezTo>
                  <a:cubicBezTo>
                    <a:pt x="7" y="1"/>
                    <a:pt x="5" y="2"/>
                    <a:pt x="4" y="2"/>
                  </a:cubicBezTo>
                  <a:cubicBezTo>
                    <a:pt x="3" y="1"/>
                    <a:pt x="0" y="1"/>
                    <a:pt x="1" y="1"/>
                  </a:cubicBezTo>
                  <a:cubicBezTo>
                    <a:pt x="4" y="1"/>
                    <a:pt x="5" y="1"/>
                    <a:pt x="8" y="0"/>
                  </a:cubicBezTo>
                  <a:cubicBezTo>
                    <a:pt x="8" y="1"/>
                    <a:pt x="8" y="1"/>
                    <a:pt x="9" y="1"/>
                  </a:cubicBezTo>
                  <a:cubicBezTo>
                    <a:pt x="9" y="1"/>
                    <a:pt x="9" y="1"/>
                    <a:pt x="9" y="0"/>
                  </a:cubicBezTo>
                  <a:cubicBezTo>
                    <a:pt x="9" y="1"/>
                    <a:pt x="10" y="2"/>
                    <a:pt x="12" y="2"/>
                  </a:cubicBezTo>
                  <a:cubicBezTo>
                    <a:pt x="13" y="0"/>
                    <a:pt x="16" y="1"/>
                    <a:pt x="17" y="1"/>
                  </a:cubicBezTo>
                  <a:lnTo>
                    <a:pt x="17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9" name="Freeform 91">
              <a:extLst>
                <a:ext uri="{FF2B5EF4-FFF2-40B4-BE49-F238E27FC236}">
                  <a16:creationId xmlns:a16="http://schemas.microsoft.com/office/drawing/2014/main" id="{AF349E0F-055B-5B24-994D-E38478C6F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2554" y="3398506"/>
              <a:ext cx="35642" cy="12673"/>
            </a:xfrm>
            <a:custGeom>
              <a:avLst/>
              <a:gdLst>
                <a:gd name="T0" fmla="*/ 45 w 45"/>
                <a:gd name="T1" fmla="*/ 0 h 16"/>
                <a:gd name="T2" fmla="*/ 0 w 45"/>
                <a:gd name="T3" fmla="*/ 16 h 16"/>
                <a:gd name="T4" fmla="*/ 45 w 45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5" h="16">
                  <a:moveTo>
                    <a:pt x="45" y="0"/>
                  </a:moveTo>
                  <a:lnTo>
                    <a:pt x="0" y="16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0" name="Rectangle 92">
              <a:extLst>
                <a:ext uri="{FF2B5EF4-FFF2-40B4-BE49-F238E27FC236}">
                  <a16:creationId xmlns:a16="http://schemas.microsoft.com/office/drawing/2014/main" id="{ADEBC26B-0416-C246-9D0D-DB98B511D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96315" y="3447613"/>
              <a:ext cx="1188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1" name="Freeform 93">
              <a:extLst>
                <a:ext uri="{FF2B5EF4-FFF2-40B4-BE49-F238E27FC236}">
                  <a16:creationId xmlns:a16="http://schemas.microsoft.com/office/drawing/2014/main" id="{B12802AE-2356-0CAE-8192-7AEEED4F03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8793" y="3325639"/>
              <a:ext cx="23761" cy="36434"/>
            </a:xfrm>
            <a:custGeom>
              <a:avLst/>
              <a:gdLst>
                <a:gd name="T0" fmla="*/ 0 w 2"/>
                <a:gd name="T1" fmla="*/ 1 h 3"/>
                <a:gd name="T2" fmla="*/ 0 w 2"/>
                <a:gd name="T3" fmla="*/ 1 h 3"/>
                <a:gd name="T4" fmla="*/ 2 w 2"/>
                <a:gd name="T5" fmla="*/ 0 h 3"/>
                <a:gd name="T6" fmla="*/ 0 w 2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2"/>
                    <a:pt x="1" y="0"/>
                    <a:pt x="2" y="0"/>
                  </a:cubicBezTo>
                  <a:cubicBezTo>
                    <a:pt x="1" y="0"/>
                    <a:pt x="1" y="3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2" name="Freeform 94">
              <a:extLst>
                <a:ext uri="{FF2B5EF4-FFF2-40B4-BE49-F238E27FC236}">
                  <a16:creationId xmlns:a16="http://schemas.microsoft.com/office/drawing/2014/main" id="{4EA553BF-5421-E7C4-5570-0AE617115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5730" y="2802893"/>
              <a:ext cx="84748" cy="12673"/>
            </a:xfrm>
            <a:custGeom>
              <a:avLst/>
              <a:gdLst>
                <a:gd name="T0" fmla="*/ 107 w 107"/>
                <a:gd name="T1" fmla="*/ 0 h 16"/>
                <a:gd name="T2" fmla="*/ 107 w 107"/>
                <a:gd name="T3" fmla="*/ 0 h 16"/>
                <a:gd name="T4" fmla="*/ 0 w 107"/>
                <a:gd name="T5" fmla="*/ 16 h 16"/>
                <a:gd name="T6" fmla="*/ 0 w 107"/>
                <a:gd name="T7" fmla="*/ 16 h 16"/>
                <a:gd name="T8" fmla="*/ 107 w 10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16">
                  <a:moveTo>
                    <a:pt x="107" y="0"/>
                  </a:moveTo>
                  <a:lnTo>
                    <a:pt x="107" y="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3" name="Freeform 95">
              <a:extLst>
                <a:ext uri="{FF2B5EF4-FFF2-40B4-BE49-F238E27FC236}">
                  <a16:creationId xmlns:a16="http://schemas.microsoft.com/office/drawing/2014/main" id="{7FB92895-5033-3B26-8C09-B181203CC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5730" y="3495927"/>
              <a:ext cx="156824" cy="48314"/>
            </a:xfrm>
            <a:custGeom>
              <a:avLst/>
              <a:gdLst>
                <a:gd name="T0" fmla="*/ 6 w 13"/>
                <a:gd name="T1" fmla="*/ 2 h 4"/>
                <a:gd name="T2" fmla="*/ 3 w 13"/>
                <a:gd name="T3" fmla="*/ 1 h 4"/>
                <a:gd name="T4" fmla="*/ 0 w 13"/>
                <a:gd name="T5" fmla="*/ 1 h 4"/>
                <a:gd name="T6" fmla="*/ 4 w 13"/>
                <a:gd name="T7" fmla="*/ 1 h 4"/>
                <a:gd name="T8" fmla="*/ 4 w 13"/>
                <a:gd name="T9" fmla="*/ 2 h 4"/>
                <a:gd name="T10" fmla="*/ 13 w 13"/>
                <a:gd name="T11" fmla="*/ 1 h 4"/>
                <a:gd name="T12" fmla="*/ 6 w 13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4">
                  <a:moveTo>
                    <a:pt x="6" y="2"/>
                  </a:moveTo>
                  <a:cubicBezTo>
                    <a:pt x="5" y="2"/>
                    <a:pt x="3" y="2"/>
                    <a:pt x="3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6" y="0"/>
                    <a:pt x="10" y="1"/>
                    <a:pt x="13" y="1"/>
                  </a:cubicBezTo>
                  <a:cubicBezTo>
                    <a:pt x="10" y="1"/>
                    <a:pt x="7" y="4"/>
                    <a:pt x="6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4" name="Freeform 96">
              <a:extLst>
                <a:ext uri="{FF2B5EF4-FFF2-40B4-BE49-F238E27FC236}">
                  <a16:creationId xmlns:a16="http://schemas.microsoft.com/office/drawing/2014/main" id="{5A26A022-4734-F2CE-F30C-8CBD3B3D6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5925" y="3411179"/>
              <a:ext cx="72868" cy="60195"/>
            </a:xfrm>
            <a:custGeom>
              <a:avLst/>
              <a:gdLst>
                <a:gd name="T0" fmla="*/ 6 w 6"/>
                <a:gd name="T1" fmla="*/ 2 h 5"/>
                <a:gd name="T2" fmla="*/ 2 w 6"/>
                <a:gd name="T3" fmla="*/ 2 h 5"/>
                <a:gd name="T4" fmla="*/ 0 w 6"/>
                <a:gd name="T5" fmla="*/ 2 h 5"/>
                <a:gd name="T6" fmla="*/ 4 w 6"/>
                <a:gd name="T7" fmla="*/ 2 h 5"/>
                <a:gd name="T8" fmla="*/ 5 w 6"/>
                <a:gd name="T9" fmla="*/ 1 h 5"/>
                <a:gd name="T10" fmla="*/ 6 w 6"/>
                <a:gd name="T1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4" y="1"/>
                    <a:pt x="4" y="5"/>
                    <a:pt x="2" y="2"/>
                  </a:cubicBezTo>
                  <a:cubicBezTo>
                    <a:pt x="1" y="2"/>
                    <a:pt x="1" y="3"/>
                    <a:pt x="0" y="2"/>
                  </a:cubicBezTo>
                  <a:cubicBezTo>
                    <a:pt x="2" y="3"/>
                    <a:pt x="3" y="0"/>
                    <a:pt x="4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6" y="1"/>
                    <a:pt x="6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5" name="Freeform 97">
              <a:extLst>
                <a:ext uri="{FF2B5EF4-FFF2-40B4-BE49-F238E27FC236}">
                  <a16:creationId xmlns:a16="http://schemas.microsoft.com/office/drawing/2014/main" id="{9981E898-520A-F31B-E9C4-B39B3BBD5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2359" y="3337519"/>
              <a:ext cx="23761" cy="12673"/>
            </a:xfrm>
            <a:custGeom>
              <a:avLst/>
              <a:gdLst>
                <a:gd name="T0" fmla="*/ 1 w 2"/>
                <a:gd name="T1" fmla="*/ 1 h 1"/>
                <a:gd name="T2" fmla="*/ 0 w 2"/>
                <a:gd name="T3" fmla="*/ 0 h 1"/>
                <a:gd name="T4" fmla="*/ 2 w 2"/>
                <a:gd name="T5" fmla="*/ 0 h 1"/>
                <a:gd name="T6" fmla="*/ 1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1" y="1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6" name="Freeform 98">
              <a:extLst>
                <a:ext uri="{FF2B5EF4-FFF2-40B4-BE49-F238E27FC236}">
                  <a16:creationId xmlns:a16="http://schemas.microsoft.com/office/drawing/2014/main" id="{1BBAE5E6-2C37-DC81-DAB2-5D74018D4C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239" y="3386626"/>
              <a:ext cx="11881" cy="11881"/>
            </a:xfrm>
            <a:custGeom>
              <a:avLst/>
              <a:gdLst>
                <a:gd name="T0" fmla="*/ 0 w 15"/>
                <a:gd name="T1" fmla="*/ 15 h 15"/>
                <a:gd name="T2" fmla="*/ 15 w 15"/>
                <a:gd name="T3" fmla="*/ 0 h 15"/>
                <a:gd name="T4" fmla="*/ 15 w 15"/>
                <a:gd name="T5" fmla="*/ 15 h 15"/>
                <a:gd name="T6" fmla="*/ 0 w 15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15"/>
                  </a:moveTo>
                  <a:lnTo>
                    <a:pt x="15" y="0"/>
                  </a:lnTo>
                  <a:lnTo>
                    <a:pt x="15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7" name="Freeform 99">
              <a:extLst>
                <a:ext uri="{FF2B5EF4-FFF2-40B4-BE49-F238E27FC236}">
                  <a16:creationId xmlns:a16="http://schemas.microsoft.com/office/drawing/2014/main" id="{77F12972-9137-7D16-7C74-5785F9BC7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5730" y="2669038"/>
              <a:ext cx="36434" cy="36434"/>
            </a:xfrm>
            <a:custGeom>
              <a:avLst/>
              <a:gdLst>
                <a:gd name="T0" fmla="*/ 0 w 3"/>
                <a:gd name="T1" fmla="*/ 2 h 3"/>
                <a:gd name="T2" fmla="*/ 1 w 3"/>
                <a:gd name="T3" fmla="*/ 2 h 3"/>
                <a:gd name="T4" fmla="*/ 1 w 3"/>
                <a:gd name="T5" fmla="*/ 3 h 3"/>
                <a:gd name="T6" fmla="*/ 0 w 3"/>
                <a:gd name="T7" fmla="*/ 3 h 3"/>
                <a:gd name="T8" fmla="*/ 0 w 3"/>
                <a:gd name="T9" fmla="*/ 0 h 3"/>
                <a:gd name="T10" fmla="*/ 3 w 3"/>
                <a:gd name="T11" fmla="*/ 0 h 3"/>
                <a:gd name="T12" fmla="*/ 0 w 3"/>
                <a:gd name="T1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2"/>
                  </a:moveTo>
                  <a:cubicBezTo>
                    <a:pt x="0" y="2"/>
                    <a:pt x="0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3" y="1"/>
                    <a:pt x="0" y="0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8" name="Rectangle 100">
              <a:extLst>
                <a:ext uri="{FF2B5EF4-FFF2-40B4-BE49-F238E27FC236}">
                  <a16:creationId xmlns:a16="http://schemas.microsoft.com/office/drawing/2014/main" id="{7DA5AECC-13A4-4DE2-91D3-30EA81A961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4044" y="3057930"/>
              <a:ext cx="1188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9" name="Freeform 101">
              <a:extLst>
                <a:ext uri="{FF2B5EF4-FFF2-40B4-BE49-F238E27FC236}">
                  <a16:creationId xmlns:a16="http://schemas.microsoft.com/office/drawing/2014/main" id="{D85FAC6E-E711-5A43-6E06-3E2641F867B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0478" y="3398506"/>
              <a:ext cx="11881" cy="12673"/>
            </a:xfrm>
            <a:custGeom>
              <a:avLst/>
              <a:gdLst>
                <a:gd name="T0" fmla="*/ 0 w 15"/>
                <a:gd name="T1" fmla="*/ 16 h 16"/>
                <a:gd name="T2" fmla="*/ 15 w 15"/>
                <a:gd name="T3" fmla="*/ 0 h 16"/>
                <a:gd name="T4" fmla="*/ 15 w 15"/>
                <a:gd name="T5" fmla="*/ 16 h 16"/>
                <a:gd name="T6" fmla="*/ 0 w 15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0" y="16"/>
                  </a:moveTo>
                  <a:lnTo>
                    <a:pt x="15" y="0"/>
                  </a:lnTo>
                  <a:lnTo>
                    <a:pt x="15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0" name="Freeform 102">
              <a:extLst>
                <a:ext uri="{FF2B5EF4-FFF2-40B4-BE49-F238E27FC236}">
                  <a16:creationId xmlns:a16="http://schemas.microsoft.com/office/drawing/2014/main" id="{3608874F-9E9C-6718-925C-ED7544FD88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5730" y="2997735"/>
              <a:ext cx="48314" cy="23761"/>
            </a:xfrm>
            <a:custGeom>
              <a:avLst/>
              <a:gdLst>
                <a:gd name="T0" fmla="*/ 0 w 4"/>
                <a:gd name="T1" fmla="*/ 2 h 2"/>
                <a:gd name="T2" fmla="*/ 0 w 4"/>
                <a:gd name="T3" fmla="*/ 1 h 2"/>
                <a:gd name="T4" fmla="*/ 4 w 4"/>
                <a:gd name="T5" fmla="*/ 1 h 2"/>
                <a:gd name="T6" fmla="*/ 0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cubicBezTo>
                    <a:pt x="0" y="2"/>
                    <a:pt x="0" y="2"/>
                    <a:pt x="0" y="1"/>
                  </a:cubicBezTo>
                  <a:cubicBezTo>
                    <a:pt x="1" y="2"/>
                    <a:pt x="2" y="0"/>
                    <a:pt x="4" y="1"/>
                  </a:cubicBezTo>
                  <a:cubicBezTo>
                    <a:pt x="2" y="0"/>
                    <a:pt x="2" y="2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1" name="Freeform 103">
              <a:extLst>
                <a:ext uri="{FF2B5EF4-FFF2-40B4-BE49-F238E27FC236}">
                  <a16:creationId xmlns:a16="http://schemas.microsoft.com/office/drawing/2014/main" id="{880320BB-0194-E8D5-494F-2D8978EE6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8208" y="2632605"/>
              <a:ext cx="35642" cy="12673"/>
            </a:xfrm>
            <a:custGeom>
              <a:avLst/>
              <a:gdLst>
                <a:gd name="T0" fmla="*/ 45 w 45"/>
                <a:gd name="T1" fmla="*/ 0 h 16"/>
                <a:gd name="T2" fmla="*/ 45 w 45"/>
                <a:gd name="T3" fmla="*/ 16 h 16"/>
                <a:gd name="T4" fmla="*/ 15 w 45"/>
                <a:gd name="T5" fmla="*/ 16 h 16"/>
                <a:gd name="T6" fmla="*/ 0 w 45"/>
                <a:gd name="T7" fmla="*/ 0 h 16"/>
                <a:gd name="T8" fmla="*/ 45 w 4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6">
                  <a:moveTo>
                    <a:pt x="45" y="0"/>
                  </a:moveTo>
                  <a:lnTo>
                    <a:pt x="45" y="16"/>
                  </a:lnTo>
                  <a:lnTo>
                    <a:pt x="15" y="16"/>
                  </a:lnTo>
                  <a:lnTo>
                    <a:pt x="0" y="0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2" name="Freeform 104">
              <a:extLst>
                <a:ext uri="{FF2B5EF4-FFF2-40B4-BE49-F238E27FC236}">
                  <a16:creationId xmlns:a16="http://schemas.microsoft.com/office/drawing/2014/main" id="{A007FB41-3ACA-A290-920A-471FD7A9F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1774" y="2693592"/>
              <a:ext cx="72076" cy="24553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0 h 2"/>
                <a:gd name="T6" fmla="*/ 6 w 6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4" y="2"/>
                    <a:pt x="2" y="0"/>
                    <a:pt x="0" y="1"/>
                  </a:cubicBezTo>
                  <a:cubicBezTo>
                    <a:pt x="2" y="1"/>
                    <a:pt x="3" y="1"/>
                    <a:pt x="6" y="0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3" name="Freeform 105">
              <a:extLst>
                <a:ext uri="{FF2B5EF4-FFF2-40B4-BE49-F238E27FC236}">
                  <a16:creationId xmlns:a16="http://schemas.microsoft.com/office/drawing/2014/main" id="{2FE02381-1F14-B66B-11B0-11D4DD7D59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3849" y="3191784"/>
              <a:ext cx="48314" cy="12673"/>
            </a:xfrm>
            <a:custGeom>
              <a:avLst/>
              <a:gdLst>
                <a:gd name="T0" fmla="*/ 4 w 4"/>
                <a:gd name="T1" fmla="*/ 1 h 1"/>
                <a:gd name="T2" fmla="*/ 0 w 4"/>
                <a:gd name="T3" fmla="*/ 1 h 1"/>
                <a:gd name="T4" fmla="*/ 4 w 4"/>
                <a:gd name="T5" fmla="*/ 0 h 1"/>
                <a:gd name="T6" fmla="*/ 4 w 4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3" y="0"/>
                    <a:pt x="1" y="1"/>
                    <a:pt x="0" y="1"/>
                  </a:cubicBezTo>
                  <a:cubicBezTo>
                    <a:pt x="0" y="0"/>
                    <a:pt x="2" y="0"/>
                    <a:pt x="4" y="0"/>
                  </a:cubicBezTo>
                  <a:lnTo>
                    <a:pt x="4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4" name="Freeform 106">
              <a:extLst>
                <a:ext uri="{FF2B5EF4-FFF2-40B4-BE49-F238E27FC236}">
                  <a16:creationId xmlns:a16="http://schemas.microsoft.com/office/drawing/2014/main" id="{6D096C9F-F82E-C17C-8E69-F80CDFF59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283" y="3398506"/>
              <a:ext cx="11881" cy="12673"/>
            </a:xfrm>
            <a:custGeom>
              <a:avLst/>
              <a:gdLst>
                <a:gd name="T0" fmla="*/ 15 w 15"/>
                <a:gd name="T1" fmla="*/ 0 h 16"/>
                <a:gd name="T2" fmla="*/ 15 w 15"/>
                <a:gd name="T3" fmla="*/ 0 h 16"/>
                <a:gd name="T4" fmla="*/ 0 w 15"/>
                <a:gd name="T5" fmla="*/ 16 h 16"/>
                <a:gd name="T6" fmla="*/ 0 w 15"/>
                <a:gd name="T7" fmla="*/ 0 h 16"/>
                <a:gd name="T8" fmla="*/ 15 w 1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5" y="0"/>
                  </a:moveTo>
                  <a:lnTo>
                    <a:pt x="15" y="0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5" name="Freeform 107">
              <a:extLst>
                <a:ext uri="{FF2B5EF4-FFF2-40B4-BE49-F238E27FC236}">
                  <a16:creationId xmlns:a16="http://schemas.microsoft.com/office/drawing/2014/main" id="{051607D5-2D43-E9AF-FD50-D9659A7AC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799" y="3520481"/>
              <a:ext cx="433245" cy="145735"/>
            </a:xfrm>
            <a:custGeom>
              <a:avLst/>
              <a:gdLst>
                <a:gd name="T0" fmla="*/ 11 w 36"/>
                <a:gd name="T1" fmla="*/ 9 h 12"/>
                <a:gd name="T2" fmla="*/ 7 w 36"/>
                <a:gd name="T3" fmla="*/ 10 h 12"/>
                <a:gd name="T4" fmla="*/ 2 w 36"/>
                <a:gd name="T5" fmla="*/ 9 h 12"/>
                <a:gd name="T6" fmla="*/ 1 w 36"/>
                <a:gd name="T7" fmla="*/ 10 h 12"/>
                <a:gd name="T8" fmla="*/ 2 w 36"/>
                <a:gd name="T9" fmla="*/ 11 h 12"/>
                <a:gd name="T10" fmla="*/ 2 w 36"/>
                <a:gd name="T11" fmla="*/ 10 h 12"/>
                <a:gd name="T12" fmla="*/ 3 w 36"/>
                <a:gd name="T13" fmla="*/ 10 h 12"/>
                <a:gd name="T14" fmla="*/ 3 w 36"/>
                <a:gd name="T15" fmla="*/ 11 h 12"/>
                <a:gd name="T16" fmla="*/ 0 w 36"/>
                <a:gd name="T17" fmla="*/ 10 h 12"/>
                <a:gd name="T18" fmla="*/ 1 w 36"/>
                <a:gd name="T19" fmla="*/ 9 h 12"/>
                <a:gd name="T20" fmla="*/ 2 w 36"/>
                <a:gd name="T21" fmla="*/ 9 h 12"/>
                <a:gd name="T22" fmla="*/ 2 w 36"/>
                <a:gd name="T23" fmla="*/ 9 h 12"/>
                <a:gd name="T24" fmla="*/ 6 w 36"/>
                <a:gd name="T25" fmla="*/ 8 h 12"/>
                <a:gd name="T26" fmla="*/ 7 w 36"/>
                <a:gd name="T27" fmla="*/ 7 h 12"/>
                <a:gd name="T28" fmla="*/ 6 w 36"/>
                <a:gd name="T29" fmla="*/ 8 h 12"/>
                <a:gd name="T30" fmla="*/ 9 w 36"/>
                <a:gd name="T31" fmla="*/ 8 h 12"/>
                <a:gd name="T32" fmla="*/ 8 w 36"/>
                <a:gd name="T33" fmla="*/ 7 h 12"/>
                <a:gd name="T34" fmla="*/ 10 w 36"/>
                <a:gd name="T35" fmla="*/ 6 h 12"/>
                <a:gd name="T36" fmla="*/ 19 w 36"/>
                <a:gd name="T37" fmla="*/ 2 h 12"/>
                <a:gd name="T38" fmla="*/ 19 w 36"/>
                <a:gd name="T39" fmla="*/ 2 h 12"/>
                <a:gd name="T40" fmla="*/ 23 w 36"/>
                <a:gd name="T41" fmla="*/ 0 h 12"/>
                <a:gd name="T42" fmla="*/ 34 w 36"/>
                <a:gd name="T43" fmla="*/ 1 h 12"/>
                <a:gd name="T44" fmla="*/ 36 w 36"/>
                <a:gd name="T45" fmla="*/ 2 h 12"/>
                <a:gd name="T46" fmla="*/ 11 w 36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" h="12">
                  <a:moveTo>
                    <a:pt x="11" y="9"/>
                  </a:moveTo>
                  <a:cubicBezTo>
                    <a:pt x="10" y="11"/>
                    <a:pt x="9" y="11"/>
                    <a:pt x="7" y="10"/>
                  </a:cubicBezTo>
                  <a:cubicBezTo>
                    <a:pt x="6" y="9"/>
                    <a:pt x="4" y="10"/>
                    <a:pt x="2" y="9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1"/>
                    <a:pt x="2" y="11"/>
                    <a:pt x="2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0"/>
                    <a:pt x="0" y="12"/>
                    <a:pt x="0" y="10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4" y="8"/>
                    <a:pt x="6" y="8"/>
                  </a:cubicBezTo>
                  <a:cubicBezTo>
                    <a:pt x="6" y="7"/>
                    <a:pt x="5" y="7"/>
                    <a:pt x="7" y="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7" y="8"/>
                    <a:pt x="8" y="8"/>
                    <a:pt x="9" y="8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6"/>
                    <a:pt x="12" y="9"/>
                    <a:pt x="10" y="6"/>
                  </a:cubicBezTo>
                  <a:cubicBezTo>
                    <a:pt x="14" y="5"/>
                    <a:pt x="15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21" y="3"/>
                    <a:pt x="21" y="0"/>
                    <a:pt x="23" y="0"/>
                  </a:cubicBezTo>
                  <a:cubicBezTo>
                    <a:pt x="27" y="1"/>
                    <a:pt x="30" y="2"/>
                    <a:pt x="34" y="1"/>
                  </a:cubicBezTo>
                  <a:cubicBezTo>
                    <a:pt x="34" y="2"/>
                    <a:pt x="35" y="1"/>
                    <a:pt x="36" y="2"/>
                  </a:cubicBezTo>
                  <a:cubicBezTo>
                    <a:pt x="28" y="4"/>
                    <a:pt x="19" y="7"/>
                    <a:pt x="11" y="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6" name="Freeform 108">
              <a:extLst>
                <a:ext uri="{FF2B5EF4-FFF2-40B4-BE49-F238E27FC236}">
                  <a16:creationId xmlns:a16="http://schemas.microsoft.com/office/drawing/2014/main" id="{78976217-4077-AB37-B174-986224170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3849" y="3653543"/>
              <a:ext cx="60195" cy="12673"/>
            </a:xfrm>
            <a:custGeom>
              <a:avLst/>
              <a:gdLst>
                <a:gd name="T0" fmla="*/ 0 w 76"/>
                <a:gd name="T1" fmla="*/ 16 h 16"/>
                <a:gd name="T2" fmla="*/ 76 w 76"/>
                <a:gd name="T3" fmla="*/ 0 h 16"/>
                <a:gd name="T4" fmla="*/ 61 w 76"/>
                <a:gd name="T5" fmla="*/ 16 h 16"/>
                <a:gd name="T6" fmla="*/ 0 w 76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16">
                  <a:moveTo>
                    <a:pt x="0" y="16"/>
                  </a:moveTo>
                  <a:lnTo>
                    <a:pt x="76" y="0"/>
                  </a:lnTo>
                  <a:lnTo>
                    <a:pt x="61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7" name="Freeform 109">
              <a:extLst>
                <a:ext uri="{FF2B5EF4-FFF2-40B4-BE49-F238E27FC236}">
                  <a16:creationId xmlns:a16="http://schemas.microsoft.com/office/drawing/2014/main" id="{E99F3D06-9E06-C075-2D50-B2DC50C21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3849" y="3398506"/>
              <a:ext cx="11881" cy="12673"/>
            </a:xfrm>
            <a:custGeom>
              <a:avLst/>
              <a:gdLst>
                <a:gd name="T0" fmla="*/ 0 w 15"/>
                <a:gd name="T1" fmla="*/ 0 h 16"/>
                <a:gd name="T2" fmla="*/ 15 w 15"/>
                <a:gd name="T3" fmla="*/ 0 h 16"/>
                <a:gd name="T4" fmla="*/ 15 w 15"/>
                <a:gd name="T5" fmla="*/ 16 h 16"/>
                <a:gd name="T6" fmla="*/ 0 w 15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0" y="0"/>
                  </a:moveTo>
                  <a:lnTo>
                    <a:pt x="15" y="0"/>
                  </a:lnTo>
                  <a:lnTo>
                    <a:pt x="15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8" name="Freeform 110">
              <a:extLst>
                <a:ext uri="{FF2B5EF4-FFF2-40B4-BE49-F238E27FC236}">
                  <a16:creationId xmlns:a16="http://schemas.microsoft.com/office/drawing/2014/main" id="{8CB129D2-C349-6E7E-252C-6EEECFA50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8013" y="3386626"/>
              <a:ext cx="95837" cy="36434"/>
            </a:xfrm>
            <a:custGeom>
              <a:avLst/>
              <a:gdLst>
                <a:gd name="T0" fmla="*/ 7 w 8"/>
                <a:gd name="T1" fmla="*/ 2 h 3"/>
                <a:gd name="T2" fmla="*/ 7 w 8"/>
                <a:gd name="T3" fmla="*/ 2 h 3"/>
                <a:gd name="T4" fmla="*/ 5 w 8"/>
                <a:gd name="T5" fmla="*/ 1 h 3"/>
                <a:gd name="T6" fmla="*/ 4 w 8"/>
                <a:gd name="T7" fmla="*/ 2 h 3"/>
                <a:gd name="T8" fmla="*/ 5 w 8"/>
                <a:gd name="T9" fmla="*/ 2 h 3"/>
                <a:gd name="T10" fmla="*/ 2 w 8"/>
                <a:gd name="T11" fmla="*/ 3 h 3"/>
                <a:gd name="T12" fmla="*/ 2 w 8"/>
                <a:gd name="T13" fmla="*/ 1 h 3"/>
                <a:gd name="T14" fmla="*/ 0 w 8"/>
                <a:gd name="T15" fmla="*/ 2 h 3"/>
                <a:gd name="T16" fmla="*/ 1 w 8"/>
                <a:gd name="T17" fmla="*/ 3 h 3"/>
                <a:gd name="T18" fmla="*/ 0 w 8"/>
                <a:gd name="T19" fmla="*/ 2 h 3"/>
                <a:gd name="T20" fmla="*/ 0 w 8"/>
                <a:gd name="T21" fmla="*/ 1 h 3"/>
                <a:gd name="T22" fmla="*/ 2 w 8"/>
                <a:gd name="T23" fmla="*/ 1 h 3"/>
                <a:gd name="T24" fmla="*/ 2 w 8"/>
                <a:gd name="T25" fmla="*/ 1 h 3"/>
                <a:gd name="T26" fmla="*/ 7 w 8"/>
                <a:gd name="T27" fmla="*/ 1 h 3"/>
                <a:gd name="T28" fmla="*/ 8 w 8"/>
                <a:gd name="T29" fmla="*/ 2 h 3"/>
                <a:gd name="T30" fmla="*/ 7 w 8"/>
                <a:gd name="T3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3">
                  <a:moveTo>
                    <a:pt x="7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7" y="0"/>
                    <a:pt x="6" y="1"/>
                    <a:pt x="5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3" y="0"/>
                    <a:pt x="2" y="3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1" y="1"/>
                    <a:pt x="1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4" y="1"/>
                    <a:pt x="5" y="1"/>
                    <a:pt x="7" y="1"/>
                  </a:cubicBezTo>
                  <a:cubicBezTo>
                    <a:pt x="8" y="2"/>
                    <a:pt x="8" y="2"/>
                    <a:pt x="8" y="2"/>
                  </a:cubicBezTo>
                  <a:lnTo>
                    <a:pt x="7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9" name="Freeform 111">
              <a:extLst>
                <a:ext uri="{FF2B5EF4-FFF2-40B4-BE49-F238E27FC236}">
                  <a16:creationId xmlns:a16="http://schemas.microsoft.com/office/drawing/2014/main" id="{B6E3EAE6-C39A-EFDF-6A1B-761A861EA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5340" y="2997735"/>
              <a:ext cx="48314" cy="48314"/>
            </a:xfrm>
            <a:custGeom>
              <a:avLst/>
              <a:gdLst>
                <a:gd name="T0" fmla="*/ 0 w 4"/>
                <a:gd name="T1" fmla="*/ 2 h 4"/>
                <a:gd name="T2" fmla="*/ 0 w 4"/>
                <a:gd name="T3" fmla="*/ 2 h 4"/>
                <a:gd name="T4" fmla="*/ 0 w 4"/>
                <a:gd name="T5" fmla="*/ 0 h 4"/>
                <a:gd name="T6" fmla="*/ 4 w 4"/>
                <a:gd name="T7" fmla="*/ 1 h 4"/>
                <a:gd name="T8" fmla="*/ 0 w 4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2" y="1"/>
                    <a:pt x="4" y="1"/>
                  </a:cubicBezTo>
                  <a:cubicBezTo>
                    <a:pt x="4" y="4"/>
                    <a:pt x="1" y="2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0" name="Freeform 112">
              <a:extLst>
                <a:ext uri="{FF2B5EF4-FFF2-40B4-BE49-F238E27FC236}">
                  <a16:creationId xmlns:a16="http://schemas.microsoft.com/office/drawing/2014/main" id="{D27D3B6A-EC59-F56A-B849-6987010E4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9893" y="3313758"/>
              <a:ext cx="48314" cy="23761"/>
            </a:xfrm>
            <a:custGeom>
              <a:avLst/>
              <a:gdLst>
                <a:gd name="T0" fmla="*/ 0 w 4"/>
                <a:gd name="T1" fmla="*/ 2 h 2"/>
                <a:gd name="T2" fmla="*/ 0 w 4"/>
                <a:gd name="T3" fmla="*/ 0 h 2"/>
                <a:gd name="T4" fmla="*/ 0 w 4"/>
                <a:gd name="T5" fmla="*/ 0 h 2"/>
                <a:gd name="T6" fmla="*/ 4 w 4"/>
                <a:gd name="T7" fmla="*/ 1 h 2"/>
                <a:gd name="T8" fmla="*/ 0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cubicBezTo>
                    <a:pt x="0" y="2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3" y="0"/>
                    <a:pt x="4" y="1"/>
                  </a:cubicBezTo>
                  <a:cubicBezTo>
                    <a:pt x="4" y="2"/>
                    <a:pt x="1" y="0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1" name="Freeform 113">
              <a:extLst>
                <a:ext uri="{FF2B5EF4-FFF2-40B4-BE49-F238E27FC236}">
                  <a16:creationId xmlns:a16="http://schemas.microsoft.com/office/drawing/2014/main" id="{CFBFA5DB-E707-CC77-B7CA-E4080D3E0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9698" y="2718145"/>
              <a:ext cx="23761" cy="11881"/>
            </a:xfrm>
            <a:custGeom>
              <a:avLst/>
              <a:gdLst>
                <a:gd name="T0" fmla="*/ 0 w 2"/>
                <a:gd name="T1" fmla="*/ 1 h 1"/>
                <a:gd name="T2" fmla="*/ 0 w 2"/>
                <a:gd name="T3" fmla="*/ 0 h 1"/>
                <a:gd name="T4" fmla="*/ 2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2" name="Freeform 114">
              <a:extLst>
                <a:ext uri="{FF2B5EF4-FFF2-40B4-BE49-F238E27FC236}">
                  <a16:creationId xmlns:a16="http://schemas.microsoft.com/office/drawing/2014/main" id="{A9A542D7-FA72-8616-44B1-687AF51E4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8208" y="3507808"/>
              <a:ext cx="11881" cy="12673"/>
            </a:xfrm>
            <a:custGeom>
              <a:avLst/>
              <a:gdLst>
                <a:gd name="T0" fmla="*/ 15 w 15"/>
                <a:gd name="T1" fmla="*/ 0 h 16"/>
                <a:gd name="T2" fmla="*/ 15 w 15"/>
                <a:gd name="T3" fmla="*/ 0 h 16"/>
                <a:gd name="T4" fmla="*/ 0 w 15"/>
                <a:gd name="T5" fmla="*/ 16 h 16"/>
                <a:gd name="T6" fmla="*/ 0 w 15"/>
                <a:gd name="T7" fmla="*/ 0 h 16"/>
                <a:gd name="T8" fmla="*/ 15 w 1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5" y="0"/>
                  </a:moveTo>
                  <a:lnTo>
                    <a:pt x="15" y="0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3" name="Freeform 115">
              <a:extLst>
                <a:ext uri="{FF2B5EF4-FFF2-40B4-BE49-F238E27FC236}">
                  <a16:creationId xmlns:a16="http://schemas.microsoft.com/office/drawing/2014/main" id="{DCAEF8BA-B991-CFE4-1B73-1AF7FC410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0088" y="3629782"/>
              <a:ext cx="23761" cy="11881"/>
            </a:xfrm>
            <a:custGeom>
              <a:avLst/>
              <a:gdLst>
                <a:gd name="T0" fmla="*/ 0 w 30"/>
                <a:gd name="T1" fmla="*/ 15 h 15"/>
                <a:gd name="T2" fmla="*/ 30 w 30"/>
                <a:gd name="T3" fmla="*/ 0 h 15"/>
                <a:gd name="T4" fmla="*/ 15 w 30"/>
                <a:gd name="T5" fmla="*/ 0 h 15"/>
                <a:gd name="T6" fmla="*/ 0 w 30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5">
                  <a:moveTo>
                    <a:pt x="0" y="15"/>
                  </a:moveTo>
                  <a:lnTo>
                    <a:pt x="30" y="0"/>
                  </a:lnTo>
                  <a:lnTo>
                    <a:pt x="15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4" name="Freeform 116">
              <a:extLst>
                <a:ext uri="{FF2B5EF4-FFF2-40B4-BE49-F238E27FC236}">
                  <a16:creationId xmlns:a16="http://schemas.microsoft.com/office/drawing/2014/main" id="{01517D0E-CDCB-D259-255A-2E474B5A4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5535" y="3653543"/>
              <a:ext cx="36434" cy="12673"/>
            </a:xfrm>
            <a:custGeom>
              <a:avLst/>
              <a:gdLst>
                <a:gd name="T0" fmla="*/ 46 w 46"/>
                <a:gd name="T1" fmla="*/ 0 h 16"/>
                <a:gd name="T2" fmla="*/ 46 w 46"/>
                <a:gd name="T3" fmla="*/ 0 h 16"/>
                <a:gd name="T4" fmla="*/ 0 w 46"/>
                <a:gd name="T5" fmla="*/ 16 h 16"/>
                <a:gd name="T6" fmla="*/ 0 w 46"/>
                <a:gd name="T7" fmla="*/ 0 h 16"/>
                <a:gd name="T8" fmla="*/ 46 w 46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6" y="0"/>
                  </a:lnTo>
                  <a:lnTo>
                    <a:pt x="0" y="16"/>
                  </a:lnTo>
                  <a:lnTo>
                    <a:pt x="0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5" name="Freeform 117">
              <a:extLst>
                <a:ext uri="{FF2B5EF4-FFF2-40B4-BE49-F238E27FC236}">
                  <a16:creationId xmlns:a16="http://schemas.microsoft.com/office/drawing/2014/main" id="{0E09A1DA-AD91-3291-66C5-4A72F56947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3265" y="3216337"/>
              <a:ext cx="144943" cy="36434"/>
            </a:xfrm>
            <a:custGeom>
              <a:avLst/>
              <a:gdLst>
                <a:gd name="T0" fmla="*/ 5 w 12"/>
                <a:gd name="T1" fmla="*/ 3 h 3"/>
                <a:gd name="T2" fmla="*/ 0 w 12"/>
                <a:gd name="T3" fmla="*/ 3 h 3"/>
                <a:gd name="T4" fmla="*/ 0 w 12"/>
                <a:gd name="T5" fmla="*/ 0 h 3"/>
                <a:gd name="T6" fmla="*/ 5 w 12"/>
                <a:gd name="T7" fmla="*/ 2 h 3"/>
                <a:gd name="T8" fmla="*/ 6 w 12"/>
                <a:gd name="T9" fmla="*/ 1 h 3"/>
                <a:gd name="T10" fmla="*/ 6 w 12"/>
                <a:gd name="T11" fmla="*/ 2 h 3"/>
                <a:gd name="T12" fmla="*/ 7 w 12"/>
                <a:gd name="T13" fmla="*/ 0 h 3"/>
                <a:gd name="T14" fmla="*/ 5 w 12"/>
                <a:gd name="T1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3">
                  <a:moveTo>
                    <a:pt x="5" y="3"/>
                  </a:moveTo>
                  <a:cubicBezTo>
                    <a:pt x="3" y="3"/>
                    <a:pt x="2" y="3"/>
                    <a:pt x="0" y="3"/>
                  </a:cubicBezTo>
                  <a:cubicBezTo>
                    <a:pt x="1" y="2"/>
                    <a:pt x="0" y="0"/>
                    <a:pt x="0" y="0"/>
                  </a:cubicBezTo>
                  <a:cubicBezTo>
                    <a:pt x="0" y="3"/>
                    <a:pt x="4" y="0"/>
                    <a:pt x="5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1"/>
                    <a:pt x="7" y="1"/>
                    <a:pt x="7" y="0"/>
                  </a:cubicBezTo>
                  <a:cubicBezTo>
                    <a:pt x="12" y="2"/>
                    <a:pt x="6" y="3"/>
                    <a:pt x="5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6" name="Freeform 118">
              <a:extLst>
                <a:ext uri="{FF2B5EF4-FFF2-40B4-BE49-F238E27FC236}">
                  <a16:creationId xmlns:a16="http://schemas.microsoft.com/office/drawing/2014/main" id="{09599B41-EB80-07D7-9A87-DBD0023E30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5145" y="2620724"/>
              <a:ext cx="12673" cy="11881"/>
            </a:xfrm>
            <a:custGeom>
              <a:avLst/>
              <a:gdLst>
                <a:gd name="T0" fmla="*/ 0 w 16"/>
                <a:gd name="T1" fmla="*/ 15 h 15"/>
                <a:gd name="T2" fmla="*/ 16 w 16"/>
                <a:gd name="T3" fmla="*/ 0 h 15"/>
                <a:gd name="T4" fmla="*/ 16 w 16"/>
                <a:gd name="T5" fmla="*/ 15 h 15"/>
                <a:gd name="T6" fmla="*/ 0 w 16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5">
                  <a:moveTo>
                    <a:pt x="0" y="15"/>
                  </a:moveTo>
                  <a:lnTo>
                    <a:pt x="16" y="0"/>
                  </a:lnTo>
                  <a:lnTo>
                    <a:pt x="16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7" name="Freeform 119">
              <a:extLst>
                <a:ext uri="{FF2B5EF4-FFF2-40B4-BE49-F238E27FC236}">
                  <a16:creationId xmlns:a16="http://schemas.microsoft.com/office/drawing/2014/main" id="{077B16DA-1DCC-7D79-C05F-D7A9A8B56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5145" y="2875761"/>
              <a:ext cx="48314" cy="12673"/>
            </a:xfrm>
            <a:custGeom>
              <a:avLst/>
              <a:gdLst>
                <a:gd name="T0" fmla="*/ 1 w 4"/>
                <a:gd name="T1" fmla="*/ 1 h 1"/>
                <a:gd name="T2" fmla="*/ 0 w 4"/>
                <a:gd name="T3" fmla="*/ 0 h 1"/>
                <a:gd name="T4" fmla="*/ 4 w 4"/>
                <a:gd name="T5" fmla="*/ 0 h 1"/>
                <a:gd name="T6" fmla="*/ 1 w 4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2" y="0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8" name="Freeform 120">
              <a:extLst>
                <a:ext uri="{FF2B5EF4-FFF2-40B4-BE49-F238E27FC236}">
                  <a16:creationId xmlns:a16="http://schemas.microsoft.com/office/drawing/2014/main" id="{0AC95248-CC8C-6CFE-2768-7C4F4D31E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9893" y="3629782"/>
              <a:ext cx="48314" cy="11881"/>
            </a:xfrm>
            <a:custGeom>
              <a:avLst/>
              <a:gdLst>
                <a:gd name="T0" fmla="*/ 61 w 61"/>
                <a:gd name="T1" fmla="*/ 0 h 15"/>
                <a:gd name="T2" fmla="*/ 0 w 61"/>
                <a:gd name="T3" fmla="*/ 15 h 15"/>
                <a:gd name="T4" fmla="*/ 61 w 61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15">
                  <a:moveTo>
                    <a:pt x="61" y="0"/>
                  </a:moveTo>
                  <a:lnTo>
                    <a:pt x="0" y="15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39" name="Freeform 121">
              <a:extLst>
                <a:ext uri="{FF2B5EF4-FFF2-40B4-BE49-F238E27FC236}">
                  <a16:creationId xmlns:a16="http://schemas.microsoft.com/office/drawing/2014/main" id="{4B686782-184A-3B6E-C97F-5B69819E6A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1384" y="3009615"/>
              <a:ext cx="72076" cy="36434"/>
            </a:xfrm>
            <a:custGeom>
              <a:avLst/>
              <a:gdLst>
                <a:gd name="T0" fmla="*/ 0 w 6"/>
                <a:gd name="T1" fmla="*/ 3 h 3"/>
                <a:gd name="T2" fmla="*/ 6 w 6"/>
                <a:gd name="T3" fmla="*/ 0 h 3"/>
                <a:gd name="T4" fmla="*/ 0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0" y="3"/>
                  </a:moveTo>
                  <a:cubicBezTo>
                    <a:pt x="2" y="1"/>
                    <a:pt x="5" y="1"/>
                    <a:pt x="6" y="0"/>
                  </a:cubicBezTo>
                  <a:cubicBezTo>
                    <a:pt x="5" y="1"/>
                    <a:pt x="3" y="3"/>
                    <a:pt x="0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0" name="Freeform 122">
              <a:extLst>
                <a:ext uri="{FF2B5EF4-FFF2-40B4-BE49-F238E27FC236}">
                  <a16:creationId xmlns:a16="http://schemas.microsoft.com/office/drawing/2014/main" id="{BDE9E631-A46B-6A3B-93D4-EF9306118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742" y="2705472"/>
              <a:ext cx="47522" cy="36434"/>
            </a:xfrm>
            <a:custGeom>
              <a:avLst/>
              <a:gdLst>
                <a:gd name="T0" fmla="*/ 1 w 4"/>
                <a:gd name="T1" fmla="*/ 2 h 3"/>
                <a:gd name="T2" fmla="*/ 0 w 4"/>
                <a:gd name="T3" fmla="*/ 2 h 3"/>
                <a:gd name="T4" fmla="*/ 1 w 4"/>
                <a:gd name="T5" fmla="*/ 0 h 3"/>
                <a:gd name="T6" fmla="*/ 4 w 4"/>
                <a:gd name="T7" fmla="*/ 1 h 3"/>
                <a:gd name="T8" fmla="*/ 1 w 4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1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3" y="3"/>
                    <a:pt x="4" y="1"/>
                  </a:cubicBezTo>
                  <a:cubicBezTo>
                    <a:pt x="3" y="1"/>
                    <a:pt x="1" y="3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1" name="Freeform 123">
              <a:extLst>
                <a:ext uri="{FF2B5EF4-FFF2-40B4-BE49-F238E27FC236}">
                  <a16:creationId xmlns:a16="http://schemas.microsoft.com/office/drawing/2014/main" id="{6198CF72-3C77-8E6E-09F6-94FE464614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2680" y="3373953"/>
              <a:ext cx="252660" cy="73660"/>
            </a:xfrm>
            <a:custGeom>
              <a:avLst/>
              <a:gdLst>
                <a:gd name="T0" fmla="*/ 18 w 21"/>
                <a:gd name="T1" fmla="*/ 2 h 6"/>
                <a:gd name="T2" fmla="*/ 20 w 21"/>
                <a:gd name="T3" fmla="*/ 3 h 6"/>
                <a:gd name="T4" fmla="*/ 16 w 21"/>
                <a:gd name="T5" fmla="*/ 4 h 6"/>
                <a:gd name="T6" fmla="*/ 14 w 21"/>
                <a:gd name="T7" fmla="*/ 3 h 6"/>
                <a:gd name="T8" fmla="*/ 13 w 21"/>
                <a:gd name="T9" fmla="*/ 5 h 6"/>
                <a:gd name="T10" fmla="*/ 5 w 21"/>
                <a:gd name="T11" fmla="*/ 5 h 6"/>
                <a:gd name="T12" fmla="*/ 5 w 21"/>
                <a:gd name="T13" fmla="*/ 6 h 6"/>
                <a:gd name="T14" fmla="*/ 0 w 21"/>
                <a:gd name="T15" fmla="*/ 6 h 6"/>
                <a:gd name="T16" fmla="*/ 1 w 21"/>
                <a:gd name="T17" fmla="*/ 6 h 6"/>
                <a:gd name="T18" fmla="*/ 3 w 21"/>
                <a:gd name="T19" fmla="*/ 5 h 6"/>
                <a:gd name="T20" fmla="*/ 3 w 21"/>
                <a:gd name="T21" fmla="*/ 4 h 6"/>
                <a:gd name="T22" fmla="*/ 7 w 21"/>
                <a:gd name="T23" fmla="*/ 3 h 6"/>
                <a:gd name="T24" fmla="*/ 8 w 21"/>
                <a:gd name="T25" fmla="*/ 2 h 6"/>
                <a:gd name="T26" fmla="*/ 6 w 21"/>
                <a:gd name="T27" fmla="*/ 1 h 6"/>
                <a:gd name="T28" fmla="*/ 5 w 21"/>
                <a:gd name="T29" fmla="*/ 2 h 6"/>
                <a:gd name="T30" fmla="*/ 4 w 21"/>
                <a:gd name="T31" fmla="*/ 2 h 6"/>
                <a:gd name="T32" fmla="*/ 14 w 21"/>
                <a:gd name="T33" fmla="*/ 1 h 6"/>
                <a:gd name="T34" fmla="*/ 14 w 21"/>
                <a:gd name="T35" fmla="*/ 2 h 6"/>
                <a:gd name="T36" fmla="*/ 13 w 21"/>
                <a:gd name="T37" fmla="*/ 2 h 6"/>
                <a:gd name="T38" fmla="*/ 14 w 21"/>
                <a:gd name="T39" fmla="*/ 3 h 6"/>
                <a:gd name="T40" fmla="*/ 17 w 21"/>
                <a:gd name="T41" fmla="*/ 2 h 6"/>
                <a:gd name="T42" fmla="*/ 15 w 21"/>
                <a:gd name="T43" fmla="*/ 1 h 6"/>
                <a:gd name="T44" fmla="*/ 21 w 21"/>
                <a:gd name="T45" fmla="*/ 1 h 6"/>
                <a:gd name="T46" fmla="*/ 18 w 21"/>
                <a:gd name="T4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" h="6">
                  <a:moveTo>
                    <a:pt x="18" y="2"/>
                  </a:moveTo>
                  <a:cubicBezTo>
                    <a:pt x="20" y="3"/>
                    <a:pt x="20" y="3"/>
                    <a:pt x="20" y="3"/>
                  </a:cubicBezTo>
                  <a:cubicBezTo>
                    <a:pt x="20" y="5"/>
                    <a:pt x="18" y="4"/>
                    <a:pt x="16" y="4"/>
                  </a:cubicBezTo>
                  <a:cubicBezTo>
                    <a:pt x="16" y="2"/>
                    <a:pt x="14" y="5"/>
                    <a:pt x="14" y="3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0" y="3"/>
                    <a:pt x="8" y="6"/>
                    <a:pt x="5" y="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5"/>
                    <a:pt x="1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5"/>
                    <a:pt x="3" y="4"/>
                    <a:pt x="3" y="4"/>
                  </a:cubicBezTo>
                  <a:cubicBezTo>
                    <a:pt x="4" y="4"/>
                    <a:pt x="8" y="4"/>
                    <a:pt x="7" y="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6" y="2"/>
                    <a:pt x="6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2"/>
                    <a:pt x="4" y="1"/>
                    <a:pt x="4" y="2"/>
                  </a:cubicBezTo>
                  <a:cubicBezTo>
                    <a:pt x="5" y="0"/>
                    <a:pt x="11" y="1"/>
                    <a:pt x="14" y="1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3"/>
                    <a:pt x="13" y="3"/>
                    <a:pt x="14" y="3"/>
                  </a:cubicBezTo>
                  <a:cubicBezTo>
                    <a:pt x="15" y="3"/>
                    <a:pt x="16" y="3"/>
                    <a:pt x="17" y="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8" y="0"/>
                    <a:pt x="19" y="1"/>
                    <a:pt x="21" y="1"/>
                  </a:cubicBezTo>
                  <a:cubicBezTo>
                    <a:pt x="20" y="2"/>
                    <a:pt x="19" y="0"/>
                    <a:pt x="18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2" name="Freeform 124">
              <a:extLst>
                <a:ext uri="{FF2B5EF4-FFF2-40B4-BE49-F238E27FC236}">
                  <a16:creationId xmlns:a16="http://schemas.microsoft.com/office/drawing/2014/main" id="{1D9FCD34-FF01-6B90-D8F3-80D4FA692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1579" y="3641663"/>
              <a:ext cx="36434" cy="11881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0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1"/>
                    <a:pt x="2" y="0"/>
                    <a:pt x="3" y="1"/>
                  </a:cubicBezTo>
                  <a:cubicBezTo>
                    <a:pt x="3" y="1"/>
                    <a:pt x="1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3" name="Freeform 125">
              <a:extLst>
                <a:ext uri="{FF2B5EF4-FFF2-40B4-BE49-F238E27FC236}">
                  <a16:creationId xmlns:a16="http://schemas.microsoft.com/office/drawing/2014/main" id="{E53F2835-0DA1-B3D4-F5C5-23774A132BB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3070" y="2608843"/>
              <a:ext cx="12673" cy="11881"/>
            </a:xfrm>
            <a:custGeom>
              <a:avLst/>
              <a:gdLst>
                <a:gd name="T0" fmla="*/ 0 w 16"/>
                <a:gd name="T1" fmla="*/ 15 h 15"/>
                <a:gd name="T2" fmla="*/ 16 w 16"/>
                <a:gd name="T3" fmla="*/ 0 h 15"/>
                <a:gd name="T4" fmla="*/ 16 w 16"/>
                <a:gd name="T5" fmla="*/ 15 h 15"/>
                <a:gd name="T6" fmla="*/ 0 w 16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5">
                  <a:moveTo>
                    <a:pt x="0" y="15"/>
                  </a:moveTo>
                  <a:lnTo>
                    <a:pt x="16" y="0"/>
                  </a:lnTo>
                  <a:lnTo>
                    <a:pt x="16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4" name="Rectangle 126">
              <a:extLst>
                <a:ext uri="{FF2B5EF4-FFF2-40B4-BE49-F238E27FC236}">
                  <a16:creationId xmlns:a16="http://schemas.microsoft.com/office/drawing/2014/main" id="{BD8B1FEE-3FE4-5DCA-2177-B70A0B5B7F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5145" y="3240891"/>
              <a:ext cx="12673" cy="1188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5" name="Freeform 127">
              <a:extLst>
                <a:ext uri="{FF2B5EF4-FFF2-40B4-BE49-F238E27FC236}">
                  <a16:creationId xmlns:a16="http://schemas.microsoft.com/office/drawing/2014/main" id="{5B332A09-4E3B-8E48-7357-33F6502AE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5145" y="3325639"/>
              <a:ext cx="24553" cy="11881"/>
            </a:xfrm>
            <a:custGeom>
              <a:avLst/>
              <a:gdLst>
                <a:gd name="T0" fmla="*/ 0 w 2"/>
                <a:gd name="T1" fmla="*/ 1 h 1"/>
                <a:gd name="T2" fmla="*/ 0 w 2"/>
                <a:gd name="T3" fmla="*/ 1 h 1"/>
                <a:gd name="T4" fmla="*/ 2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6" name="Freeform 128">
              <a:extLst>
                <a:ext uri="{FF2B5EF4-FFF2-40B4-BE49-F238E27FC236}">
                  <a16:creationId xmlns:a16="http://schemas.microsoft.com/office/drawing/2014/main" id="{CF360104-2F84-CDB1-5917-7EC4AF931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7818" y="3434940"/>
              <a:ext cx="11881" cy="12673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1 w 1"/>
                <a:gd name="T5" fmla="*/ 1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7" name="Freeform 129">
              <a:extLst>
                <a:ext uri="{FF2B5EF4-FFF2-40B4-BE49-F238E27FC236}">
                  <a16:creationId xmlns:a16="http://schemas.microsoft.com/office/drawing/2014/main" id="{B8022A28-56A2-0696-95D6-4BEE99BFDB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7428" y="3021496"/>
              <a:ext cx="72076" cy="36434"/>
            </a:xfrm>
            <a:custGeom>
              <a:avLst/>
              <a:gdLst>
                <a:gd name="T0" fmla="*/ 4 w 6"/>
                <a:gd name="T1" fmla="*/ 3 h 3"/>
                <a:gd name="T2" fmla="*/ 4 w 6"/>
                <a:gd name="T3" fmla="*/ 2 h 3"/>
                <a:gd name="T4" fmla="*/ 1 w 6"/>
                <a:gd name="T5" fmla="*/ 2 h 3"/>
                <a:gd name="T6" fmla="*/ 3 w 6"/>
                <a:gd name="T7" fmla="*/ 0 h 3"/>
                <a:gd name="T8" fmla="*/ 4 w 6"/>
                <a:gd name="T9" fmla="*/ 2 h 3"/>
                <a:gd name="T10" fmla="*/ 6 w 6"/>
                <a:gd name="T11" fmla="*/ 2 h 3"/>
                <a:gd name="T12" fmla="*/ 4 w 6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4" y="3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3" y="1"/>
                    <a:pt x="1" y="2"/>
                    <a:pt x="1" y="2"/>
                  </a:cubicBezTo>
                  <a:cubicBezTo>
                    <a:pt x="0" y="0"/>
                    <a:pt x="2" y="1"/>
                    <a:pt x="3" y="0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5" y="1"/>
                    <a:pt x="5" y="1"/>
                    <a:pt x="6" y="2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8" name="Freeform 130">
              <a:extLst>
                <a:ext uri="{FF2B5EF4-FFF2-40B4-BE49-F238E27FC236}">
                  <a16:creationId xmlns:a16="http://schemas.microsoft.com/office/drawing/2014/main" id="{C309E2F5-67B5-92D8-8A3F-29D88290F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1384" y="3350192"/>
              <a:ext cx="11881" cy="23761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2 h 2"/>
                <a:gd name="T4" fmla="*/ 0 w 1"/>
                <a:gd name="T5" fmla="*/ 1 h 2"/>
                <a:gd name="T6" fmla="*/ 1 w 1"/>
                <a:gd name="T7" fmla="*/ 1 h 2"/>
                <a:gd name="T8" fmla="*/ 1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9" name="Freeform 131">
              <a:extLst>
                <a:ext uri="{FF2B5EF4-FFF2-40B4-BE49-F238E27FC236}">
                  <a16:creationId xmlns:a16="http://schemas.microsoft.com/office/drawing/2014/main" id="{A5654F87-6201-D505-3DE6-30F9BA93A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3070" y="3653543"/>
              <a:ext cx="108509" cy="24553"/>
            </a:xfrm>
            <a:custGeom>
              <a:avLst/>
              <a:gdLst>
                <a:gd name="T0" fmla="*/ 8 w 9"/>
                <a:gd name="T1" fmla="*/ 2 h 2"/>
                <a:gd name="T2" fmla="*/ 0 w 9"/>
                <a:gd name="T3" fmla="*/ 2 h 2"/>
                <a:gd name="T4" fmla="*/ 1 w 9"/>
                <a:gd name="T5" fmla="*/ 1 h 2"/>
                <a:gd name="T6" fmla="*/ 2 w 9"/>
                <a:gd name="T7" fmla="*/ 1 h 2"/>
                <a:gd name="T8" fmla="*/ 9 w 9"/>
                <a:gd name="T9" fmla="*/ 1 h 2"/>
                <a:gd name="T10" fmla="*/ 8 w 9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">
                  <a:moveTo>
                    <a:pt x="8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0" y="0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2"/>
                    <a:pt x="8" y="2"/>
                    <a:pt x="8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0" name="Freeform 132">
              <a:extLst>
                <a:ext uri="{FF2B5EF4-FFF2-40B4-BE49-F238E27FC236}">
                  <a16:creationId xmlns:a16="http://schemas.microsoft.com/office/drawing/2014/main" id="{D9BE79F2-B88A-ACA5-5C69-F844FFB5B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9308" y="3216337"/>
              <a:ext cx="72076" cy="36434"/>
            </a:xfrm>
            <a:custGeom>
              <a:avLst/>
              <a:gdLst>
                <a:gd name="T0" fmla="*/ 5 w 6"/>
                <a:gd name="T1" fmla="*/ 3 h 3"/>
                <a:gd name="T2" fmla="*/ 5 w 6"/>
                <a:gd name="T3" fmla="*/ 3 h 3"/>
                <a:gd name="T4" fmla="*/ 4 w 6"/>
                <a:gd name="T5" fmla="*/ 3 h 3"/>
                <a:gd name="T6" fmla="*/ 1 w 6"/>
                <a:gd name="T7" fmla="*/ 3 h 3"/>
                <a:gd name="T8" fmla="*/ 2 w 6"/>
                <a:gd name="T9" fmla="*/ 3 h 3"/>
                <a:gd name="T10" fmla="*/ 1 w 6"/>
                <a:gd name="T11" fmla="*/ 2 h 3"/>
                <a:gd name="T12" fmla="*/ 2 w 6"/>
                <a:gd name="T13" fmla="*/ 1 h 3"/>
                <a:gd name="T14" fmla="*/ 2 w 6"/>
                <a:gd name="T15" fmla="*/ 2 h 3"/>
                <a:gd name="T16" fmla="*/ 4 w 6"/>
                <a:gd name="T17" fmla="*/ 0 h 3"/>
                <a:gd name="T18" fmla="*/ 3 w 6"/>
                <a:gd name="T19" fmla="*/ 2 h 3"/>
                <a:gd name="T20" fmla="*/ 4 w 6"/>
                <a:gd name="T21" fmla="*/ 2 h 3"/>
                <a:gd name="T22" fmla="*/ 5 w 6"/>
                <a:gd name="T23" fmla="*/ 1 h 3"/>
                <a:gd name="T24" fmla="*/ 5 w 6"/>
                <a:gd name="T2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3">
                  <a:moveTo>
                    <a:pt x="5" y="3"/>
                  </a:moveTo>
                  <a:cubicBezTo>
                    <a:pt x="5" y="3"/>
                    <a:pt x="6" y="3"/>
                    <a:pt x="5" y="3"/>
                  </a:cubicBezTo>
                  <a:cubicBezTo>
                    <a:pt x="5" y="2"/>
                    <a:pt x="4" y="3"/>
                    <a:pt x="4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2" y="2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0"/>
                    <a:pt x="4" y="1"/>
                    <a:pt x="4" y="0"/>
                  </a:cubicBezTo>
                  <a:cubicBezTo>
                    <a:pt x="4" y="0"/>
                    <a:pt x="3" y="1"/>
                    <a:pt x="3" y="2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4" y="2"/>
                    <a:pt x="5" y="1"/>
                    <a:pt x="5" y="1"/>
                  </a:cubicBezTo>
                  <a:cubicBezTo>
                    <a:pt x="6" y="2"/>
                    <a:pt x="5" y="3"/>
                    <a:pt x="5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1" name="Freeform 133">
              <a:extLst>
                <a:ext uri="{FF2B5EF4-FFF2-40B4-BE49-F238E27FC236}">
                  <a16:creationId xmlns:a16="http://schemas.microsoft.com/office/drawing/2014/main" id="{4493E330-0F34-DF81-0BBD-590C54475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742" y="3289205"/>
              <a:ext cx="35642" cy="0"/>
            </a:xfrm>
            <a:custGeom>
              <a:avLst/>
              <a:gdLst>
                <a:gd name="T0" fmla="*/ 45 w 45"/>
                <a:gd name="T1" fmla="*/ 0 w 45"/>
                <a:gd name="T2" fmla="*/ 45 w 4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5">
                  <a:moveTo>
                    <a:pt x="45" y="0"/>
                  </a:moveTo>
                  <a:lnTo>
                    <a:pt x="0" y="0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2" name="Freeform 134">
              <a:extLst>
                <a:ext uri="{FF2B5EF4-FFF2-40B4-BE49-F238E27FC236}">
                  <a16:creationId xmlns:a16="http://schemas.microsoft.com/office/drawing/2014/main" id="{5E391458-E165-1EFB-8828-32C46BDD40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7428" y="2705472"/>
              <a:ext cx="11881" cy="12673"/>
            </a:xfrm>
            <a:custGeom>
              <a:avLst/>
              <a:gdLst>
                <a:gd name="T0" fmla="*/ 0 w 15"/>
                <a:gd name="T1" fmla="*/ 16 h 16"/>
                <a:gd name="T2" fmla="*/ 0 w 15"/>
                <a:gd name="T3" fmla="*/ 0 h 16"/>
                <a:gd name="T4" fmla="*/ 15 w 15"/>
                <a:gd name="T5" fmla="*/ 0 h 16"/>
                <a:gd name="T6" fmla="*/ 0 w 15"/>
                <a:gd name="T7" fmla="*/ 16 h 16"/>
                <a:gd name="T8" fmla="*/ 0 w 15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0" y="16"/>
                  </a:moveTo>
                  <a:lnTo>
                    <a:pt x="0" y="0"/>
                  </a:lnTo>
                  <a:lnTo>
                    <a:pt x="15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3" name="Freeform 135">
              <a:extLst>
                <a:ext uri="{FF2B5EF4-FFF2-40B4-BE49-F238E27FC236}">
                  <a16:creationId xmlns:a16="http://schemas.microsoft.com/office/drawing/2014/main" id="{7C79DBC5-C341-1110-33CF-E6AF0E689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7623" y="3325639"/>
              <a:ext cx="23761" cy="24553"/>
            </a:xfrm>
            <a:custGeom>
              <a:avLst/>
              <a:gdLst>
                <a:gd name="T0" fmla="*/ 1 w 2"/>
                <a:gd name="T1" fmla="*/ 1 h 2"/>
                <a:gd name="T2" fmla="*/ 0 w 2"/>
                <a:gd name="T3" fmla="*/ 2 h 2"/>
                <a:gd name="T4" fmla="*/ 0 w 2"/>
                <a:gd name="T5" fmla="*/ 0 h 2"/>
                <a:gd name="T6" fmla="*/ 2 w 2"/>
                <a:gd name="T7" fmla="*/ 0 h 2"/>
                <a:gd name="T8" fmla="*/ 1 w 2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1" y="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1" y="1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4" name="Freeform 136">
              <a:extLst>
                <a:ext uri="{FF2B5EF4-FFF2-40B4-BE49-F238E27FC236}">
                  <a16:creationId xmlns:a16="http://schemas.microsoft.com/office/drawing/2014/main" id="{0592ECC3-164C-2686-4B0D-182B5049A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742" y="3204457"/>
              <a:ext cx="11881" cy="0"/>
            </a:xfrm>
            <a:custGeom>
              <a:avLst/>
              <a:gdLst>
                <a:gd name="T0" fmla="*/ 15 w 15"/>
                <a:gd name="T1" fmla="*/ 0 w 15"/>
                <a:gd name="T2" fmla="*/ 15 w 1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5">
                  <a:moveTo>
                    <a:pt x="15" y="0"/>
                  </a:moveTo>
                  <a:lnTo>
                    <a:pt x="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5" name="Freeform 137">
              <a:extLst>
                <a:ext uri="{FF2B5EF4-FFF2-40B4-BE49-F238E27FC236}">
                  <a16:creationId xmlns:a16="http://schemas.microsoft.com/office/drawing/2014/main" id="{435F3BEE-7DDB-FC76-A956-831A50D70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2875" y="2718145"/>
              <a:ext cx="12673" cy="11881"/>
            </a:xfrm>
            <a:custGeom>
              <a:avLst/>
              <a:gdLst>
                <a:gd name="T0" fmla="*/ 0 w 16"/>
                <a:gd name="T1" fmla="*/ 0 h 15"/>
                <a:gd name="T2" fmla="*/ 16 w 16"/>
                <a:gd name="T3" fmla="*/ 0 h 15"/>
                <a:gd name="T4" fmla="*/ 16 w 16"/>
                <a:gd name="T5" fmla="*/ 15 h 15"/>
                <a:gd name="T6" fmla="*/ 0 w 16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5">
                  <a:moveTo>
                    <a:pt x="0" y="0"/>
                  </a:moveTo>
                  <a:lnTo>
                    <a:pt x="16" y="0"/>
                  </a:lnTo>
                  <a:lnTo>
                    <a:pt x="16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6" name="Freeform 138">
              <a:extLst>
                <a:ext uri="{FF2B5EF4-FFF2-40B4-BE49-F238E27FC236}">
                  <a16:creationId xmlns:a16="http://schemas.microsoft.com/office/drawing/2014/main" id="{146D44D7-06AA-9256-D825-9EDFE0599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2875" y="4176289"/>
              <a:ext cx="205138" cy="85540"/>
            </a:xfrm>
            <a:custGeom>
              <a:avLst/>
              <a:gdLst>
                <a:gd name="T0" fmla="*/ 4 w 17"/>
                <a:gd name="T1" fmla="*/ 2 h 7"/>
                <a:gd name="T2" fmla="*/ 0 w 17"/>
                <a:gd name="T3" fmla="*/ 0 h 7"/>
                <a:gd name="T4" fmla="*/ 17 w 17"/>
                <a:gd name="T5" fmla="*/ 5 h 7"/>
                <a:gd name="T6" fmla="*/ 4 w 17"/>
                <a:gd name="T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7">
                  <a:moveTo>
                    <a:pt x="4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"/>
                    <a:pt x="11" y="4"/>
                    <a:pt x="17" y="5"/>
                  </a:cubicBezTo>
                  <a:cubicBezTo>
                    <a:pt x="12" y="7"/>
                    <a:pt x="8" y="3"/>
                    <a:pt x="4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7" name="Freeform 139">
              <a:extLst>
                <a:ext uri="{FF2B5EF4-FFF2-40B4-BE49-F238E27FC236}">
                  <a16:creationId xmlns:a16="http://schemas.microsoft.com/office/drawing/2014/main" id="{24233072-F121-7C45-5BB8-24FEFE5F28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9503" y="3678096"/>
              <a:ext cx="23761" cy="36434"/>
            </a:xfrm>
            <a:custGeom>
              <a:avLst/>
              <a:gdLst>
                <a:gd name="T0" fmla="*/ 0 w 2"/>
                <a:gd name="T1" fmla="*/ 2 h 3"/>
                <a:gd name="T2" fmla="*/ 2 w 2"/>
                <a:gd name="T3" fmla="*/ 2 h 3"/>
                <a:gd name="T4" fmla="*/ 0 w 2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0" y="2"/>
                  </a:moveTo>
                  <a:cubicBezTo>
                    <a:pt x="1" y="2"/>
                    <a:pt x="2" y="0"/>
                    <a:pt x="2" y="2"/>
                  </a:cubicBezTo>
                  <a:cubicBezTo>
                    <a:pt x="2" y="2"/>
                    <a:pt x="1" y="3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8" name="Freeform 140">
              <a:extLst>
                <a:ext uri="{FF2B5EF4-FFF2-40B4-BE49-F238E27FC236}">
                  <a16:creationId xmlns:a16="http://schemas.microsoft.com/office/drawing/2014/main" id="{04381B23-59D0-713B-0D69-B25917AD5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233" y="2730025"/>
              <a:ext cx="23761" cy="36434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2 h 3"/>
                <a:gd name="T4" fmla="*/ 2 w 2"/>
                <a:gd name="T5" fmla="*/ 3 h 3"/>
                <a:gd name="T6" fmla="*/ 2 w 2"/>
                <a:gd name="T7" fmla="*/ 2 h 3"/>
                <a:gd name="T8" fmla="*/ 0 w 2"/>
                <a:gd name="T9" fmla="*/ 0 h 3"/>
                <a:gd name="T10" fmla="*/ 2 w 2"/>
                <a:gd name="T11" fmla="*/ 0 h 3"/>
                <a:gd name="T12" fmla="*/ 0 w 2"/>
                <a:gd name="T1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1" y="1"/>
                    <a:pt x="2" y="1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0" y="1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9" name="Freeform 141">
              <a:extLst>
                <a:ext uri="{FF2B5EF4-FFF2-40B4-BE49-F238E27FC236}">
                  <a16:creationId xmlns:a16="http://schemas.microsoft.com/office/drawing/2014/main" id="{87457FAA-C288-CB07-A033-AC77AB3A9B9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5547" y="3313758"/>
              <a:ext cx="60195" cy="36434"/>
            </a:xfrm>
            <a:custGeom>
              <a:avLst/>
              <a:gdLst>
                <a:gd name="T0" fmla="*/ 2 w 5"/>
                <a:gd name="T1" fmla="*/ 2 h 3"/>
                <a:gd name="T2" fmla="*/ 1 w 5"/>
                <a:gd name="T3" fmla="*/ 2 h 3"/>
                <a:gd name="T4" fmla="*/ 0 w 5"/>
                <a:gd name="T5" fmla="*/ 2 h 3"/>
                <a:gd name="T6" fmla="*/ 2 w 5"/>
                <a:gd name="T7" fmla="*/ 0 h 3"/>
                <a:gd name="T8" fmla="*/ 3 w 5"/>
                <a:gd name="T9" fmla="*/ 1 h 3"/>
                <a:gd name="T10" fmla="*/ 5 w 5"/>
                <a:gd name="T11" fmla="*/ 2 h 3"/>
                <a:gd name="T12" fmla="*/ 2 w 5"/>
                <a:gd name="T1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3">
                  <a:moveTo>
                    <a:pt x="2" y="2"/>
                  </a:moveTo>
                  <a:cubicBezTo>
                    <a:pt x="2" y="2"/>
                    <a:pt x="2" y="2"/>
                    <a:pt x="1" y="2"/>
                  </a:cubicBezTo>
                  <a:cubicBezTo>
                    <a:pt x="0" y="1"/>
                    <a:pt x="1" y="3"/>
                    <a:pt x="0" y="2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1"/>
                    <a:pt x="4" y="1"/>
                    <a:pt x="5" y="2"/>
                  </a:cubicBezTo>
                  <a:lnTo>
                    <a:pt x="2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0" name="Freeform 142">
              <a:extLst>
                <a:ext uri="{FF2B5EF4-FFF2-40B4-BE49-F238E27FC236}">
                  <a16:creationId xmlns:a16="http://schemas.microsoft.com/office/drawing/2014/main" id="{E22B71B2-B56E-BA94-7415-C0727154E2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799" y="2973181"/>
              <a:ext cx="96629" cy="24553"/>
            </a:xfrm>
            <a:custGeom>
              <a:avLst/>
              <a:gdLst>
                <a:gd name="T0" fmla="*/ 0 w 8"/>
                <a:gd name="T1" fmla="*/ 1 h 2"/>
                <a:gd name="T2" fmla="*/ 8 w 8"/>
                <a:gd name="T3" fmla="*/ 0 h 2"/>
                <a:gd name="T4" fmla="*/ 0 w 8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0" y="1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2"/>
                    <a:pt x="3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1" name="Freeform 143">
              <a:extLst>
                <a:ext uri="{FF2B5EF4-FFF2-40B4-BE49-F238E27FC236}">
                  <a16:creationId xmlns:a16="http://schemas.microsoft.com/office/drawing/2014/main" id="{61CA45F3-6BC6-0315-12D0-E8985B8FC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1384" y="3872938"/>
              <a:ext cx="23761" cy="11881"/>
            </a:xfrm>
            <a:custGeom>
              <a:avLst/>
              <a:gdLst>
                <a:gd name="T0" fmla="*/ 0 w 30"/>
                <a:gd name="T1" fmla="*/ 0 h 15"/>
                <a:gd name="T2" fmla="*/ 30 w 30"/>
                <a:gd name="T3" fmla="*/ 15 h 15"/>
                <a:gd name="T4" fmla="*/ 0 w 30"/>
                <a:gd name="T5" fmla="*/ 15 h 15"/>
                <a:gd name="T6" fmla="*/ 0 w 30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5">
                  <a:moveTo>
                    <a:pt x="0" y="0"/>
                  </a:moveTo>
                  <a:lnTo>
                    <a:pt x="30" y="15"/>
                  </a:lnTo>
                  <a:lnTo>
                    <a:pt x="0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2" name="Freeform 144">
              <a:extLst>
                <a:ext uri="{FF2B5EF4-FFF2-40B4-BE49-F238E27FC236}">
                  <a16:creationId xmlns:a16="http://schemas.microsoft.com/office/drawing/2014/main" id="{D9216CE8-7604-1707-5D48-4918FEB4D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5352" y="3021496"/>
              <a:ext cx="72076" cy="36434"/>
            </a:xfrm>
            <a:custGeom>
              <a:avLst/>
              <a:gdLst>
                <a:gd name="T0" fmla="*/ 6 w 6"/>
                <a:gd name="T1" fmla="*/ 2 h 3"/>
                <a:gd name="T2" fmla="*/ 2 w 6"/>
                <a:gd name="T3" fmla="*/ 2 h 3"/>
                <a:gd name="T4" fmla="*/ 0 w 6"/>
                <a:gd name="T5" fmla="*/ 3 h 3"/>
                <a:gd name="T6" fmla="*/ 0 w 6"/>
                <a:gd name="T7" fmla="*/ 2 h 3"/>
                <a:gd name="T8" fmla="*/ 6 w 6"/>
                <a:gd name="T9" fmla="*/ 0 h 3"/>
                <a:gd name="T10" fmla="*/ 5 w 6"/>
                <a:gd name="T11" fmla="*/ 2 h 3"/>
                <a:gd name="T12" fmla="*/ 6 w 6"/>
                <a:gd name="T1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2"/>
                  </a:moveTo>
                  <a:cubicBezTo>
                    <a:pt x="4" y="3"/>
                    <a:pt x="3" y="2"/>
                    <a:pt x="2" y="2"/>
                  </a:cubicBezTo>
                  <a:cubicBezTo>
                    <a:pt x="2" y="3"/>
                    <a:pt x="1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4" y="1"/>
                    <a:pt x="6" y="0"/>
                  </a:cubicBezTo>
                  <a:cubicBezTo>
                    <a:pt x="5" y="2"/>
                    <a:pt x="5" y="2"/>
                    <a:pt x="5" y="2"/>
                  </a:cubicBezTo>
                  <a:lnTo>
                    <a:pt x="6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3" name="Freeform 145">
              <a:extLst>
                <a:ext uri="{FF2B5EF4-FFF2-40B4-BE49-F238E27FC236}">
                  <a16:creationId xmlns:a16="http://schemas.microsoft.com/office/drawing/2014/main" id="{BABC067B-2FAD-22AD-2BCA-A0BAB74ECE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7428" y="3264652"/>
              <a:ext cx="23761" cy="12673"/>
            </a:xfrm>
            <a:custGeom>
              <a:avLst/>
              <a:gdLst>
                <a:gd name="T0" fmla="*/ 1 w 2"/>
                <a:gd name="T1" fmla="*/ 1 h 1"/>
                <a:gd name="T2" fmla="*/ 1 w 2"/>
                <a:gd name="T3" fmla="*/ 1 h 1"/>
                <a:gd name="T4" fmla="*/ 0 w 2"/>
                <a:gd name="T5" fmla="*/ 1 h 1"/>
                <a:gd name="T6" fmla="*/ 2 w 2"/>
                <a:gd name="T7" fmla="*/ 0 h 1"/>
                <a:gd name="T8" fmla="*/ 1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4" name="Freeform 146">
              <a:extLst>
                <a:ext uri="{FF2B5EF4-FFF2-40B4-BE49-F238E27FC236}">
                  <a16:creationId xmlns:a16="http://schemas.microsoft.com/office/drawing/2014/main" id="{99D1FB85-56D7-B47A-FD3F-3D5E29FD6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2875" y="3289205"/>
              <a:ext cx="48314" cy="11881"/>
            </a:xfrm>
            <a:custGeom>
              <a:avLst/>
              <a:gdLst>
                <a:gd name="T0" fmla="*/ 61 w 61"/>
                <a:gd name="T1" fmla="*/ 0 h 15"/>
                <a:gd name="T2" fmla="*/ 61 w 61"/>
                <a:gd name="T3" fmla="*/ 0 h 15"/>
                <a:gd name="T4" fmla="*/ 0 w 61"/>
                <a:gd name="T5" fmla="*/ 15 h 15"/>
                <a:gd name="T6" fmla="*/ 0 w 61"/>
                <a:gd name="T7" fmla="*/ 0 h 15"/>
                <a:gd name="T8" fmla="*/ 61 w 61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5">
                  <a:moveTo>
                    <a:pt x="61" y="0"/>
                  </a:moveTo>
                  <a:lnTo>
                    <a:pt x="61" y="0"/>
                  </a:lnTo>
                  <a:lnTo>
                    <a:pt x="0" y="15"/>
                  </a:lnTo>
                  <a:lnTo>
                    <a:pt x="0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5" name="Freeform 147">
              <a:extLst>
                <a:ext uri="{FF2B5EF4-FFF2-40B4-BE49-F238E27FC236}">
                  <a16:creationId xmlns:a16="http://schemas.microsoft.com/office/drawing/2014/main" id="{52E4CC96-A167-6696-C8D9-FCA7DC1D57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0604" y="3191784"/>
              <a:ext cx="168704" cy="72868"/>
            </a:xfrm>
            <a:custGeom>
              <a:avLst/>
              <a:gdLst>
                <a:gd name="T0" fmla="*/ 13 w 14"/>
                <a:gd name="T1" fmla="*/ 4 h 6"/>
                <a:gd name="T2" fmla="*/ 7 w 14"/>
                <a:gd name="T3" fmla="*/ 4 h 6"/>
                <a:gd name="T4" fmla="*/ 9 w 14"/>
                <a:gd name="T5" fmla="*/ 3 h 6"/>
                <a:gd name="T6" fmla="*/ 6 w 14"/>
                <a:gd name="T7" fmla="*/ 5 h 6"/>
                <a:gd name="T8" fmla="*/ 3 w 14"/>
                <a:gd name="T9" fmla="*/ 5 h 6"/>
                <a:gd name="T10" fmla="*/ 3 w 14"/>
                <a:gd name="T11" fmla="*/ 3 h 6"/>
                <a:gd name="T12" fmla="*/ 1 w 14"/>
                <a:gd name="T13" fmla="*/ 5 h 6"/>
                <a:gd name="T14" fmla="*/ 1 w 14"/>
                <a:gd name="T15" fmla="*/ 5 h 6"/>
                <a:gd name="T16" fmla="*/ 1 w 14"/>
                <a:gd name="T17" fmla="*/ 3 h 6"/>
                <a:gd name="T18" fmla="*/ 0 w 14"/>
                <a:gd name="T19" fmla="*/ 3 h 6"/>
                <a:gd name="T20" fmla="*/ 6 w 14"/>
                <a:gd name="T21" fmla="*/ 2 h 6"/>
                <a:gd name="T22" fmla="*/ 4 w 14"/>
                <a:gd name="T23" fmla="*/ 1 h 6"/>
                <a:gd name="T24" fmla="*/ 9 w 14"/>
                <a:gd name="T25" fmla="*/ 1 h 6"/>
                <a:gd name="T26" fmla="*/ 7 w 14"/>
                <a:gd name="T27" fmla="*/ 2 h 6"/>
                <a:gd name="T28" fmla="*/ 10 w 14"/>
                <a:gd name="T29" fmla="*/ 3 h 6"/>
                <a:gd name="T30" fmla="*/ 14 w 14"/>
                <a:gd name="T31" fmla="*/ 2 h 6"/>
                <a:gd name="T32" fmla="*/ 13 w 14"/>
                <a:gd name="T33" fmla="*/ 2 h 6"/>
                <a:gd name="T34" fmla="*/ 13 w 14"/>
                <a:gd name="T3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6">
                  <a:moveTo>
                    <a:pt x="13" y="4"/>
                  </a:moveTo>
                  <a:cubicBezTo>
                    <a:pt x="11" y="5"/>
                    <a:pt x="9" y="5"/>
                    <a:pt x="7" y="4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7" y="2"/>
                    <a:pt x="6" y="4"/>
                    <a:pt x="6" y="5"/>
                  </a:cubicBezTo>
                  <a:cubicBezTo>
                    <a:pt x="5" y="5"/>
                    <a:pt x="4" y="3"/>
                    <a:pt x="3" y="5"/>
                  </a:cubicBezTo>
                  <a:cubicBezTo>
                    <a:pt x="3" y="4"/>
                    <a:pt x="3" y="4"/>
                    <a:pt x="3" y="3"/>
                  </a:cubicBezTo>
                  <a:cubicBezTo>
                    <a:pt x="3" y="4"/>
                    <a:pt x="1" y="6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4"/>
                    <a:pt x="1" y="4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2"/>
                    <a:pt x="8" y="1"/>
                    <a:pt x="7" y="2"/>
                  </a:cubicBezTo>
                  <a:cubicBezTo>
                    <a:pt x="7" y="4"/>
                    <a:pt x="9" y="2"/>
                    <a:pt x="10" y="3"/>
                  </a:cubicBezTo>
                  <a:cubicBezTo>
                    <a:pt x="9" y="0"/>
                    <a:pt x="13" y="3"/>
                    <a:pt x="14" y="2"/>
                  </a:cubicBezTo>
                  <a:cubicBezTo>
                    <a:pt x="13" y="2"/>
                    <a:pt x="13" y="2"/>
                    <a:pt x="13" y="2"/>
                  </a:cubicBezTo>
                  <a:lnTo>
                    <a:pt x="13" y="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6" name="Freeform 148">
              <a:extLst>
                <a:ext uri="{FF2B5EF4-FFF2-40B4-BE49-F238E27FC236}">
                  <a16:creationId xmlns:a16="http://schemas.microsoft.com/office/drawing/2014/main" id="{789720A5-37B1-EB54-4C27-9F331FCD02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799" y="3848385"/>
              <a:ext cx="192465" cy="60987"/>
            </a:xfrm>
            <a:custGeom>
              <a:avLst/>
              <a:gdLst>
                <a:gd name="T0" fmla="*/ 0 w 16"/>
                <a:gd name="T1" fmla="*/ 5 h 5"/>
                <a:gd name="T2" fmla="*/ 16 w 16"/>
                <a:gd name="T3" fmla="*/ 0 h 5"/>
                <a:gd name="T4" fmla="*/ 0 w 16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5">
                  <a:moveTo>
                    <a:pt x="0" y="5"/>
                  </a:moveTo>
                  <a:cubicBezTo>
                    <a:pt x="5" y="4"/>
                    <a:pt x="10" y="0"/>
                    <a:pt x="16" y="0"/>
                  </a:cubicBezTo>
                  <a:cubicBezTo>
                    <a:pt x="10" y="1"/>
                    <a:pt x="6" y="5"/>
                    <a:pt x="0" y="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7" name="Freeform 149">
              <a:extLst>
                <a:ext uri="{FF2B5EF4-FFF2-40B4-BE49-F238E27FC236}">
                  <a16:creationId xmlns:a16="http://schemas.microsoft.com/office/drawing/2014/main" id="{1622DF7B-8692-305E-8A1F-3B7884290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7623" y="3702650"/>
              <a:ext cx="11881" cy="11881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8" name="Freeform 150">
              <a:extLst>
                <a:ext uri="{FF2B5EF4-FFF2-40B4-BE49-F238E27FC236}">
                  <a16:creationId xmlns:a16="http://schemas.microsoft.com/office/drawing/2014/main" id="{2365FF9B-715F-EB63-B5F0-440AA36A0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233" y="2827446"/>
              <a:ext cx="23761" cy="11881"/>
            </a:xfrm>
            <a:custGeom>
              <a:avLst/>
              <a:gdLst>
                <a:gd name="T0" fmla="*/ 15 w 30"/>
                <a:gd name="T1" fmla="*/ 0 h 15"/>
                <a:gd name="T2" fmla="*/ 30 w 30"/>
                <a:gd name="T3" fmla="*/ 0 h 15"/>
                <a:gd name="T4" fmla="*/ 0 w 30"/>
                <a:gd name="T5" fmla="*/ 15 h 15"/>
                <a:gd name="T6" fmla="*/ 0 w 30"/>
                <a:gd name="T7" fmla="*/ 0 h 15"/>
                <a:gd name="T8" fmla="*/ 15 w 3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5">
                  <a:moveTo>
                    <a:pt x="15" y="0"/>
                  </a:moveTo>
                  <a:lnTo>
                    <a:pt x="30" y="0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9" name="Freeform 151">
              <a:extLst>
                <a:ext uri="{FF2B5EF4-FFF2-40B4-BE49-F238E27FC236}">
                  <a16:creationId xmlns:a16="http://schemas.microsoft.com/office/drawing/2014/main" id="{D3D1714B-B0B7-5F31-F5D8-1EF8D6657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799" y="2741906"/>
              <a:ext cx="24553" cy="12673"/>
            </a:xfrm>
            <a:custGeom>
              <a:avLst/>
              <a:gdLst>
                <a:gd name="T0" fmla="*/ 0 w 31"/>
                <a:gd name="T1" fmla="*/ 16 h 16"/>
                <a:gd name="T2" fmla="*/ 31 w 31"/>
                <a:gd name="T3" fmla="*/ 0 h 16"/>
                <a:gd name="T4" fmla="*/ 15 w 31"/>
                <a:gd name="T5" fmla="*/ 0 h 16"/>
                <a:gd name="T6" fmla="*/ 0 w 31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16">
                  <a:moveTo>
                    <a:pt x="0" y="16"/>
                  </a:moveTo>
                  <a:lnTo>
                    <a:pt x="31" y="0"/>
                  </a:lnTo>
                  <a:lnTo>
                    <a:pt x="15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0" name="Freeform 152">
              <a:extLst>
                <a:ext uri="{FF2B5EF4-FFF2-40B4-BE49-F238E27FC236}">
                  <a16:creationId xmlns:a16="http://schemas.microsoft.com/office/drawing/2014/main" id="{3F2DB50A-46FC-8D84-C72F-FC8726A6D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9308" y="3556914"/>
              <a:ext cx="11881" cy="23761"/>
            </a:xfrm>
            <a:custGeom>
              <a:avLst/>
              <a:gdLst>
                <a:gd name="T0" fmla="*/ 0 w 1"/>
                <a:gd name="T1" fmla="*/ 2 h 2"/>
                <a:gd name="T2" fmla="*/ 1 w 1"/>
                <a:gd name="T3" fmla="*/ 1 h 2"/>
                <a:gd name="T4" fmla="*/ 0 w 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2"/>
                    <a:pt x="0" y="0"/>
                    <a:pt x="1" y="1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1" name="Freeform 153">
              <a:extLst>
                <a:ext uri="{FF2B5EF4-FFF2-40B4-BE49-F238E27FC236}">
                  <a16:creationId xmlns:a16="http://schemas.microsoft.com/office/drawing/2014/main" id="{D7CD5F6B-63CE-89E8-4E07-FB8FD23A8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0994" y="3702650"/>
              <a:ext cx="84748" cy="24553"/>
            </a:xfrm>
            <a:custGeom>
              <a:avLst/>
              <a:gdLst>
                <a:gd name="T0" fmla="*/ 7 w 7"/>
                <a:gd name="T1" fmla="*/ 2 h 2"/>
                <a:gd name="T2" fmla="*/ 3 w 7"/>
                <a:gd name="T3" fmla="*/ 1 h 2"/>
                <a:gd name="T4" fmla="*/ 3 w 7"/>
                <a:gd name="T5" fmla="*/ 2 h 2"/>
                <a:gd name="T6" fmla="*/ 0 w 7"/>
                <a:gd name="T7" fmla="*/ 1 h 2"/>
                <a:gd name="T8" fmla="*/ 1 w 7"/>
                <a:gd name="T9" fmla="*/ 1 h 2"/>
                <a:gd name="T10" fmla="*/ 2 w 7"/>
                <a:gd name="T11" fmla="*/ 2 h 2"/>
                <a:gd name="T12" fmla="*/ 4 w 7"/>
                <a:gd name="T13" fmla="*/ 1 h 2"/>
                <a:gd name="T14" fmla="*/ 7 w 7"/>
                <a:gd name="T15" fmla="*/ 1 h 2"/>
                <a:gd name="T16" fmla="*/ 7 w 7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2">
                  <a:moveTo>
                    <a:pt x="7" y="2"/>
                  </a:moveTo>
                  <a:cubicBezTo>
                    <a:pt x="6" y="1"/>
                    <a:pt x="4" y="2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1"/>
                    <a:pt x="0" y="2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2" y="1"/>
                    <a:pt x="2" y="2"/>
                  </a:cubicBezTo>
                  <a:cubicBezTo>
                    <a:pt x="2" y="0"/>
                    <a:pt x="4" y="1"/>
                    <a:pt x="4" y="1"/>
                  </a:cubicBezTo>
                  <a:cubicBezTo>
                    <a:pt x="5" y="1"/>
                    <a:pt x="6" y="1"/>
                    <a:pt x="7" y="1"/>
                  </a:cubicBezTo>
                  <a:lnTo>
                    <a:pt x="7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2" name="Freeform 154">
              <a:extLst>
                <a:ext uri="{FF2B5EF4-FFF2-40B4-BE49-F238E27FC236}">
                  <a16:creationId xmlns:a16="http://schemas.microsoft.com/office/drawing/2014/main" id="{69F4A9B4-8637-294B-0EBB-B96BEB0D6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918" y="2863880"/>
              <a:ext cx="36434" cy="24553"/>
            </a:xfrm>
            <a:custGeom>
              <a:avLst/>
              <a:gdLst>
                <a:gd name="T0" fmla="*/ 0 w 3"/>
                <a:gd name="T1" fmla="*/ 2 h 2"/>
                <a:gd name="T2" fmla="*/ 3 w 3"/>
                <a:gd name="T3" fmla="*/ 2 h 2"/>
                <a:gd name="T4" fmla="*/ 0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1" y="2"/>
                    <a:pt x="2" y="0"/>
                    <a:pt x="3" y="2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3" name="Freeform 155">
              <a:extLst>
                <a:ext uri="{FF2B5EF4-FFF2-40B4-BE49-F238E27FC236}">
                  <a16:creationId xmlns:a16="http://schemas.microsoft.com/office/drawing/2014/main" id="{464302F8-9405-D8E1-6406-80625C474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5352" y="3252771"/>
              <a:ext cx="35642" cy="48314"/>
            </a:xfrm>
            <a:custGeom>
              <a:avLst/>
              <a:gdLst>
                <a:gd name="T0" fmla="*/ 0 w 3"/>
                <a:gd name="T1" fmla="*/ 3 h 4"/>
                <a:gd name="T2" fmla="*/ 3 w 3"/>
                <a:gd name="T3" fmla="*/ 1 h 4"/>
                <a:gd name="T4" fmla="*/ 0 w 3"/>
                <a:gd name="T5" fmla="*/ 1 h 4"/>
                <a:gd name="T6" fmla="*/ 3 w 3"/>
                <a:gd name="T7" fmla="*/ 1 h 4"/>
                <a:gd name="T8" fmla="*/ 0 w 3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3"/>
                  </a:moveTo>
                  <a:cubicBezTo>
                    <a:pt x="1" y="2"/>
                    <a:pt x="2" y="2"/>
                    <a:pt x="3" y="1"/>
                  </a:cubicBezTo>
                  <a:cubicBezTo>
                    <a:pt x="2" y="1"/>
                    <a:pt x="1" y="0"/>
                    <a:pt x="0" y="1"/>
                  </a:cubicBezTo>
                  <a:cubicBezTo>
                    <a:pt x="1" y="1"/>
                    <a:pt x="3" y="0"/>
                    <a:pt x="3" y="1"/>
                  </a:cubicBezTo>
                  <a:cubicBezTo>
                    <a:pt x="3" y="4"/>
                    <a:pt x="1" y="1"/>
                    <a:pt x="0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4" name="Freeform 156">
              <a:extLst>
                <a:ext uri="{FF2B5EF4-FFF2-40B4-BE49-F238E27FC236}">
                  <a16:creationId xmlns:a16="http://schemas.microsoft.com/office/drawing/2014/main" id="{99643BD3-56CA-5849-BA78-3E65EA072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233" y="3459494"/>
              <a:ext cx="35642" cy="24553"/>
            </a:xfrm>
            <a:custGeom>
              <a:avLst/>
              <a:gdLst>
                <a:gd name="T0" fmla="*/ 0 w 3"/>
                <a:gd name="T1" fmla="*/ 2 h 2"/>
                <a:gd name="T2" fmla="*/ 3 w 3"/>
                <a:gd name="T3" fmla="*/ 1 h 2"/>
                <a:gd name="T4" fmla="*/ 0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0" y="0"/>
                    <a:pt x="2" y="2"/>
                    <a:pt x="3" y="1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5" name="Freeform 157">
              <a:extLst>
                <a:ext uri="{FF2B5EF4-FFF2-40B4-BE49-F238E27FC236}">
                  <a16:creationId xmlns:a16="http://schemas.microsoft.com/office/drawing/2014/main" id="{C0FE208C-CE7E-A71C-061F-7402C7109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3070" y="4127975"/>
              <a:ext cx="24553" cy="11881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1 h 1"/>
                <a:gd name="T4" fmla="*/ 2 w 2"/>
                <a:gd name="T5" fmla="*/ 0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1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6" name="Freeform 158">
              <a:extLst>
                <a:ext uri="{FF2B5EF4-FFF2-40B4-BE49-F238E27FC236}">
                  <a16:creationId xmlns:a16="http://schemas.microsoft.com/office/drawing/2014/main" id="{C614CD22-B819-E56C-0E0B-A2821DBCD1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0604" y="2681711"/>
              <a:ext cx="24553" cy="11881"/>
            </a:xfrm>
            <a:custGeom>
              <a:avLst/>
              <a:gdLst>
                <a:gd name="T0" fmla="*/ 31 w 31"/>
                <a:gd name="T1" fmla="*/ 0 h 15"/>
                <a:gd name="T2" fmla="*/ 31 w 31"/>
                <a:gd name="T3" fmla="*/ 0 h 15"/>
                <a:gd name="T4" fmla="*/ 0 w 31"/>
                <a:gd name="T5" fmla="*/ 15 h 15"/>
                <a:gd name="T6" fmla="*/ 0 w 31"/>
                <a:gd name="T7" fmla="*/ 0 h 15"/>
                <a:gd name="T8" fmla="*/ 31 w 31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5">
                  <a:moveTo>
                    <a:pt x="31" y="0"/>
                  </a:moveTo>
                  <a:lnTo>
                    <a:pt x="31" y="0"/>
                  </a:lnTo>
                  <a:lnTo>
                    <a:pt x="0" y="15"/>
                  </a:lnTo>
                  <a:lnTo>
                    <a:pt x="0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7" name="Rectangle 159">
              <a:extLst>
                <a:ext uri="{FF2B5EF4-FFF2-40B4-BE49-F238E27FC236}">
                  <a16:creationId xmlns:a16="http://schemas.microsoft.com/office/drawing/2014/main" id="{AB676C9F-043C-0771-918A-99F6D11B38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70604" y="2645277"/>
              <a:ext cx="1188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8" name="Freeform 160">
              <a:extLst>
                <a:ext uri="{FF2B5EF4-FFF2-40B4-BE49-F238E27FC236}">
                  <a16:creationId xmlns:a16="http://schemas.microsoft.com/office/drawing/2014/main" id="{7E976162-E645-04DE-762B-9AF2D3293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2680" y="3046049"/>
              <a:ext cx="0" cy="24553"/>
            </a:xfrm>
            <a:custGeom>
              <a:avLst/>
              <a:gdLst>
                <a:gd name="T0" fmla="*/ 0 h 31"/>
                <a:gd name="T1" fmla="*/ 31 h 31"/>
                <a:gd name="T2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1">
                  <a:moveTo>
                    <a:pt x="0" y="0"/>
                  </a:move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9" name="Freeform 161">
              <a:extLst>
                <a:ext uri="{FF2B5EF4-FFF2-40B4-BE49-F238E27FC236}">
                  <a16:creationId xmlns:a16="http://schemas.microsoft.com/office/drawing/2014/main" id="{AFC83F1F-FA85-9B3D-A179-CE58A988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9377" y="3168023"/>
              <a:ext cx="1299736" cy="352457"/>
            </a:xfrm>
            <a:custGeom>
              <a:avLst/>
              <a:gdLst>
                <a:gd name="T0" fmla="*/ 106 w 108"/>
                <a:gd name="T1" fmla="*/ 18 h 29"/>
                <a:gd name="T2" fmla="*/ 100 w 108"/>
                <a:gd name="T3" fmla="*/ 21 h 29"/>
                <a:gd name="T4" fmla="*/ 99 w 108"/>
                <a:gd name="T5" fmla="*/ 21 h 29"/>
                <a:gd name="T6" fmla="*/ 89 w 108"/>
                <a:gd name="T7" fmla="*/ 21 h 29"/>
                <a:gd name="T8" fmla="*/ 88 w 108"/>
                <a:gd name="T9" fmla="*/ 21 h 29"/>
                <a:gd name="T10" fmla="*/ 87 w 108"/>
                <a:gd name="T11" fmla="*/ 19 h 29"/>
                <a:gd name="T12" fmla="*/ 74 w 108"/>
                <a:gd name="T13" fmla="*/ 21 h 29"/>
                <a:gd name="T14" fmla="*/ 73 w 108"/>
                <a:gd name="T15" fmla="*/ 21 h 29"/>
                <a:gd name="T16" fmla="*/ 65 w 108"/>
                <a:gd name="T17" fmla="*/ 23 h 29"/>
                <a:gd name="T18" fmla="*/ 58 w 108"/>
                <a:gd name="T19" fmla="*/ 28 h 29"/>
                <a:gd name="T20" fmla="*/ 48 w 108"/>
                <a:gd name="T21" fmla="*/ 28 h 29"/>
                <a:gd name="T22" fmla="*/ 50 w 108"/>
                <a:gd name="T23" fmla="*/ 26 h 29"/>
                <a:gd name="T24" fmla="*/ 47 w 108"/>
                <a:gd name="T25" fmla="*/ 24 h 29"/>
                <a:gd name="T26" fmla="*/ 40 w 108"/>
                <a:gd name="T27" fmla="*/ 22 h 29"/>
                <a:gd name="T28" fmla="*/ 26 w 108"/>
                <a:gd name="T29" fmla="*/ 19 h 29"/>
                <a:gd name="T30" fmla="*/ 31 w 108"/>
                <a:gd name="T31" fmla="*/ 20 h 29"/>
                <a:gd name="T32" fmla="*/ 43 w 108"/>
                <a:gd name="T33" fmla="*/ 16 h 29"/>
                <a:gd name="T34" fmla="*/ 53 w 108"/>
                <a:gd name="T35" fmla="*/ 14 h 29"/>
                <a:gd name="T36" fmla="*/ 50 w 108"/>
                <a:gd name="T37" fmla="*/ 12 h 29"/>
                <a:gd name="T38" fmla="*/ 39 w 108"/>
                <a:gd name="T39" fmla="*/ 16 h 29"/>
                <a:gd name="T40" fmla="*/ 23 w 108"/>
                <a:gd name="T41" fmla="*/ 16 h 29"/>
                <a:gd name="T42" fmla="*/ 18 w 108"/>
                <a:gd name="T43" fmla="*/ 16 h 29"/>
                <a:gd name="T44" fmla="*/ 12 w 108"/>
                <a:gd name="T45" fmla="*/ 21 h 29"/>
                <a:gd name="T46" fmla="*/ 11 w 108"/>
                <a:gd name="T47" fmla="*/ 22 h 29"/>
                <a:gd name="T48" fmla="*/ 9 w 108"/>
                <a:gd name="T49" fmla="*/ 24 h 29"/>
                <a:gd name="T50" fmla="*/ 5 w 108"/>
                <a:gd name="T51" fmla="*/ 23 h 29"/>
                <a:gd name="T52" fmla="*/ 7 w 108"/>
                <a:gd name="T53" fmla="*/ 22 h 29"/>
                <a:gd name="T54" fmla="*/ 4 w 108"/>
                <a:gd name="T55" fmla="*/ 19 h 29"/>
                <a:gd name="T56" fmla="*/ 3 w 108"/>
                <a:gd name="T57" fmla="*/ 18 h 29"/>
                <a:gd name="T58" fmla="*/ 2 w 108"/>
                <a:gd name="T59" fmla="*/ 10 h 29"/>
                <a:gd name="T60" fmla="*/ 27 w 108"/>
                <a:gd name="T61" fmla="*/ 8 h 29"/>
                <a:gd name="T62" fmla="*/ 36 w 108"/>
                <a:gd name="T63" fmla="*/ 11 h 29"/>
                <a:gd name="T64" fmla="*/ 31 w 108"/>
                <a:gd name="T65" fmla="*/ 11 h 29"/>
                <a:gd name="T66" fmla="*/ 27 w 108"/>
                <a:gd name="T67" fmla="*/ 12 h 29"/>
                <a:gd name="T68" fmla="*/ 42 w 108"/>
                <a:gd name="T69" fmla="*/ 12 h 29"/>
                <a:gd name="T70" fmla="*/ 43 w 108"/>
                <a:gd name="T71" fmla="*/ 12 h 29"/>
                <a:gd name="T72" fmla="*/ 71 w 108"/>
                <a:gd name="T73" fmla="*/ 10 h 29"/>
                <a:gd name="T74" fmla="*/ 79 w 108"/>
                <a:gd name="T75" fmla="*/ 9 h 29"/>
                <a:gd name="T76" fmla="*/ 72 w 108"/>
                <a:gd name="T77" fmla="*/ 7 h 29"/>
                <a:gd name="T78" fmla="*/ 57 w 108"/>
                <a:gd name="T79" fmla="*/ 6 h 29"/>
                <a:gd name="T80" fmla="*/ 53 w 108"/>
                <a:gd name="T81" fmla="*/ 5 h 29"/>
                <a:gd name="T82" fmla="*/ 47 w 108"/>
                <a:gd name="T83" fmla="*/ 5 h 29"/>
                <a:gd name="T84" fmla="*/ 54 w 108"/>
                <a:gd name="T85" fmla="*/ 3 h 29"/>
                <a:gd name="T86" fmla="*/ 56 w 108"/>
                <a:gd name="T87" fmla="*/ 3 h 29"/>
                <a:gd name="T88" fmla="*/ 59 w 108"/>
                <a:gd name="T89" fmla="*/ 2 h 29"/>
                <a:gd name="T90" fmla="*/ 75 w 108"/>
                <a:gd name="T91" fmla="*/ 2 h 29"/>
                <a:gd name="T92" fmla="*/ 85 w 108"/>
                <a:gd name="T93" fmla="*/ 3 h 29"/>
                <a:gd name="T94" fmla="*/ 96 w 108"/>
                <a:gd name="T95" fmla="*/ 6 h 29"/>
                <a:gd name="T96" fmla="*/ 85 w 108"/>
                <a:gd name="T97" fmla="*/ 8 h 29"/>
                <a:gd name="T98" fmla="*/ 82 w 108"/>
                <a:gd name="T99" fmla="*/ 9 h 29"/>
                <a:gd name="T100" fmla="*/ 84 w 108"/>
                <a:gd name="T101" fmla="*/ 11 h 29"/>
                <a:gd name="T102" fmla="*/ 90 w 108"/>
                <a:gd name="T103" fmla="*/ 12 h 29"/>
                <a:gd name="T104" fmla="*/ 88 w 108"/>
                <a:gd name="T105" fmla="*/ 16 h 29"/>
                <a:gd name="T106" fmla="*/ 92 w 108"/>
                <a:gd name="T107" fmla="*/ 17 h 29"/>
                <a:gd name="T108" fmla="*/ 96 w 108"/>
                <a:gd name="T109" fmla="*/ 18 h 29"/>
                <a:gd name="T110" fmla="*/ 105 w 108"/>
                <a:gd name="T111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8" h="29">
                  <a:moveTo>
                    <a:pt x="108" y="20"/>
                  </a:moveTo>
                  <a:cubicBezTo>
                    <a:pt x="107" y="20"/>
                    <a:pt x="107" y="20"/>
                    <a:pt x="107" y="20"/>
                  </a:cubicBezTo>
                  <a:cubicBezTo>
                    <a:pt x="107" y="19"/>
                    <a:pt x="107" y="19"/>
                    <a:pt x="108" y="18"/>
                  </a:cubicBezTo>
                  <a:cubicBezTo>
                    <a:pt x="107" y="18"/>
                    <a:pt x="107" y="18"/>
                    <a:pt x="106" y="18"/>
                  </a:cubicBezTo>
                  <a:cubicBezTo>
                    <a:pt x="107" y="21"/>
                    <a:pt x="103" y="19"/>
                    <a:pt x="103" y="20"/>
                  </a:cubicBezTo>
                  <a:cubicBezTo>
                    <a:pt x="102" y="19"/>
                    <a:pt x="102" y="20"/>
                    <a:pt x="102" y="20"/>
                  </a:cubicBezTo>
                  <a:cubicBezTo>
                    <a:pt x="102" y="21"/>
                    <a:pt x="102" y="21"/>
                    <a:pt x="102" y="21"/>
                  </a:cubicBezTo>
                  <a:cubicBezTo>
                    <a:pt x="101" y="20"/>
                    <a:pt x="100" y="21"/>
                    <a:pt x="100" y="21"/>
                  </a:cubicBezTo>
                  <a:cubicBezTo>
                    <a:pt x="101" y="21"/>
                    <a:pt x="101" y="20"/>
                    <a:pt x="102" y="20"/>
                  </a:cubicBezTo>
                  <a:cubicBezTo>
                    <a:pt x="101" y="19"/>
                    <a:pt x="99" y="19"/>
                    <a:pt x="98" y="19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9" y="21"/>
                    <a:pt x="99" y="21"/>
                    <a:pt x="99" y="21"/>
                  </a:cubicBezTo>
                  <a:cubicBezTo>
                    <a:pt x="97" y="21"/>
                    <a:pt x="93" y="20"/>
                    <a:pt x="91" y="21"/>
                  </a:cubicBezTo>
                  <a:cubicBezTo>
                    <a:pt x="92" y="21"/>
                    <a:pt x="94" y="21"/>
                    <a:pt x="94" y="20"/>
                  </a:cubicBezTo>
                  <a:cubicBezTo>
                    <a:pt x="92" y="17"/>
                    <a:pt x="91" y="20"/>
                    <a:pt x="89" y="20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6" y="21"/>
                    <a:pt x="87" y="21"/>
                    <a:pt x="88" y="21"/>
                  </a:cubicBezTo>
                  <a:cubicBezTo>
                    <a:pt x="87" y="19"/>
                    <a:pt x="86" y="20"/>
                    <a:pt x="85" y="20"/>
                  </a:cubicBezTo>
                  <a:cubicBezTo>
                    <a:pt x="84" y="22"/>
                    <a:pt x="83" y="21"/>
                    <a:pt x="82" y="21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3" y="19"/>
                    <a:pt x="86" y="21"/>
                    <a:pt x="87" y="19"/>
                  </a:cubicBezTo>
                  <a:cubicBezTo>
                    <a:pt x="85" y="18"/>
                    <a:pt x="85" y="18"/>
                    <a:pt x="85" y="18"/>
                  </a:cubicBezTo>
                  <a:cubicBezTo>
                    <a:pt x="82" y="20"/>
                    <a:pt x="78" y="17"/>
                    <a:pt x="76" y="2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74" y="22"/>
                    <a:pt x="73" y="22"/>
                    <a:pt x="72" y="22"/>
                  </a:cubicBezTo>
                  <a:cubicBezTo>
                    <a:pt x="72" y="22"/>
                    <a:pt x="73" y="23"/>
                    <a:pt x="73" y="2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2" y="20"/>
                    <a:pt x="71" y="23"/>
                    <a:pt x="70" y="22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2"/>
                    <a:pt x="69" y="22"/>
                    <a:pt x="68" y="22"/>
                  </a:cubicBezTo>
                  <a:cubicBezTo>
                    <a:pt x="67" y="21"/>
                    <a:pt x="66" y="24"/>
                    <a:pt x="65" y="23"/>
                  </a:cubicBezTo>
                  <a:cubicBezTo>
                    <a:pt x="66" y="26"/>
                    <a:pt x="62" y="25"/>
                    <a:pt x="62" y="26"/>
                  </a:cubicBezTo>
                  <a:cubicBezTo>
                    <a:pt x="62" y="25"/>
                    <a:pt x="60" y="29"/>
                    <a:pt x="58" y="26"/>
                  </a:cubicBezTo>
                  <a:cubicBezTo>
                    <a:pt x="56" y="27"/>
                    <a:pt x="54" y="25"/>
                    <a:pt x="53" y="27"/>
                  </a:cubicBezTo>
                  <a:cubicBezTo>
                    <a:pt x="54" y="29"/>
                    <a:pt x="57" y="27"/>
                    <a:pt x="58" y="28"/>
                  </a:cubicBezTo>
                  <a:cubicBezTo>
                    <a:pt x="56" y="29"/>
                    <a:pt x="55" y="29"/>
                    <a:pt x="54" y="29"/>
                  </a:cubicBezTo>
                  <a:cubicBezTo>
                    <a:pt x="52" y="29"/>
                    <a:pt x="49" y="29"/>
                    <a:pt x="46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8" y="29"/>
                    <a:pt x="48" y="28"/>
                    <a:pt x="48" y="28"/>
                  </a:cubicBezTo>
                  <a:cubicBezTo>
                    <a:pt x="45" y="27"/>
                    <a:pt x="40" y="28"/>
                    <a:pt x="36" y="28"/>
                  </a:cubicBezTo>
                  <a:cubicBezTo>
                    <a:pt x="36" y="28"/>
                    <a:pt x="40" y="29"/>
                    <a:pt x="39" y="27"/>
                  </a:cubicBezTo>
                  <a:cubicBezTo>
                    <a:pt x="42" y="26"/>
                    <a:pt x="47" y="27"/>
                    <a:pt x="50" y="25"/>
                  </a:cubicBezTo>
                  <a:cubicBezTo>
                    <a:pt x="50" y="25"/>
                    <a:pt x="50" y="26"/>
                    <a:pt x="50" y="26"/>
                  </a:cubicBezTo>
                  <a:cubicBezTo>
                    <a:pt x="51" y="26"/>
                    <a:pt x="53" y="27"/>
                    <a:pt x="54" y="25"/>
                  </a:cubicBezTo>
                  <a:cubicBezTo>
                    <a:pt x="53" y="25"/>
                    <a:pt x="55" y="26"/>
                    <a:pt x="55" y="24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3" y="22"/>
                    <a:pt x="49" y="24"/>
                    <a:pt x="47" y="24"/>
                  </a:cubicBezTo>
                  <a:cubicBezTo>
                    <a:pt x="46" y="24"/>
                    <a:pt x="44" y="24"/>
                    <a:pt x="43" y="24"/>
                  </a:cubicBezTo>
                  <a:cubicBezTo>
                    <a:pt x="43" y="24"/>
                    <a:pt x="46" y="22"/>
                    <a:pt x="47" y="24"/>
                  </a:cubicBezTo>
                  <a:cubicBezTo>
                    <a:pt x="48" y="23"/>
                    <a:pt x="47" y="23"/>
                    <a:pt x="48" y="23"/>
                  </a:cubicBezTo>
                  <a:cubicBezTo>
                    <a:pt x="45" y="20"/>
                    <a:pt x="42" y="23"/>
                    <a:pt x="40" y="22"/>
                  </a:cubicBezTo>
                  <a:cubicBezTo>
                    <a:pt x="41" y="22"/>
                    <a:pt x="43" y="21"/>
                    <a:pt x="43" y="20"/>
                  </a:cubicBezTo>
                  <a:cubicBezTo>
                    <a:pt x="42" y="20"/>
                    <a:pt x="41" y="20"/>
                    <a:pt x="39" y="19"/>
                  </a:cubicBezTo>
                  <a:cubicBezTo>
                    <a:pt x="35" y="21"/>
                    <a:pt x="31" y="20"/>
                    <a:pt x="27" y="21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0" y="20"/>
                    <a:pt x="31" y="20"/>
                  </a:cubicBezTo>
                  <a:cubicBezTo>
                    <a:pt x="32" y="20"/>
                    <a:pt x="33" y="19"/>
                    <a:pt x="33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5" y="18"/>
                    <a:pt x="36" y="18"/>
                    <a:pt x="37" y="18"/>
                  </a:cubicBezTo>
                  <a:cubicBezTo>
                    <a:pt x="40" y="19"/>
                    <a:pt x="41" y="16"/>
                    <a:pt x="43" y="16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5" y="16"/>
                    <a:pt x="48" y="16"/>
                    <a:pt x="51" y="15"/>
                  </a:cubicBezTo>
                  <a:cubicBezTo>
                    <a:pt x="52" y="15"/>
                    <a:pt x="52" y="16"/>
                    <a:pt x="53" y="16"/>
                  </a:cubicBezTo>
                  <a:cubicBezTo>
                    <a:pt x="55" y="15"/>
                    <a:pt x="53" y="14"/>
                    <a:pt x="53" y="14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3"/>
                    <a:pt x="52" y="13"/>
                    <a:pt x="51" y="13"/>
                  </a:cubicBezTo>
                  <a:cubicBezTo>
                    <a:pt x="54" y="12"/>
                    <a:pt x="57" y="15"/>
                    <a:pt x="58" y="12"/>
                  </a:cubicBezTo>
                  <a:cubicBezTo>
                    <a:pt x="55" y="11"/>
                    <a:pt x="52" y="11"/>
                    <a:pt x="50" y="12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48" y="14"/>
                    <a:pt x="45" y="12"/>
                    <a:pt x="44" y="15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3" y="16"/>
                    <a:pt x="40" y="11"/>
                    <a:pt x="39" y="16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4" y="13"/>
                    <a:pt x="32" y="17"/>
                    <a:pt x="26" y="16"/>
                  </a:cubicBezTo>
                  <a:cubicBezTo>
                    <a:pt x="28" y="14"/>
                    <a:pt x="29" y="16"/>
                    <a:pt x="30" y="14"/>
                  </a:cubicBezTo>
                  <a:cubicBezTo>
                    <a:pt x="26" y="11"/>
                    <a:pt x="27" y="18"/>
                    <a:pt x="23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2" y="16"/>
                    <a:pt x="23" y="16"/>
                    <a:pt x="23" y="15"/>
                  </a:cubicBezTo>
                  <a:cubicBezTo>
                    <a:pt x="20" y="14"/>
                    <a:pt x="21" y="15"/>
                    <a:pt x="20" y="17"/>
                  </a:cubicBezTo>
                  <a:cubicBezTo>
                    <a:pt x="19" y="16"/>
                    <a:pt x="19" y="15"/>
                    <a:pt x="18" y="16"/>
                  </a:cubicBezTo>
                  <a:cubicBezTo>
                    <a:pt x="18" y="16"/>
                    <a:pt x="17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9" y="18"/>
                    <a:pt x="16" y="17"/>
                    <a:pt x="17" y="18"/>
                  </a:cubicBezTo>
                  <a:cubicBezTo>
                    <a:pt x="16" y="18"/>
                    <a:pt x="14" y="21"/>
                    <a:pt x="12" y="21"/>
                  </a:cubicBezTo>
                  <a:cubicBezTo>
                    <a:pt x="13" y="23"/>
                    <a:pt x="15" y="22"/>
                    <a:pt x="17" y="22"/>
                  </a:cubicBezTo>
                  <a:cubicBezTo>
                    <a:pt x="17" y="23"/>
                    <a:pt x="13" y="21"/>
                    <a:pt x="13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3"/>
                    <a:pt x="11" y="23"/>
                    <a:pt x="11" y="22"/>
                  </a:cubicBezTo>
                  <a:cubicBezTo>
                    <a:pt x="11" y="22"/>
                    <a:pt x="10" y="22"/>
                    <a:pt x="10" y="23"/>
                  </a:cubicBezTo>
                  <a:cubicBezTo>
                    <a:pt x="10" y="23"/>
                    <a:pt x="10" y="24"/>
                    <a:pt x="10" y="24"/>
                  </a:cubicBezTo>
                  <a:cubicBezTo>
                    <a:pt x="10" y="23"/>
                    <a:pt x="9" y="22"/>
                    <a:pt x="8" y="22"/>
                  </a:cubicBezTo>
                  <a:cubicBezTo>
                    <a:pt x="8" y="22"/>
                    <a:pt x="8" y="24"/>
                    <a:pt x="9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7" y="23"/>
                    <a:pt x="6" y="24"/>
                    <a:pt x="5" y="24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3"/>
                    <a:pt x="7" y="23"/>
                    <a:pt x="7" y="22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9" y="20"/>
                    <a:pt x="14" y="22"/>
                    <a:pt x="15" y="18"/>
                  </a:cubicBezTo>
                  <a:cubicBezTo>
                    <a:pt x="13" y="17"/>
                    <a:pt x="12" y="17"/>
                    <a:pt x="11" y="18"/>
                  </a:cubicBezTo>
                  <a:cubicBezTo>
                    <a:pt x="10" y="19"/>
                    <a:pt x="9" y="18"/>
                    <a:pt x="9" y="18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4" y="20"/>
                    <a:pt x="3" y="19"/>
                    <a:pt x="3" y="18"/>
                  </a:cubicBezTo>
                  <a:cubicBezTo>
                    <a:pt x="7" y="18"/>
                    <a:pt x="10" y="15"/>
                    <a:pt x="13" y="15"/>
                  </a:cubicBezTo>
                  <a:cubicBezTo>
                    <a:pt x="9" y="14"/>
                    <a:pt x="4" y="16"/>
                    <a:pt x="0" y="16"/>
                  </a:cubicBezTo>
                  <a:cubicBezTo>
                    <a:pt x="2" y="16"/>
                    <a:pt x="2" y="15"/>
                    <a:pt x="3" y="14"/>
                  </a:cubicBezTo>
                  <a:cubicBezTo>
                    <a:pt x="2" y="12"/>
                    <a:pt x="2" y="12"/>
                    <a:pt x="2" y="10"/>
                  </a:cubicBezTo>
                  <a:cubicBezTo>
                    <a:pt x="8" y="10"/>
                    <a:pt x="13" y="8"/>
                    <a:pt x="19" y="6"/>
                  </a:cubicBezTo>
                  <a:cubicBezTo>
                    <a:pt x="18" y="7"/>
                    <a:pt x="18" y="6"/>
                    <a:pt x="18" y="7"/>
                  </a:cubicBezTo>
                  <a:cubicBezTo>
                    <a:pt x="19" y="10"/>
                    <a:pt x="22" y="5"/>
                    <a:pt x="23" y="8"/>
                  </a:cubicBezTo>
                  <a:cubicBezTo>
                    <a:pt x="24" y="7"/>
                    <a:pt x="26" y="8"/>
                    <a:pt x="27" y="8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30" y="9"/>
                    <a:pt x="33" y="8"/>
                    <a:pt x="35" y="10"/>
                  </a:cubicBezTo>
                  <a:cubicBezTo>
                    <a:pt x="36" y="9"/>
                    <a:pt x="36" y="8"/>
                    <a:pt x="37" y="9"/>
                  </a:cubicBezTo>
                  <a:cubicBezTo>
                    <a:pt x="37" y="9"/>
                    <a:pt x="36" y="10"/>
                    <a:pt x="36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31" y="10"/>
                    <a:pt x="31" y="11"/>
                    <a:pt x="31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30" y="12"/>
                    <a:pt x="30" y="11"/>
                    <a:pt x="30" y="11"/>
                  </a:cubicBezTo>
                  <a:cubicBezTo>
                    <a:pt x="29" y="10"/>
                    <a:pt x="28" y="12"/>
                    <a:pt x="27" y="12"/>
                  </a:cubicBezTo>
                  <a:cubicBezTo>
                    <a:pt x="26" y="14"/>
                    <a:pt x="23" y="10"/>
                    <a:pt x="23" y="14"/>
                  </a:cubicBezTo>
                  <a:cubicBezTo>
                    <a:pt x="25" y="14"/>
                    <a:pt x="27" y="12"/>
                    <a:pt x="30" y="14"/>
                  </a:cubicBezTo>
                  <a:cubicBezTo>
                    <a:pt x="32" y="11"/>
                    <a:pt x="34" y="15"/>
                    <a:pt x="36" y="12"/>
                  </a:cubicBezTo>
                  <a:cubicBezTo>
                    <a:pt x="37" y="14"/>
                    <a:pt x="40" y="12"/>
                    <a:pt x="42" y="12"/>
                  </a:cubicBezTo>
                  <a:cubicBezTo>
                    <a:pt x="42" y="13"/>
                    <a:pt x="41" y="13"/>
                    <a:pt x="41" y="13"/>
                  </a:cubicBezTo>
                  <a:cubicBezTo>
                    <a:pt x="42" y="13"/>
                    <a:pt x="42" y="14"/>
                    <a:pt x="42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9" y="10"/>
                    <a:pt x="58" y="10"/>
                  </a:cubicBezTo>
                  <a:cubicBezTo>
                    <a:pt x="61" y="8"/>
                    <a:pt x="70" y="12"/>
                    <a:pt x="72" y="9"/>
                  </a:cubicBezTo>
                  <a:cubicBezTo>
                    <a:pt x="71" y="9"/>
                    <a:pt x="71" y="10"/>
                    <a:pt x="71" y="10"/>
                  </a:cubicBezTo>
                  <a:cubicBezTo>
                    <a:pt x="73" y="11"/>
                    <a:pt x="77" y="11"/>
                    <a:pt x="79" y="11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9" y="9"/>
                    <a:pt x="78" y="9"/>
                    <a:pt x="78" y="8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79" y="9"/>
                    <a:pt x="80" y="11"/>
                    <a:pt x="81" y="10"/>
                  </a:cubicBezTo>
                  <a:cubicBezTo>
                    <a:pt x="80" y="7"/>
                    <a:pt x="85" y="9"/>
                    <a:pt x="83" y="6"/>
                  </a:cubicBezTo>
                  <a:cubicBezTo>
                    <a:pt x="80" y="7"/>
                    <a:pt x="75" y="7"/>
                    <a:pt x="72" y="7"/>
                  </a:cubicBezTo>
                  <a:cubicBezTo>
                    <a:pt x="71" y="8"/>
                    <a:pt x="70" y="8"/>
                    <a:pt x="69" y="7"/>
                  </a:cubicBezTo>
                  <a:cubicBezTo>
                    <a:pt x="69" y="6"/>
                    <a:pt x="67" y="7"/>
                    <a:pt x="66" y="7"/>
                  </a:cubicBezTo>
                  <a:cubicBezTo>
                    <a:pt x="64" y="8"/>
                    <a:pt x="63" y="7"/>
                    <a:pt x="61" y="8"/>
                  </a:cubicBezTo>
                  <a:cubicBezTo>
                    <a:pt x="60" y="6"/>
                    <a:pt x="58" y="7"/>
                    <a:pt x="57" y="6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6" y="5"/>
                    <a:pt x="55" y="7"/>
                    <a:pt x="53" y="7"/>
                  </a:cubicBezTo>
                  <a:cubicBezTo>
                    <a:pt x="53" y="6"/>
                    <a:pt x="53" y="6"/>
                    <a:pt x="52" y="5"/>
                  </a:cubicBezTo>
                  <a:cubicBezTo>
                    <a:pt x="53" y="6"/>
                    <a:pt x="53" y="5"/>
                    <a:pt x="53" y="5"/>
                  </a:cubicBezTo>
                  <a:cubicBezTo>
                    <a:pt x="53" y="5"/>
                    <a:pt x="53" y="5"/>
                    <a:pt x="53" y="4"/>
                  </a:cubicBezTo>
                  <a:cubicBezTo>
                    <a:pt x="52" y="4"/>
                    <a:pt x="52" y="5"/>
                    <a:pt x="51" y="6"/>
                  </a:cubicBezTo>
                  <a:cubicBezTo>
                    <a:pt x="50" y="5"/>
                    <a:pt x="46" y="6"/>
                    <a:pt x="45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6"/>
                    <a:pt x="48" y="6"/>
                  </a:cubicBezTo>
                  <a:cubicBezTo>
                    <a:pt x="49" y="6"/>
                    <a:pt x="48" y="5"/>
                    <a:pt x="49" y="5"/>
                  </a:cubicBezTo>
                  <a:cubicBezTo>
                    <a:pt x="50" y="6"/>
                    <a:pt x="50" y="3"/>
                    <a:pt x="51" y="5"/>
                  </a:cubicBezTo>
                  <a:cubicBezTo>
                    <a:pt x="52" y="4"/>
                    <a:pt x="53" y="4"/>
                    <a:pt x="54" y="3"/>
                  </a:cubicBezTo>
                  <a:cubicBezTo>
                    <a:pt x="54" y="4"/>
                    <a:pt x="54" y="4"/>
                    <a:pt x="55" y="4"/>
                  </a:cubicBezTo>
                  <a:cubicBezTo>
                    <a:pt x="55" y="4"/>
                    <a:pt x="53" y="4"/>
                    <a:pt x="54" y="5"/>
                  </a:cubicBezTo>
                  <a:cubicBezTo>
                    <a:pt x="55" y="6"/>
                    <a:pt x="56" y="5"/>
                    <a:pt x="57" y="5"/>
                  </a:cubicBezTo>
                  <a:cubicBezTo>
                    <a:pt x="58" y="5"/>
                    <a:pt x="57" y="4"/>
                    <a:pt x="56" y="3"/>
                  </a:cubicBezTo>
                  <a:cubicBezTo>
                    <a:pt x="57" y="3"/>
                    <a:pt x="57" y="3"/>
                    <a:pt x="58" y="3"/>
                  </a:cubicBezTo>
                  <a:cubicBezTo>
                    <a:pt x="57" y="3"/>
                    <a:pt x="57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8" y="4"/>
                    <a:pt x="60" y="2"/>
                    <a:pt x="61" y="3"/>
                  </a:cubicBezTo>
                  <a:cubicBezTo>
                    <a:pt x="62" y="2"/>
                    <a:pt x="64" y="3"/>
                    <a:pt x="65" y="1"/>
                  </a:cubicBezTo>
                  <a:cubicBezTo>
                    <a:pt x="65" y="1"/>
                    <a:pt x="66" y="2"/>
                    <a:pt x="66" y="2"/>
                  </a:cubicBezTo>
                  <a:cubicBezTo>
                    <a:pt x="69" y="0"/>
                    <a:pt x="72" y="2"/>
                    <a:pt x="75" y="2"/>
                  </a:cubicBezTo>
                  <a:cubicBezTo>
                    <a:pt x="76" y="2"/>
                    <a:pt x="76" y="1"/>
                    <a:pt x="76" y="1"/>
                  </a:cubicBezTo>
                  <a:cubicBezTo>
                    <a:pt x="77" y="3"/>
                    <a:pt x="80" y="2"/>
                    <a:pt x="81" y="2"/>
                  </a:cubicBezTo>
                  <a:cubicBezTo>
                    <a:pt x="81" y="3"/>
                    <a:pt x="81" y="3"/>
                    <a:pt x="81" y="3"/>
                  </a:cubicBezTo>
                  <a:cubicBezTo>
                    <a:pt x="83" y="4"/>
                    <a:pt x="84" y="1"/>
                    <a:pt x="85" y="3"/>
                  </a:cubicBezTo>
                  <a:cubicBezTo>
                    <a:pt x="89" y="1"/>
                    <a:pt x="93" y="4"/>
                    <a:pt x="98" y="3"/>
                  </a:cubicBezTo>
                  <a:cubicBezTo>
                    <a:pt x="95" y="3"/>
                    <a:pt x="91" y="2"/>
                    <a:pt x="88" y="4"/>
                  </a:cubicBezTo>
                  <a:cubicBezTo>
                    <a:pt x="91" y="5"/>
                    <a:pt x="94" y="4"/>
                    <a:pt x="98" y="4"/>
                  </a:cubicBezTo>
                  <a:cubicBezTo>
                    <a:pt x="99" y="5"/>
                    <a:pt x="97" y="5"/>
                    <a:pt x="96" y="6"/>
                  </a:cubicBezTo>
                  <a:cubicBezTo>
                    <a:pt x="95" y="6"/>
                    <a:pt x="94" y="5"/>
                    <a:pt x="94" y="4"/>
                  </a:cubicBezTo>
                  <a:cubicBezTo>
                    <a:pt x="92" y="6"/>
                    <a:pt x="88" y="5"/>
                    <a:pt x="86" y="5"/>
                  </a:cubicBezTo>
                  <a:cubicBezTo>
                    <a:pt x="86" y="8"/>
                    <a:pt x="88" y="6"/>
                    <a:pt x="89" y="7"/>
                  </a:cubicBezTo>
                  <a:cubicBezTo>
                    <a:pt x="88" y="6"/>
                    <a:pt x="86" y="7"/>
                    <a:pt x="85" y="8"/>
                  </a:cubicBezTo>
                  <a:cubicBezTo>
                    <a:pt x="86" y="9"/>
                    <a:pt x="88" y="8"/>
                    <a:pt x="88" y="9"/>
                  </a:cubicBezTo>
                  <a:cubicBezTo>
                    <a:pt x="87" y="8"/>
                    <a:pt x="85" y="9"/>
                    <a:pt x="85" y="10"/>
                  </a:cubicBezTo>
                  <a:cubicBezTo>
                    <a:pt x="84" y="10"/>
                    <a:pt x="87" y="9"/>
                    <a:pt x="85" y="8"/>
                  </a:cubicBezTo>
                  <a:cubicBezTo>
                    <a:pt x="84" y="9"/>
                    <a:pt x="82" y="8"/>
                    <a:pt x="82" y="9"/>
                  </a:cubicBezTo>
                  <a:cubicBezTo>
                    <a:pt x="82" y="11"/>
                    <a:pt x="84" y="9"/>
                    <a:pt x="83" y="10"/>
                  </a:cubicBezTo>
                  <a:cubicBezTo>
                    <a:pt x="83" y="10"/>
                    <a:pt x="82" y="10"/>
                    <a:pt x="82" y="11"/>
                  </a:cubicBezTo>
                  <a:cubicBezTo>
                    <a:pt x="82" y="11"/>
                    <a:pt x="84" y="11"/>
                    <a:pt x="84" y="12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6" y="12"/>
                    <a:pt x="86" y="11"/>
                    <a:pt x="87" y="11"/>
                  </a:cubicBezTo>
                  <a:cubicBezTo>
                    <a:pt x="87" y="12"/>
                    <a:pt x="87" y="12"/>
                    <a:pt x="87" y="12"/>
                  </a:cubicBezTo>
                  <a:cubicBezTo>
                    <a:pt x="88" y="13"/>
                    <a:pt x="89" y="10"/>
                    <a:pt x="90" y="12"/>
                  </a:cubicBezTo>
                  <a:cubicBezTo>
                    <a:pt x="90" y="13"/>
                    <a:pt x="87" y="13"/>
                    <a:pt x="88" y="15"/>
                  </a:cubicBezTo>
                  <a:cubicBezTo>
                    <a:pt x="87" y="14"/>
                    <a:pt x="87" y="14"/>
                    <a:pt x="87" y="14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88" y="15"/>
                    <a:pt x="90" y="17"/>
                    <a:pt x="91" y="17"/>
                  </a:cubicBezTo>
                  <a:cubicBezTo>
                    <a:pt x="92" y="16"/>
                    <a:pt x="93" y="16"/>
                    <a:pt x="93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18"/>
                    <a:pt x="93" y="18"/>
                    <a:pt x="93" y="19"/>
                  </a:cubicBezTo>
                  <a:cubicBezTo>
                    <a:pt x="93" y="19"/>
                    <a:pt x="94" y="19"/>
                    <a:pt x="94" y="18"/>
                  </a:cubicBezTo>
                  <a:cubicBezTo>
                    <a:pt x="94" y="18"/>
                    <a:pt x="94" y="19"/>
                    <a:pt x="94" y="19"/>
                  </a:cubicBezTo>
                  <a:cubicBezTo>
                    <a:pt x="95" y="20"/>
                    <a:pt x="95" y="18"/>
                    <a:pt x="96" y="18"/>
                  </a:cubicBezTo>
                  <a:cubicBezTo>
                    <a:pt x="98" y="18"/>
                    <a:pt x="100" y="18"/>
                    <a:pt x="102" y="16"/>
                  </a:cubicBezTo>
                  <a:cubicBezTo>
                    <a:pt x="102" y="17"/>
                    <a:pt x="102" y="17"/>
                    <a:pt x="102" y="17"/>
                  </a:cubicBezTo>
                  <a:cubicBezTo>
                    <a:pt x="101" y="18"/>
                    <a:pt x="99" y="17"/>
                    <a:pt x="99" y="19"/>
                  </a:cubicBezTo>
                  <a:cubicBezTo>
                    <a:pt x="105" y="19"/>
                    <a:pt x="105" y="19"/>
                    <a:pt x="105" y="19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8" y="18"/>
                    <a:pt x="108" y="18"/>
                    <a:pt x="108" y="18"/>
                  </a:cubicBezTo>
                  <a:cubicBezTo>
                    <a:pt x="107" y="18"/>
                    <a:pt x="108" y="19"/>
                    <a:pt x="108" y="2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0" name="Rectangle 162">
              <a:extLst>
                <a:ext uri="{FF2B5EF4-FFF2-40B4-BE49-F238E27FC236}">
                  <a16:creationId xmlns:a16="http://schemas.microsoft.com/office/drawing/2014/main" id="{FC485A26-7B68-5515-47E4-92A0FB42A1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9113" y="3593348"/>
              <a:ext cx="2376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1" name="Freeform 163">
              <a:extLst>
                <a:ext uri="{FF2B5EF4-FFF2-40B4-BE49-F238E27FC236}">
                  <a16:creationId xmlns:a16="http://schemas.microsoft.com/office/drawing/2014/main" id="{5F5027AA-38E0-7B15-E64C-6424C5D10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233" y="3653543"/>
              <a:ext cx="35642" cy="12673"/>
            </a:xfrm>
            <a:custGeom>
              <a:avLst/>
              <a:gdLst>
                <a:gd name="T0" fmla="*/ 0 w 45"/>
                <a:gd name="T1" fmla="*/ 16 h 16"/>
                <a:gd name="T2" fmla="*/ 45 w 45"/>
                <a:gd name="T3" fmla="*/ 0 h 16"/>
                <a:gd name="T4" fmla="*/ 15 w 45"/>
                <a:gd name="T5" fmla="*/ 16 h 16"/>
                <a:gd name="T6" fmla="*/ 0 w 45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16">
                  <a:moveTo>
                    <a:pt x="0" y="16"/>
                  </a:moveTo>
                  <a:lnTo>
                    <a:pt x="45" y="0"/>
                  </a:lnTo>
                  <a:lnTo>
                    <a:pt x="15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2" name="Freeform 164">
              <a:extLst>
                <a:ext uri="{FF2B5EF4-FFF2-40B4-BE49-F238E27FC236}">
                  <a16:creationId xmlns:a16="http://schemas.microsoft.com/office/drawing/2014/main" id="{459F8FAF-A04D-E4A6-9F4D-A2B73B4BD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2875" y="3689977"/>
              <a:ext cx="12673" cy="12673"/>
            </a:xfrm>
            <a:custGeom>
              <a:avLst/>
              <a:gdLst>
                <a:gd name="T0" fmla="*/ 0 w 16"/>
                <a:gd name="T1" fmla="*/ 16 h 16"/>
                <a:gd name="T2" fmla="*/ 16 w 16"/>
                <a:gd name="T3" fmla="*/ 0 h 16"/>
                <a:gd name="T4" fmla="*/ 16 w 16"/>
                <a:gd name="T5" fmla="*/ 16 h 16"/>
                <a:gd name="T6" fmla="*/ 0 w 16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6">
                  <a:moveTo>
                    <a:pt x="0" y="16"/>
                  </a:move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3" name="Freeform 165">
              <a:extLst>
                <a:ext uri="{FF2B5EF4-FFF2-40B4-BE49-F238E27FC236}">
                  <a16:creationId xmlns:a16="http://schemas.microsoft.com/office/drawing/2014/main" id="{A3A56A5A-DFD9-C4B0-C6FC-450157A8F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038" y="2985062"/>
              <a:ext cx="11881" cy="12673"/>
            </a:xfrm>
            <a:custGeom>
              <a:avLst/>
              <a:gdLst>
                <a:gd name="T0" fmla="*/ 0 w 15"/>
                <a:gd name="T1" fmla="*/ 16 h 16"/>
                <a:gd name="T2" fmla="*/ 15 w 15"/>
                <a:gd name="T3" fmla="*/ 0 h 16"/>
                <a:gd name="T4" fmla="*/ 15 w 15"/>
                <a:gd name="T5" fmla="*/ 16 h 16"/>
                <a:gd name="T6" fmla="*/ 0 w 15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0" y="16"/>
                  </a:moveTo>
                  <a:lnTo>
                    <a:pt x="15" y="0"/>
                  </a:lnTo>
                  <a:lnTo>
                    <a:pt x="15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4" name="Freeform 166">
              <a:extLst>
                <a:ext uri="{FF2B5EF4-FFF2-40B4-BE49-F238E27FC236}">
                  <a16:creationId xmlns:a16="http://schemas.microsoft.com/office/drawing/2014/main" id="{FBA68547-0A44-9303-0E82-83E556E282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0994" y="4139855"/>
              <a:ext cx="72076" cy="24553"/>
            </a:xfrm>
            <a:custGeom>
              <a:avLst/>
              <a:gdLst>
                <a:gd name="T0" fmla="*/ 0 w 6"/>
                <a:gd name="T1" fmla="*/ 2 h 2"/>
                <a:gd name="T2" fmla="*/ 6 w 6"/>
                <a:gd name="T3" fmla="*/ 0 h 2"/>
                <a:gd name="T4" fmla="*/ 0 w 6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0" y="2"/>
                  </a:moveTo>
                  <a:cubicBezTo>
                    <a:pt x="1" y="0"/>
                    <a:pt x="4" y="0"/>
                    <a:pt x="6" y="0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5" name="Freeform 167">
              <a:extLst>
                <a:ext uri="{FF2B5EF4-FFF2-40B4-BE49-F238E27FC236}">
                  <a16:creationId xmlns:a16="http://schemas.microsoft.com/office/drawing/2014/main" id="{7DBA7840-951C-949F-6C48-ABA4A3A73B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038" y="3057930"/>
              <a:ext cx="11881" cy="24553"/>
            </a:xfrm>
            <a:custGeom>
              <a:avLst/>
              <a:gdLst>
                <a:gd name="T0" fmla="*/ 0 w 15"/>
                <a:gd name="T1" fmla="*/ 16 h 31"/>
                <a:gd name="T2" fmla="*/ 0 w 15"/>
                <a:gd name="T3" fmla="*/ 31 h 31"/>
                <a:gd name="T4" fmla="*/ 0 w 15"/>
                <a:gd name="T5" fmla="*/ 16 h 31"/>
                <a:gd name="T6" fmla="*/ 15 w 15"/>
                <a:gd name="T7" fmla="*/ 16 h 31"/>
                <a:gd name="T8" fmla="*/ 15 w 15"/>
                <a:gd name="T9" fmla="*/ 0 h 31"/>
                <a:gd name="T10" fmla="*/ 15 w 15"/>
                <a:gd name="T11" fmla="*/ 31 h 31"/>
                <a:gd name="T12" fmla="*/ 0 w 15"/>
                <a:gd name="T13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31">
                  <a:moveTo>
                    <a:pt x="0" y="16"/>
                  </a:moveTo>
                  <a:lnTo>
                    <a:pt x="0" y="31"/>
                  </a:lnTo>
                  <a:lnTo>
                    <a:pt x="0" y="16"/>
                  </a:lnTo>
                  <a:lnTo>
                    <a:pt x="15" y="16"/>
                  </a:lnTo>
                  <a:lnTo>
                    <a:pt x="15" y="0"/>
                  </a:lnTo>
                  <a:lnTo>
                    <a:pt x="15" y="31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6" name="Freeform 168">
              <a:extLst>
                <a:ext uri="{FF2B5EF4-FFF2-40B4-BE49-F238E27FC236}">
                  <a16:creationId xmlns:a16="http://schemas.microsoft.com/office/drawing/2014/main" id="{28300DC5-D9D1-05F7-9FEC-2C6A6F7F4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799" y="3228218"/>
              <a:ext cx="11881" cy="12673"/>
            </a:xfrm>
            <a:custGeom>
              <a:avLst/>
              <a:gdLst>
                <a:gd name="T0" fmla="*/ 0 w 15"/>
                <a:gd name="T1" fmla="*/ 16 h 16"/>
                <a:gd name="T2" fmla="*/ 15 w 15"/>
                <a:gd name="T3" fmla="*/ 0 h 16"/>
                <a:gd name="T4" fmla="*/ 15 w 15"/>
                <a:gd name="T5" fmla="*/ 0 h 16"/>
                <a:gd name="T6" fmla="*/ 0 w 15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0" y="16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7" name="Freeform 169">
              <a:extLst>
                <a:ext uri="{FF2B5EF4-FFF2-40B4-BE49-F238E27FC236}">
                  <a16:creationId xmlns:a16="http://schemas.microsoft.com/office/drawing/2014/main" id="{22F4B186-6A91-C54E-74F8-CDA67BBAC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038" y="3277325"/>
              <a:ext cx="35642" cy="11881"/>
            </a:xfrm>
            <a:custGeom>
              <a:avLst/>
              <a:gdLst>
                <a:gd name="T0" fmla="*/ 1 w 3"/>
                <a:gd name="T1" fmla="*/ 1 h 1"/>
                <a:gd name="T2" fmla="*/ 3 w 3"/>
                <a:gd name="T3" fmla="*/ 0 h 1"/>
                <a:gd name="T4" fmla="*/ 1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1" y="1"/>
                  </a:moveTo>
                  <a:cubicBezTo>
                    <a:pt x="0" y="0"/>
                    <a:pt x="2" y="0"/>
                    <a:pt x="3" y="0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8" name="Rectangle 170">
              <a:extLst>
                <a:ext uri="{FF2B5EF4-FFF2-40B4-BE49-F238E27FC236}">
                  <a16:creationId xmlns:a16="http://schemas.microsoft.com/office/drawing/2014/main" id="{6E56A4B6-7FAB-8BCC-86AC-5221392B2B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6843" y="2645277"/>
              <a:ext cx="11881" cy="1188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9" name="Rectangle 171">
              <a:extLst>
                <a:ext uri="{FF2B5EF4-FFF2-40B4-BE49-F238E27FC236}">
                  <a16:creationId xmlns:a16="http://schemas.microsoft.com/office/drawing/2014/main" id="{4B27864C-29CB-34E9-C42A-B0ADDD6177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6843" y="2754579"/>
              <a:ext cx="2376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0" name="Freeform 172">
              <a:extLst>
                <a:ext uri="{FF2B5EF4-FFF2-40B4-BE49-F238E27FC236}">
                  <a16:creationId xmlns:a16="http://schemas.microsoft.com/office/drawing/2014/main" id="{7360572F-F0B9-66B1-3CEB-557F5EEC7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799" y="3471374"/>
              <a:ext cx="24553" cy="12673"/>
            </a:xfrm>
            <a:custGeom>
              <a:avLst/>
              <a:gdLst>
                <a:gd name="T0" fmla="*/ 0 w 31"/>
                <a:gd name="T1" fmla="*/ 16 h 16"/>
                <a:gd name="T2" fmla="*/ 31 w 31"/>
                <a:gd name="T3" fmla="*/ 0 h 16"/>
                <a:gd name="T4" fmla="*/ 15 w 31"/>
                <a:gd name="T5" fmla="*/ 16 h 16"/>
                <a:gd name="T6" fmla="*/ 0 w 31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16">
                  <a:moveTo>
                    <a:pt x="0" y="16"/>
                  </a:moveTo>
                  <a:lnTo>
                    <a:pt x="31" y="0"/>
                  </a:lnTo>
                  <a:lnTo>
                    <a:pt x="15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1" name="Freeform 173">
              <a:extLst>
                <a:ext uri="{FF2B5EF4-FFF2-40B4-BE49-F238E27FC236}">
                  <a16:creationId xmlns:a16="http://schemas.microsoft.com/office/drawing/2014/main" id="{970B4C2B-6408-5CB1-28BF-F1CB4B733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6843" y="2973181"/>
              <a:ext cx="35642" cy="24553"/>
            </a:xfrm>
            <a:custGeom>
              <a:avLst/>
              <a:gdLst>
                <a:gd name="T0" fmla="*/ 0 w 3"/>
                <a:gd name="T1" fmla="*/ 2 h 2"/>
                <a:gd name="T2" fmla="*/ 0 w 3"/>
                <a:gd name="T3" fmla="*/ 1 h 2"/>
                <a:gd name="T4" fmla="*/ 3 w 3"/>
                <a:gd name="T5" fmla="*/ 0 h 2"/>
                <a:gd name="T6" fmla="*/ 0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1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2" name="Freeform 174">
              <a:extLst>
                <a:ext uri="{FF2B5EF4-FFF2-40B4-BE49-F238E27FC236}">
                  <a16:creationId xmlns:a16="http://schemas.microsoft.com/office/drawing/2014/main" id="{098C8548-C3B7-DC8C-4A60-EE5338851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5157" y="3434940"/>
              <a:ext cx="47522" cy="36434"/>
            </a:xfrm>
            <a:custGeom>
              <a:avLst/>
              <a:gdLst>
                <a:gd name="T0" fmla="*/ 0 w 4"/>
                <a:gd name="T1" fmla="*/ 3 h 3"/>
                <a:gd name="T2" fmla="*/ 0 w 4"/>
                <a:gd name="T3" fmla="*/ 0 h 3"/>
                <a:gd name="T4" fmla="*/ 4 w 4"/>
                <a:gd name="T5" fmla="*/ 0 h 3"/>
                <a:gd name="T6" fmla="*/ 0 w 4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2" y="2"/>
                    <a:pt x="0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3" name="Freeform 175">
              <a:extLst>
                <a:ext uri="{FF2B5EF4-FFF2-40B4-BE49-F238E27FC236}">
                  <a16:creationId xmlns:a16="http://schemas.microsoft.com/office/drawing/2014/main" id="{A459E139-9BFF-7AED-0297-86D1DEAE2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2680" y="3593348"/>
              <a:ext cx="12673" cy="11881"/>
            </a:xfrm>
            <a:custGeom>
              <a:avLst/>
              <a:gdLst>
                <a:gd name="T0" fmla="*/ 0 w 16"/>
                <a:gd name="T1" fmla="*/ 15 h 15"/>
                <a:gd name="T2" fmla="*/ 16 w 16"/>
                <a:gd name="T3" fmla="*/ 0 h 15"/>
                <a:gd name="T4" fmla="*/ 16 w 16"/>
                <a:gd name="T5" fmla="*/ 15 h 15"/>
                <a:gd name="T6" fmla="*/ 0 w 16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5">
                  <a:moveTo>
                    <a:pt x="0" y="15"/>
                  </a:moveTo>
                  <a:lnTo>
                    <a:pt x="16" y="0"/>
                  </a:lnTo>
                  <a:lnTo>
                    <a:pt x="16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4" name="Rectangle 176">
              <a:extLst>
                <a:ext uri="{FF2B5EF4-FFF2-40B4-BE49-F238E27FC236}">
                  <a16:creationId xmlns:a16="http://schemas.microsoft.com/office/drawing/2014/main" id="{D34AAD81-8133-8704-188A-061AB9DBEC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10409" y="2681711"/>
              <a:ext cx="36434" cy="1188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5" name="Freeform 177">
              <a:extLst>
                <a:ext uri="{FF2B5EF4-FFF2-40B4-BE49-F238E27FC236}">
                  <a16:creationId xmlns:a16="http://schemas.microsoft.com/office/drawing/2014/main" id="{329A4C43-FA05-A546-D4BD-054D4DC4C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0409" y="2936748"/>
              <a:ext cx="48314" cy="36434"/>
            </a:xfrm>
            <a:custGeom>
              <a:avLst/>
              <a:gdLst>
                <a:gd name="T0" fmla="*/ 0 w 4"/>
                <a:gd name="T1" fmla="*/ 2 h 3"/>
                <a:gd name="T2" fmla="*/ 4 w 4"/>
                <a:gd name="T3" fmla="*/ 1 h 3"/>
                <a:gd name="T4" fmla="*/ 0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cubicBezTo>
                    <a:pt x="1" y="1"/>
                    <a:pt x="3" y="0"/>
                    <a:pt x="4" y="1"/>
                  </a:cubicBezTo>
                  <a:cubicBezTo>
                    <a:pt x="4" y="3"/>
                    <a:pt x="1" y="1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6" name="Freeform 178">
              <a:extLst>
                <a:ext uri="{FF2B5EF4-FFF2-40B4-BE49-F238E27FC236}">
                  <a16:creationId xmlns:a16="http://schemas.microsoft.com/office/drawing/2014/main" id="{CA784AD8-6DA6-4567-EF89-17F4E41C93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0409" y="2645277"/>
              <a:ext cx="11881" cy="11881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0 w 1"/>
                <a:gd name="T5" fmla="*/ 0 h 1"/>
                <a:gd name="T6" fmla="*/ 1 w 1"/>
                <a:gd name="T7" fmla="*/ 0 h 1"/>
                <a:gd name="T8" fmla="*/ 0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7" name="Freeform 179">
              <a:extLst>
                <a:ext uri="{FF2B5EF4-FFF2-40B4-BE49-F238E27FC236}">
                  <a16:creationId xmlns:a16="http://schemas.microsoft.com/office/drawing/2014/main" id="{21A3CD21-ABDD-BE12-16C2-6BA88A6A6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4962" y="3009615"/>
              <a:ext cx="23761" cy="36434"/>
            </a:xfrm>
            <a:custGeom>
              <a:avLst/>
              <a:gdLst>
                <a:gd name="T0" fmla="*/ 0 w 2"/>
                <a:gd name="T1" fmla="*/ 2 h 3"/>
                <a:gd name="T2" fmla="*/ 2 w 2"/>
                <a:gd name="T3" fmla="*/ 1 h 3"/>
                <a:gd name="T4" fmla="*/ 0 w 2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0" y="2"/>
                  </a:moveTo>
                  <a:cubicBezTo>
                    <a:pt x="0" y="0"/>
                    <a:pt x="2" y="3"/>
                    <a:pt x="2" y="1"/>
                  </a:cubicBezTo>
                  <a:cubicBezTo>
                    <a:pt x="2" y="2"/>
                    <a:pt x="1" y="2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8" name="Freeform 180">
              <a:extLst>
                <a:ext uri="{FF2B5EF4-FFF2-40B4-BE49-F238E27FC236}">
                  <a16:creationId xmlns:a16="http://schemas.microsoft.com/office/drawing/2014/main" id="{EB59E210-6AD0-4CE9-36B2-0224A380BD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8334" y="2754579"/>
              <a:ext cx="83956" cy="24553"/>
            </a:xfrm>
            <a:custGeom>
              <a:avLst/>
              <a:gdLst>
                <a:gd name="T0" fmla="*/ 5 w 7"/>
                <a:gd name="T1" fmla="*/ 1 h 2"/>
                <a:gd name="T2" fmla="*/ 4 w 7"/>
                <a:gd name="T3" fmla="*/ 1 h 2"/>
                <a:gd name="T4" fmla="*/ 2 w 7"/>
                <a:gd name="T5" fmla="*/ 2 h 2"/>
                <a:gd name="T6" fmla="*/ 1 w 7"/>
                <a:gd name="T7" fmla="*/ 1 h 2"/>
                <a:gd name="T8" fmla="*/ 4 w 7"/>
                <a:gd name="T9" fmla="*/ 0 h 2"/>
                <a:gd name="T10" fmla="*/ 5 w 7"/>
                <a:gd name="T11" fmla="*/ 0 h 2"/>
                <a:gd name="T12" fmla="*/ 5 w 7"/>
                <a:gd name="T13" fmla="*/ 0 h 2"/>
                <a:gd name="T14" fmla="*/ 7 w 7"/>
                <a:gd name="T15" fmla="*/ 1 h 2"/>
                <a:gd name="T16" fmla="*/ 5 w 7"/>
                <a:gd name="T1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2">
                  <a:moveTo>
                    <a:pt x="5" y="1"/>
                  </a:moveTo>
                  <a:cubicBezTo>
                    <a:pt x="5" y="1"/>
                    <a:pt x="5" y="1"/>
                    <a:pt x="4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1"/>
                    <a:pt x="1" y="1"/>
                  </a:cubicBezTo>
                  <a:cubicBezTo>
                    <a:pt x="0" y="1"/>
                    <a:pt x="3" y="1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6" y="1"/>
                    <a:pt x="5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9" name="Freeform 181">
              <a:extLst>
                <a:ext uri="{FF2B5EF4-FFF2-40B4-BE49-F238E27FC236}">
                  <a16:creationId xmlns:a16="http://schemas.microsoft.com/office/drawing/2014/main" id="{2316C45E-45EA-45CB-DCC5-7B5176284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767" y="3301086"/>
              <a:ext cx="107717" cy="49106"/>
            </a:xfrm>
            <a:custGeom>
              <a:avLst/>
              <a:gdLst>
                <a:gd name="T0" fmla="*/ 7 w 9"/>
                <a:gd name="T1" fmla="*/ 2 h 4"/>
                <a:gd name="T2" fmla="*/ 6 w 9"/>
                <a:gd name="T3" fmla="*/ 3 h 4"/>
                <a:gd name="T4" fmla="*/ 6 w 9"/>
                <a:gd name="T5" fmla="*/ 2 h 4"/>
                <a:gd name="T6" fmla="*/ 1 w 9"/>
                <a:gd name="T7" fmla="*/ 2 h 4"/>
                <a:gd name="T8" fmla="*/ 0 w 9"/>
                <a:gd name="T9" fmla="*/ 2 h 4"/>
                <a:gd name="T10" fmla="*/ 1 w 9"/>
                <a:gd name="T11" fmla="*/ 1 h 4"/>
                <a:gd name="T12" fmla="*/ 3 w 9"/>
                <a:gd name="T13" fmla="*/ 0 h 4"/>
                <a:gd name="T14" fmla="*/ 9 w 9"/>
                <a:gd name="T15" fmla="*/ 2 h 4"/>
                <a:gd name="T16" fmla="*/ 7 w 9"/>
                <a:gd name="T1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4">
                  <a:moveTo>
                    <a:pt x="7" y="2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5" y="3"/>
                    <a:pt x="2" y="0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2"/>
                    <a:pt x="2" y="0"/>
                    <a:pt x="3" y="0"/>
                  </a:cubicBezTo>
                  <a:cubicBezTo>
                    <a:pt x="5" y="0"/>
                    <a:pt x="7" y="1"/>
                    <a:pt x="9" y="2"/>
                  </a:cubicBezTo>
                  <a:cubicBezTo>
                    <a:pt x="9" y="2"/>
                    <a:pt x="8" y="4"/>
                    <a:pt x="7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0" name="Freeform 182">
              <a:extLst>
                <a:ext uri="{FF2B5EF4-FFF2-40B4-BE49-F238E27FC236}">
                  <a16:creationId xmlns:a16="http://schemas.microsoft.com/office/drawing/2014/main" id="{31E31570-B7AD-1655-1DDA-ABA3F44C8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0604" y="3629782"/>
              <a:ext cx="60195" cy="36434"/>
            </a:xfrm>
            <a:custGeom>
              <a:avLst/>
              <a:gdLst>
                <a:gd name="T0" fmla="*/ 5 w 5"/>
                <a:gd name="T1" fmla="*/ 2 h 3"/>
                <a:gd name="T2" fmla="*/ 2 w 5"/>
                <a:gd name="T3" fmla="*/ 3 h 3"/>
                <a:gd name="T4" fmla="*/ 1 w 5"/>
                <a:gd name="T5" fmla="*/ 3 h 3"/>
                <a:gd name="T6" fmla="*/ 2 w 5"/>
                <a:gd name="T7" fmla="*/ 2 h 3"/>
                <a:gd name="T8" fmla="*/ 1 w 5"/>
                <a:gd name="T9" fmla="*/ 1 h 3"/>
                <a:gd name="T10" fmla="*/ 4 w 5"/>
                <a:gd name="T11" fmla="*/ 0 h 3"/>
                <a:gd name="T12" fmla="*/ 5 w 5"/>
                <a:gd name="T1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3">
                  <a:moveTo>
                    <a:pt x="5" y="2"/>
                  </a:moveTo>
                  <a:cubicBezTo>
                    <a:pt x="4" y="3"/>
                    <a:pt x="2" y="1"/>
                    <a:pt x="2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3" y="1"/>
                    <a:pt x="4" y="0"/>
                  </a:cubicBezTo>
                  <a:cubicBezTo>
                    <a:pt x="4" y="1"/>
                    <a:pt x="5" y="1"/>
                    <a:pt x="5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1" name="Freeform 183">
              <a:extLst>
                <a:ext uri="{FF2B5EF4-FFF2-40B4-BE49-F238E27FC236}">
                  <a16:creationId xmlns:a16="http://schemas.microsoft.com/office/drawing/2014/main" id="{D302BCE0-32D5-34E5-10F6-AFBEA2C65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8529" y="3046049"/>
              <a:ext cx="48314" cy="24553"/>
            </a:xfrm>
            <a:custGeom>
              <a:avLst/>
              <a:gdLst>
                <a:gd name="T0" fmla="*/ 0 w 4"/>
                <a:gd name="T1" fmla="*/ 1 h 2"/>
                <a:gd name="T2" fmla="*/ 2 w 4"/>
                <a:gd name="T3" fmla="*/ 1 h 2"/>
                <a:gd name="T4" fmla="*/ 3 w 4"/>
                <a:gd name="T5" fmla="*/ 2 h 2"/>
                <a:gd name="T6" fmla="*/ 4 w 4"/>
                <a:gd name="T7" fmla="*/ 0 h 2"/>
                <a:gd name="T8" fmla="*/ 0 w 4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3" y="1"/>
                    <a:pt x="3" y="2"/>
                  </a:cubicBezTo>
                  <a:cubicBezTo>
                    <a:pt x="3" y="1"/>
                    <a:pt x="3" y="0"/>
                    <a:pt x="4" y="0"/>
                  </a:cubicBezTo>
                  <a:cubicBezTo>
                    <a:pt x="3" y="2"/>
                    <a:pt x="2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2" name="Freeform 184">
              <a:extLst>
                <a:ext uri="{FF2B5EF4-FFF2-40B4-BE49-F238E27FC236}">
                  <a16:creationId xmlns:a16="http://schemas.microsoft.com/office/drawing/2014/main" id="{5D5B92DF-1E56-5225-FD34-01012560E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5157" y="3739083"/>
              <a:ext cx="35642" cy="24553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1 h 2"/>
                <a:gd name="T6" fmla="*/ 3 w 3"/>
                <a:gd name="T7" fmla="*/ 1 h 2"/>
                <a:gd name="T8" fmla="*/ 1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1"/>
                    <a:pt x="2" y="1"/>
                    <a:pt x="2" y="0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2" y="2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3" name="Freeform 185">
              <a:extLst>
                <a:ext uri="{FF2B5EF4-FFF2-40B4-BE49-F238E27FC236}">
                  <a16:creationId xmlns:a16="http://schemas.microsoft.com/office/drawing/2014/main" id="{E1A0C7DD-9277-2E78-729C-D47C251503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8724" y="3277325"/>
              <a:ext cx="11881" cy="11881"/>
            </a:xfrm>
            <a:custGeom>
              <a:avLst/>
              <a:gdLst>
                <a:gd name="T0" fmla="*/ 15 w 15"/>
                <a:gd name="T1" fmla="*/ 0 h 15"/>
                <a:gd name="T2" fmla="*/ 15 w 15"/>
                <a:gd name="T3" fmla="*/ 0 h 15"/>
                <a:gd name="T4" fmla="*/ 0 w 15"/>
                <a:gd name="T5" fmla="*/ 15 h 15"/>
                <a:gd name="T6" fmla="*/ 0 w 15"/>
                <a:gd name="T7" fmla="*/ 0 h 15"/>
                <a:gd name="T8" fmla="*/ 15 w 1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0"/>
                  </a:moveTo>
                  <a:lnTo>
                    <a:pt x="15" y="0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4" name="Freeform 186">
              <a:extLst>
                <a:ext uri="{FF2B5EF4-FFF2-40B4-BE49-F238E27FC236}">
                  <a16:creationId xmlns:a16="http://schemas.microsoft.com/office/drawing/2014/main" id="{1014BB5A-58BE-C6CC-C31C-CF5F1D39EB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2680" y="4152528"/>
              <a:ext cx="36434" cy="11881"/>
            </a:xfrm>
            <a:custGeom>
              <a:avLst/>
              <a:gdLst>
                <a:gd name="T0" fmla="*/ 0 w 46"/>
                <a:gd name="T1" fmla="*/ 15 h 15"/>
                <a:gd name="T2" fmla="*/ 46 w 46"/>
                <a:gd name="T3" fmla="*/ 0 h 15"/>
                <a:gd name="T4" fmla="*/ 16 w 46"/>
                <a:gd name="T5" fmla="*/ 15 h 15"/>
                <a:gd name="T6" fmla="*/ 0 w 46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15">
                  <a:moveTo>
                    <a:pt x="0" y="15"/>
                  </a:moveTo>
                  <a:lnTo>
                    <a:pt x="46" y="0"/>
                  </a:lnTo>
                  <a:lnTo>
                    <a:pt x="16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5" name="Freeform 187">
              <a:extLst>
                <a:ext uri="{FF2B5EF4-FFF2-40B4-BE49-F238E27FC236}">
                  <a16:creationId xmlns:a16="http://schemas.microsoft.com/office/drawing/2014/main" id="{1F332F91-A34F-8F9B-9DBE-B414A794F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4377" y="3021496"/>
              <a:ext cx="167912" cy="97421"/>
            </a:xfrm>
            <a:custGeom>
              <a:avLst/>
              <a:gdLst>
                <a:gd name="T0" fmla="*/ 8 w 14"/>
                <a:gd name="T1" fmla="*/ 3 h 8"/>
                <a:gd name="T2" fmla="*/ 7 w 14"/>
                <a:gd name="T3" fmla="*/ 2 h 8"/>
                <a:gd name="T4" fmla="*/ 7 w 14"/>
                <a:gd name="T5" fmla="*/ 3 h 8"/>
                <a:gd name="T6" fmla="*/ 8 w 14"/>
                <a:gd name="T7" fmla="*/ 4 h 8"/>
                <a:gd name="T8" fmla="*/ 4 w 14"/>
                <a:gd name="T9" fmla="*/ 7 h 8"/>
                <a:gd name="T10" fmla="*/ 3 w 14"/>
                <a:gd name="T11" fmla="*/ 5 h 8"/>
                <a:gd name="T12" fmla="*/ 3 w 14"/>
                <a:gd name="T13" fmla="*/ 7 h 8"/>
                <a:gd name="T14" fmla="*/ 2 w 14"/>
                <a:gd name="T15" fmla="*/ 8 h 8"/>
                <a:gd name="T16" fmla="*/ 3 w 14"/>
                <a:gd name="T17" fmla="*/ 7 h 8"/>
                <a:gd name="T18" fmla="*/ 1 w 14"/>
                <a:gd name="T19" fmla="*/ 6 h 8"/>
                <a:gd name="T20" fmla="*/ 3 w 14"/>
                <a:gd name="T21" fmla="*/ 5 h 8"/>
                <a:gd name="T22" fmla="*/ 0 w 14"/>
                <a:gd name="T23" fmla="*/ 5 h 8"/>
                <a:gd name="T24" fmla="*/ 3 w 14"/>
                <a:gd name="T25" fmla="*/ 3 h 8"/>
                <a:gd name="T26" fmla="*/ 3 w 14"/>
                <a:gd name="T27" fmla="*/ 5 h 8"/>
                <a:gd name="T28" fmla="*/ 3 w 14"/>
                <a:gd name="T29" fmla="*/ 5 h 8"/>
                <a:gd name="T30" fmla="*/ 7 w 14"/>
                <a:gd name="T31" fmla="*/ 3 h 8"/>
                <a:gd name="T32" fmla="*/ 5 w 14"/>
                <a:gd name="T33" fmla="*/ 2 h 8"/>
                <a:gd name="T34" fmla="*/ 5 w 14"/>
                <a:gd name="T35" fmla="*/ 2 h 8"/>
                <a:gd name="T36" fmla="*/ 14 w 14"/>
                <a:gd name="T37" fmla="*/ 0 h 8"/>
                <a:gd name="T38" fmla="*/ 8 w 14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8">
                  <a:moveTo>
                    <a:pt x="8" y="3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2" y="6"/>
                    <a:pt x="2" y="7"/>
                    <a:pt x="3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7"/>
                    <a:pt x="3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5"/>
                    <a:pt x="3" y="6"/>
                    <a:pt x="3" y="5"/>
                  </a:cubicBezTo>
                  <a:cubicBezTo>
                    <a:pt x="2" y="4"/>
                    <a:pt x="1" y="5"/>
                    <a:pt x="0" y="5"/>
                  </a:cubicBezTo>
                  <a:cubicBezTo>
                    <a:pt x="1" y="4"/>
                    <a:pt x="3" y="2"/>
                    <a:pt x="3" y="3"/>
                  </a:cubicBezTo>
                  <a:cubicBezTo>
                    <a:pt x="3" y="4"/>
                    <a:pt x="2" y="4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3"/>
                    <a:pt x="5" y="3"/>
                    <a:pt x="7" y="3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8" y="1"/>
                    <a:pt x="11" y="2"/>
                    <a:pt x="14" y="0"/>
                  </a:cubicBezTo>
                  <a:cubicBezTo>
                    <a:pt x="12" y="3"/>
                    <a:pt x="9" y="1"/>
                    <a:pt x="8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6" name="Freeform 188">
              <a:extLst>
                <a:ext uri="{FF2B5EF4-FFF2-40B4-BE49-F238E27FC236}">
                  <a16:creationId xmlns:a16="http://schemas.microsoft.com/office/drawing/2014/main" id="{0ED69FE1-70BD-2DFA-225F-CBF85CEC2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7554" y="3423060"/>
              <a:ext cx="373050" cy="84748"/>
            </a:xfrm>
            <a:custGeom>
              <a:avLst/>
              <a:gdLst>
                <a:gd name="T0" fmla="*/ 30 w 31"/>
                <a:gd name="T1" fmla="*/ 3 h 7"/>
                <a:gd name="T2" fmla="*/ 29 w 31"/>
                <a:gd name="T3" fmla="*/ 3 h 7"/>
                <a:gd name="T4" fmla="*/ 20 w 31"/>
                <a:gd name="T5" fmla="*/ 4 h 7"/>
                <a:gd name="T6" fmla="*/ 14 w 31"/>
                <a:gd name="T7" fmla="*/ 5 h 7"/>
                <a:gd name="T8" fmla="*/ 11 w 31"/>
                <a:gd name="T9" fmla="*/ 4 h 7"/>
                <a:gd name="T10" fmla="*/ 8 w 31"/>
                <a:gd name="T11" fmla="*/ 6 h 7"/>
                <a:gd name="T12" fmla="*/ 5 w 31"/>
                <a:gd name="T13" fmla="*/ 5 h 7"/>
                <a:gd name="T14" fmla="*/ 6 w 31"/>
                <a:gd name="T15" fmla="*/ 5 h 7"/>
                <a:gd name="T16" fmla="*/ 6 w 31"/>
                <a:gd name="T17" fmla="*/ 4 h 7"/>
                <a:gd name="T18" fmla="*/ 1 w 31"/>
                <a:gd name="T19" fmla="*/ 4 h 7"/>
                <a:gd name="T20" fmla="*/ 0 w 31"/>
                <a:gd name="T21" fmla="*/ 3 h 7"/>
                <a:gd name="T22" fmla="*/ 0 w 31"/>
                <a:gd name="T23" fmla="*/ 2 h 7"/>
                <a:gd name="T24" fmla="*/ 1 w 31"/>
                <a:gd name="T25" fmla="*/ 3 h 7"/>
                <a:gd name="T26" fmla="*/ 13 w 31"/>
                <a:gd name="T27" fmla="*/ 2 h 7"/>
                <a:gd name="T28" fmla="*/ 14 w 31"/>
                <a:gd name="T29" fmla="*/ 3 h 7"/>
                <a:gd name="T30" fmla="*/ 14 w 31"/>
                <a:gd name="T31" fmla="*/ 2 h 7"/>
                <a:gd name="T32" fmla="*/ 21 w 31"/>
                <a:gd name="T33" fmla="*/ 1 h 7"/>
                <a:gd name="T34" fmla="*/ 27 w 31"/>
                <a:gd name="T35" fmla="*/ 1 h 7"/>
                <a:gd name="T36" fmla="*/ 26 w 31"/>
                <a:gd name="T37" fmla="*/ 2 h 7"/>
                <a:gd name="T38" fmla="*/ 27 w 31"/>
                <a:gd name="T39" fmla="*/ 3 h 7"/>
                <a:gd name="T40" fmla="*/ 29 w 31"/>
                <a:gd name="T41" fmla="*/ 2 h 7"/>
                <a:gd name="T42" fmla="*/ 31 w 31"/>
                <a:gd name="T43" fmla="*/ 3 h 7"/>
                <a:gd name="T44" fmla="*/ 30 w 31"/>
                <a:gd name="T4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7">
                  <a:moveTo>
                    <a:pt x="30" y="3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26" y="2"/>
                    <a:pt x="22" y="5"/>
                    <a:pt x="20" y="4"/>
                  </a:cubicBezTo>
                  <a:cubicBezTo>
                    <a:pt x="18" y="4"/>
                    <a:pt x="16" y="6"/>
                    <a:pt x="14" y="5"/>
                  </a:cubicBezTo>
                  <a:cubicBezTo>
                    <a:pt x="14" y="4"/>
                    <a:pt x="12" y="5"/>
                    <a:pt x="11" y="4"/>
                  </a:cubicBezTo>
                  <a:cubicBezTo>
                    <a:pt x="10" y="7"/>
                    <a:pt x="8" y="2"/>
                    <a:pt x="8" y="6"/>
                  </a:cubicBezTo>
                  <a:cubicBezTo>
                    <a:pt x="6" y="7"/>
                    <a:pt x="5" y="5"/>
                    <a:pt x="5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4"/>
                  </a:cubicBezTo>
                  <a:cubicBezTo>
                    <a:pt x="4" y="3"/>
                    <a:pt x="3" y="4"/>
                    <a:pt x="1" y="4"/>
                  </a:cubicBezTo>
                  <a:cubicBezTo>
                    <a:pt x="1" y="5"/>
                    <a:pt x="1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3"/>
                    <a:pt x="13" y="3"/>
                    <a:pt x="14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7" y="1"/>
                    <a:pt x="20" y="4"/>
                    <a:pt x="21" y="1"/>
                  </a:cubicBezTo>
                  <a:cubicBezTo>
                    <a:pt x="23" y="3"/>
                    <a:pt x="26" y="0"/>
                    <a:pt x="27" y="1"/>
                  </a:cubicBezTo>
                  <a:cubicBezTo>
                    <a:pt x="27" y="1"/>
                    <a:pt x="26" y="1"/>
                    <a:pt x="26" y="2"/>
                  </a:cubicBezTo>
                  <a:cubicBezTo>
                    <a:pt x="26" y="2"/>
                    <a:pt x="26" y="3"/>
                    <a:pt x="27" y="3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31" y="3"/>
                    <a:pt x="31" y="3"/>
                  </a:cubicBezTo>
                  <a:cubicBezTo>
                    <a:pt x="31" y="4"/>
                    <a:pt x="30" y="3"/>
                    <a:pt x="30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7" name="Freeform 189">
              <a:extLst>
                <a:ext uri="{FF2B5EF4-FFF2-40B4-BE49-F238E27FC236}">
                  <a16:creationId xmlns:a16="http://schemas.microsoft.com/office/drawing/2014/main" id="{D2E063C1-4581-139C-B9F4-E77C8123A3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8529" y="3666216"/>
              <a:ext cx="108509" cy="23761"/>
            </a:xfrm>
            <a:custGeom>
              <a:avLst/>
              <a:gdLst>
                <a:gd name="T0" fmla="*/ 6 w 9"/>
                <a:gd name="T1" fmla="*/ 2 h 2"/>
                <a:gd name="T2" fmla="*/ 2 w 9"/>
                <a:gd name="T3" fmla="*/ 1 h 2"/>
                <a:gd name="T4" fmla="*/ 1 w 9"/>
                <a:gd name="T5" fmla="*/ 2 h 2"/>
                <a:gd name="T6" fmla="*/ 9 w 9"/>
                <a:gd name="T7" fmla="*/ 1 h 2"/>
                <a:gd name="T8" fmla="*/ 6 w 9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">
                  <a:moveTo>
                    <a:pt x="6" y="2"/>
                  </a:moveTo>
                  <a:cubicBezTo>
                    <a:pt x="6" y="1"/>
                    <a:pt x="4" y="2"/>
                    <a:pt x="2" y="1"/>
                  </a:cubicBezTo>
                  <a:cubicBezTo>
                    <a:pt x="3" y="2"/>
                    <a:pt x="0" y="2"/>
                    <a:pt x="1" y="2"/>
                  </a:cubicBezTo>
                  <a:cubicBezTo>
                    <a:pt x="3" y="1"/>
                    <a:pt x="7" y="0"/>
                    <a:pt x="9" y="1"/>
                  </a:cubicBezTo>
                  <a:lnTo>
                    <a:pt x="6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8" name="Freeform 190">
              <a:extLst>
                <a:ext uri="{FF2B5EF4-FFF2-40B4-BE49-F238E27FC236}">
                  <a16:creationId xmlns:a16="http://schemas.microsoft.com/office/drawing/2014/main" id="{A8B25DE7-4370-BFC9-B1FE-EED5C3E1C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2887" y="2693592"/>
              <a:ext cx="11881" cy="11881"/>
            </a:xfrm>
            <a:custGeom>
              <a:avLst/>
              <a:gdLst>
                <a:gd name="T0" fmla="*/ 0 w 15"/>
                <a:gd name="T1" fmla="*/ 15 h 15"/>
                <a:gd name="T2" fmla="*/ 15 w 15"/>
                <a:gd name="T3" fmla="*/ 0 h 15"/>
                <a:gd name="T4" fmla="*/ 15 w 15"/>
                <a:gd name="T5" fmla="*/ 15 h 15"/>
                <a:gd name="T6" fmla="*/ 0 w 15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15"/>
                  </a:moveTo>
                  <a:lnTo>
                    <a:pt x="15" y="0"/>
                  </a:lnTo>
                  <a:lnTo>
                    <a:pt x="15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9" name="Freeform 191">
              <a:extLst>
                <a:ext uri="{FF2B5EF4-FFF2-40B4-BE49-F238E27FC236}">
                  <a16:creationId xmlns:a16="http://schemas.microsoft.com/office/drawing/2014/main" id="{7B618771-7CFE-F7A8-EBEA-5A74EF4F91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038" y="3811951"/>
              <a:ext cx="11881" cy="11881"/>
            </a:xfrm>
            <a:custGeom>
              <a:avLst/>
              <a:gdLst>
                <a:gd name="T0" fmla="*/ 0 w 15"/>
                <a:gd name="T1" fmla="*/ 15 h 15"/>
                <a:gd name="T2" fmla="*/ 15 w 15"/>
                <a:gd name="T3" fmla="*/ 0 h 15"/>
                <a:gd name="T4" fmla="*/ 0 w 15"/>
                <a:gd name="T5" fmla="*/ 15 h 15"/>
                <a:gd name="T6" fmla="*/ 0 w 15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15"/>
                  </a:moveTo>
                  <a:lnTo>
                    <a:pt x="15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0" name="Freeform 192">
              <a:extLst>
                <a:ext uri="{FF2B5EF4-FFF2-40B4-BE49-F238E27FC236}">
                  <a16:creationId xmlns:a16="http://schemas.microsoft.com/office/drawing/2014/main" id="{1E6FCB04-B692-2751-FB9D-E1C032E04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214" y="3264652"/>
              <a:ext cx="84748" cy="49106"/>
            </a:xfrm>
            <a:custGeom>
              <a:avLst/>
              <a:gdLst>
                <a:gd name="T0" fmla="*/ 5 w 7"/>
                <a:gd name="T1" fmla="*/ 2 h 4"/>
                <a:gd name="T2" fmla="*/ 0 w 7"/>
                <a:gd name="T3" fmla="*/ 2 h 4"/>
                <a:gd name="T4" fmla="*/ 2 w 7"/>
                <a:gd name="T5" fmla="*/ 1 h 4"/>
                <a:gd name="T6" fmla="*/ 2 w 7"/>
                <a:gd name="T7" fmla="*/ 1 h 4"/>
                <a:gd name="T8" fmla="*/ 1 w 7"/>
                <a:gd name="T9" fmla="*/ 1 h 4"/>
                <a:gd name="T10" fmla="*/ 7 w 7"/>
                <a:gd name="T11" fmla="*/ 1 h 4"/>
                <a:gd name="T12" fmla="*/ 5 w 7"/>
                <a:gd name="T13" fmla="*/ 1 h 4"/>
                <a:gd name="T14" fmla="*/ 5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5" y="2"/>
                  </a:moveTo>
                  <a:cubicBezTo>
                    <a:pt x="3" y="0"/>
                    <a:pt x="2" y="4"/>
                    <a:pt x="0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5" y="1"/>
                    <a:pt x="5" y="1"/>
                    <a:pt x="5" y="1"/>
                  </a:cubicBezTo>
                  <a:lnTo>
                    <a:pt x="5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1" name="Freeform 193">
              <a:extLst>
                <a:ext uri="{FF2B5EF4-FFF2-40B4-BE49-F238E27FC236}">
                  <a16:creationId xmlns:a16="http://schemas.microsoft.com/office/drawing/2014/main" id="{50D3762E-4E98-13FB-C0D1-B4F9AFE61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0019" y="2948628"/>
              <a:ext cx="108509" cy="24553"/>
            </a:xfrm>
            <a:custGeom>
              <a:avLst/>
              <a:gdLst>
                <a:gd name="T0" fmla="*/ 0 w 137"/>
                <a:gd name="T1" fmla="*/ 31 h 31"/>
                <a:gd name="T2" fmla="*/ 137 w 137"/>
                <a:gd name="T3" fmla="*/ 0 h 31"/>
                <a:gd name="T4" fmla="*/ 137 w 137"/>
                <a:gd name="T5" fmla="*/ 16 h 31"/>
                <a:gd name="T6" fmla="*/ 0 w 137"/>
                <a:gd name="T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7" h="31">
                  <a:moveTo>
                    <a:pt x="0" y="31"/>
                  </a:moveTo>
                  <a:lnTo>
                    <a:pt x="137" y="0"/>
                  </a:lnTo>
                  <a:lnTo>
                    <a:pt x="137" y="16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2" name="Freeform 194">
              <a:extLst>
                <a:ext uri="{FF2B5EF4-FFF2-40B4-BE49-F238E27FC236}">
                  <a16:creationId xmlns:a16="http://schemas.microsoft.com/office/drawing/2014/main" id="{7B90C6A9-9023-02D2-07B6-6C38816DC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8529" y="3082483"/>
              <a:ext cx="11881" cy="1267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3" name="Freeform 195">
              <a:extLst>
                <a:ext uri="{FF2B5EF4-FFF2-40B4-BE49-F238E27FC236}">
                  <a16:creationId xmlns:a16="http://schemas.microsoft.com/office/drawing/2014/main" id="{17695FB8-9998-FC69-B585-AE8B32FD6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0409" y="3398506"/>
              <a:ext cx="36434" cy="12673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0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1"/>
                    <a:pt x="2" y="0"/>
                    <a:pt x="3" y="1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4" name="Rectangle 196">
              <a:extLst>
                <a:ext uri="{FF2B5EF4-FFF2-40B4-BE49-F238E27FC236}">
                  <a16:creationId xmlns:a16="http://schemas.microsoft.com/office/drawing/2014/main" id="{B0D59CBB-3B2F-19EB-9BD5-1034531C77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50214" y="2863880"/>
              <a:ext cx="24553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5" name="Freeform 197">
              <a:extLst>
                <a:ext uri="{FF2B5EF4-FFF2-40B4-BE49-F238E27FC236}">
                  <a16:creationId xmlns:a16="http://schemas.microsoft.com/office/drawing/2014/main" id="{70291134-9411-0B90-95A4-D081BC216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214" y="3057930"/>
              <a:ext cx="36434" cy="24553"/>
            </a:xfrm>
            <a:custGeom>
              <a:avLst/>
              <a:gdLst>
                <a:gd name="T0" fmla="*/ 2 w 3"/>
                <a:gd name="T1" fmla="*/ 1 h 2"/>
                <a:gd name="T2" fmla="*/ 0 w 3"/>
                <a:gd name="T3" fmla="*/ 1 h 2"/>
                <a:gd name="T4" fmla="*/ 1 w 3"/>
                <a:gd name="T5" fmla="*/ 0 h 2"/>
                <a:gd name="T6" fmla="*/ 3 w 3"/>
                <a:gd name="T7" fmla="*/ 1 h 2"/>
                <a:gd name="T8" fmla="*/ 2 w 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1"/>
                  </a:moveTo>
                  <a:cubicBezTo>
                    <a:pt x="2" y="2"/>
                    <a:pt x="1" y="2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6" name="Freeform 198">
              <a:extLst>
                <a:ext uri="{FF2B5EF4-FFF2-40B4-BE49-F238E27FC236}">
                  <a16:creationId xmlns:a16="http://schemas.microsoft.com/office/drawing/2014/main" id="{D846C750-B8A5-3BA9-D860-7C43CB21C6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8724" y="3811951"/>
              <a:ext cx="23761" cy="11881"/>
            </a:xfrm>
            <a:custGeom>
              <a:avLst/>
              <a:gdLst>
                <a:gd name="T0" fmla="*/ 0 w 30"/>
                <a:gd name="T1" fmla="*/ 15 h 15"/>
                <a:gd name="T2" fmla="*/ 30 w 30"/>
                <a:gd name="T3" fmla="*/ 0 h 15"/>
                <a:gd name="T4" fmla="*/ 15 w 30"/>
                <a:gd name="T5" fmla="*/ 15 h 15"/>
                <a:gd name="T6" fmla="*/ 0 w 30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5">
                  <a:moveTo>
                    <a:pt x="0" y="15"/>
                  </a:moveTo>
                  <a:lnTo>
                    <a:pt x="30" y="0"/>
                  </a:lnTo>
                  <a:lnTo>
                    <a:pt x="15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7" name="Freeform 199">
              <a:extLst>
                <a:ext uri="{FF2B5EF4-FFF2-40B4-BE49-F238E27FC236}">
                  <a16:creationId xmlns:a16="http://schemas.microsoft.com/office/drawing/2014/main" id="{63288043-55D7-9D5A-1A18-A326FA1E7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918" y="4322024"/>
              <a:ext cx="11881" cy="12673"/>
            </a:xfrm>
            <a:custGeom>
              <a:avLst/>
              <a:gdLst>
                <a:gd name="T0" fmla="*/ 0 w 15"/>
                <a:gd name="T1" fmla="*/ 16 h 16"/>
                <a:gd name="T2" fmla="*/ 15 w 15"/>
                <a:gd name="T3" fmla="*/ 0 h 16"/>
                <a:gd name="T4" fmla="*/ 0 w 15"/>
                <a:gd name="T5" fmla="*/ 16 h 16"/>
                <a:gd name="T6" fmla="*/ 0 w 15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0" y="16"/>
                  </a:moveTo>
                  <a:lnTo>
                    <a:pt x="15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8" name="Rectangle 200">
              <a:extLst>
                <a:ext uri="{FF2B5EF4-FFF2-40B4-BE49-F238E27FC236}">
                  <a16:creationId xmlns:a16="http://schemas.microsoft.com/office/drawing/2014/main" id="{5EF4AAF6-8B48-4DF3-B215-795FEEBD1B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4767" y="3252771"/>
              <a:ext cx="2376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19" name="Freeform 201">
              <a:extLst>
                <a:ext uri="{FF2B5EF4-FFF2-40B4-BE49-F238E27FC236}">
                  <a16:creationId xmlns:a16="http://schemas.microsoft.com/office/drawing/2014/main" id="{B561AD1A-6632-CE8E-606C-841D42711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7944" y="2693592"/>
              <a:ext cx="96629" cy="11881"/>
            </a:xfrm>
            <a:custGeom>
              <a:avLst/>
              <a:gdLst>
                <a:gd name="T0" fmla="*/ 122 w 122"/>
                <a:gd name="T1" fmla="*/ 0 h 15"/>
                <a:gd name="T2" fmla="*/ 0 w 122"/>
                <a:gd name="T3" fmla="*/ 15 h 15"/>
                <a:gd name="T4" fmla="*/ 122 w 12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2" h="15">
                  <a:moveTo>
                    <a:pt x="122" y="0"/>
                  </a:moveTo>
                  <a:lnTo>
                    <a:pt x="0" y="15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20" name="Freeform 202">
              <a:extLst>
                <a:ext uri="{FF2B5EF4-FFF2-40B4-BE49-F238E27FC236}">
                  <a16:creationId xmlns:a16="http://schemas.microsoft.com/office/drawing/2014/main" id="{7EF365F9-309C-7EA2-47A2-F6C812E31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767" y="3447613"/>
              <a:ext cx="35642" cy="11881"/>
            </a:xfrm>
            <a:custGeom>
              <a:avLst/>
              <a:gdLst>
                <a:gd name="T0" fmla="*/ 0 w 45"/>
                <a:gd name="T1" fmla="*/ 15 h 15"/>
                <a:gd name="T2" fmla="*/ 45 w 45"/>
                <a:gd name="T3" fmla="*/ 0 h 15"/>
                <a:gd name="T4" fmla="*/ 30 w 45"/>
                <a:gd name="T5" fmla="*/ 15 h 15"/>
                <a:gd name="T6" fmla="*/ 0 w 45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15">
                  <a:moveTo>
                    <a:pt x="0" y="15"/>
                  </a:moveTo>
                  <a:lnTo>
                    <a:pt x="45" y="0"/>
                  </a:lnTo>
                  <a:lnTo>
                    <a:pt x="3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21" name="Rectangle 203">
              <a:extLst>
                <a:ext uri="{FF2B5EF4-FFF2-40B4-BE49-F238E27FC236}">
                  <a16:creationId xmlns:a16="http://schemas.microsoft.com/office/drawing/2014/main" id="{C98072D6-6534-B1AF-E246-2BB25338EB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4962" y="3823832"/>
              <a:ext cx="11881" cy="7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22" name="Freeform 204">
              <a:extLst>
                <a:ext uri="{FF2B5EF4-FFF2-40B4-BE49-F238E27FC236}">
                  <a16:creationId xmlns:a16="http://schemas.microsoft.com/office/drawing/2014/main" id="{1F40CE2E-8FCF-B983-1DF2-0DE13B48E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0409" y="3836504"/>
              <a:ext cx="36434" cy="11881"/>
            </a:xfrm>
            <a:custGeom>
              <a:avLst/>
              <a:gdLst>
                <a:gd name="T0" fmla="*/ 0 w 46"/>
                <a:gd name="T1" fmla="*/ 0 h 15"/>
                <a:gd name="T2" fmla="*/ 46 w 46"/>
                <a:gd name="T3" fmla="*/ 15 h 15"/>
                <a:gd name="T4" fmla="*/ 15 w 46"/>
                <a:gd name="T5" fmla="*/ 15 h 15"/>
                <a:gd name="T6" fmla="*/ 0 w 46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15">
                  <a:moveTo>
                    <a:pt x="0" y="0"/>
                  </a:moveTo>
                  <a:lnTo>
                    <a:pt x="46" y="15"/>
                  </a:lnTo>
                  <a:lnTo>
                    <a:pt x="15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pic>
        <p:nvPicPr>
          <p:cNvPr id="5" name="图片 4">
            <a:extLst>
              <a:ext uri="{FF2B5EF4-FFF2-40B4-BE49-F238E27FC236}">
                <a16:creationId xmlns:a16="http://schemas.microsoft.com/office/drawing/2014/main" id="{31F09C15-47EC-3728-AA8F-CE5194B072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5089" b="98935" l="0" r="99000">
                        <a14:foregroundMark x1="23167" y1="27929" x2="23167" y2="27692"/>
                        <a14:foregroundMark x1="19500" y1="25089" x2="21500" y2="18107"/>
                        <a14:foregroundMark x1="21500" y1="18107" x2="31333" y2="10059"/>
                        <a14:foregroundMark x1="31333" y1="10059" x2="42500" y2="5325"/>
                        <a14:foregroundMark x1="67133" y1="9983" x2="71566" y2="11937"/>
                        <a14:foregroundMark x1="78007" y1="21260" x2="78167" y2="21893"/>
                        <a14:foregroundMark x1="78167" y1="21893" x2="76291" y2="27221"/>
                        <a14:foregroundMark x1="73500" y1="38580" x2="73832" y2="41253"/>
                        <a14:foregroundMark x1="59333" y1="34320" x2="56667" y2="34556"/>
                        <a14:foregroundMark x1="36000" y1="36095" x2="32500" y2="35503"/>
                        <a14:foregroundMark x1="25000" y1="39172" x2="24556" y2="40813"/>
                        <a14:foregroundMark x1="23833" y1="38935" x2="23735" y2="39443"/>
                        <a14:foregroundMark x1="25167" y1="39172" x2="25167" y2="41834"/>
                        <a14:foregroundMark x1="73636" y1="38285" x2="74377" y2="40455"/>
                        <a14:foregroundMark x1="24000" y1="38225" x2="20833" y2="37633"/>
                        <a14:foregroundMark x1="39333" y1="67219" x2="44500" y2="77988"/>
                        <a14:foregroundMark x1="44500" y1="77988" x2="57833" y2="82722"/>
                        <a14:foregroundMark x1="57833" y1="82722" x2="81333" y2="79408"/>
                        <a14:foregroundMark x1="81333" y1="79408" x2="35500" y2="84024"/>
                        <a14:foregroundMark x1="35500" y1="84024" x2="66000" y2="84024"/>
                        <a14:foregroundMark x1="66000" y1="84024" x2="37500" y2="84852"/>
                        <a14:foregroundMark x1="37500" y1="84852" x2="63667" y2="78462"/>
                        <a14:foregroundMark x1="63667" y1="78462" x2="46500" y2="70888"/>
                        <a14:foregroundMark x1="46500" y1="70888" x2="54833" y2="72781"/>
                        <a14:foregroundMark x1="83500" y1="76331" x2="74333" y2="85089"/>
                        <a14:foregroundMark x1="77667" y1="89231" x2="43833" y2="92426"/>
                        <a14:foregroundMark x1="43833" y1="92426" x2="59667" y2="86627"/>
                        <a14:foregroundMark x1="68500" y1="96923" x2="18167" y2="97278"/>
                        <a14:foregroundMark x1="18167" y1="97278" x2="62833" y2="93964"/>
                        <a14:foregroundMark x1="62833" y1="93964" x2="22333" y2="95266"/>
                        <a14:foregroundMark x1="35833" y1="99053" x2="1500" y2="98107"/>
                        <a14:foregroundMark x1="19167" y1="74793" x2="9000" y2="78343"/>
                        <a14:foregroundMark x1="9000" y1="78343" x2="2000" y2="93018"/>
                        <a14:foregroundMark x1="82000" y1="64142" x2="97833" y2="69586"/>
                        <a14:foregroundMark x1="20404" y1="40714" x2="21667" y2="44852"/>
                        <a14:foregroundMark x1="21667" y1="44852" x2="26167" y2="48521"/>
                        <a14:foregroundMark x1="21959" y1="40629" x2="23333" y2="45089"/>
                        <a14:foregroundMark x1="21000" y1="37515" x2="21837" y2="40233"/>
                        <a14:foregroundMark x1="23333" y1="45089" x2="27667" y2="49586"/>
                        <a14:foregroundMark x1="74167" y1="35976" x2="75688" y2="38244"/>
                        <a14:foregroundMark x1="75333" y1="35385" x2="76167" y2="36590"/>
                        <a14:foregroundMark x1="76500" y1="34793" x2="76676" y2="34835"/>
                        <a14:foregroundMark x1="41833" y1="5089" x2="41500" y2="5680"/>
                        <a14:foregroundMark x1="42833" y1="5917" x2="56500" y2="6864"/>
                        <a14:foregroundMark x1="56500" y1="6864" x2="68667" y2="10888"/>
                        <a14:foregroundMark x1="67167" y1="9941" x2="58667" y2="6509"/>
                        <a14:foregroundMark x1="59833" y1="6864" x2="67667" y2="9467"/>
                        <a14:foregroundMark x1="74667" y1="34793" x2="75972" y2="37264"/>
                        <a14:foregroundMark x1="74833" y1="35503" x2="76000" y2="35030"/>
                        <a14:foregroundMark x1="74833" y1="35503" x2="76427" y2="35695"/>
                        <a14:foregroundMark x1="74833" y1="34911" x2="77012" y2="36326"/>
                        <a14:foregroundMark x1="74333" y1="35030" x2="77071" y2="36174"/>
                        <a14:foregroundMark x1="76167" y1="34675" x2="77232" y2="34956"/>
                        <a14:foregroundMark x1="74667" y1="34793" x2="77234" y2="34954"/>
                        <a14:foregroundMark x1="77167" y1="34556" x2="77306" y2="34874"/>
                        <a14:foregroundMark x1="75000" y1="34438" x2="77327" y2="34851"/>
                        <a14:foregroundMark x1="79473" y1="34501" x2="79661" y2="34571"/>
                        <a14:foregroundMark x1="75333" y1="34438" x2="77615" y2="35796"/>
                        <a14:foregroundMark x1="79987" y1="33928" x2="80333" y2="33846"/>
                        <a14:foregroundMark x1="74833" y1="35148" x2="77661" y2="34479"/>
                        <a14:foregroundMark x1="75833" y1="34556" x2="77574" y2="36815"/>
                        <a14:foregroundMark x1="77667" y1="34083" x2="79001" y2="35828"/>
                        <a14:foregroundMark x1="80333" y1="34201" x2="80407" y2="34398"/>
                        <a14:foregroundMark x1="74667" y1="35148" x2="77592" y2="36769"/>
                        <a14:foregroundMark x1="75500" y1="34556" x2="77411" y2="37221"/>
                        <a14:foregroundMark x1="80167" y1="35030" x2="80167" y2="36151"/>
                        <a14:foregroundMark x1="80000" y1="35030" x2="80451" y2="36190"/>
                        <a14:foregroundMark x1="79167" y1="34201" x2="81791" y2="36375"/>
                        <a14:foregroundMark x1="79333" y1="33491" x2="81500" y2="34675"/>
                        <a14:foregroundMark x1="81210" y1="33976" x2="81333" y2="33964"/>
                        <a14:foregroundMark x1="75500" y1="34556" x2="81180" y2="33980"/>
                        <a14:foregroundMark x1="74667" y1="34911" x2="79333" y2="33254"/>
                        <a14:foregroundMark x1="78833" y1="34320" x2="79602" y2="36073"/>
                        <a14:foregroundMark x1="81333" y1="34911" x2="79786" y2="38426"/>
                        <a14:foregroundMark x1="80667" y1="34438" x2="79733" y2="38416"/>
                        <a14:foregroundMark x1="81667" y1="36923" x2="80625" y2="38574"/>
                        <a14:foregroundMark x1="81333" y1="38107" x2="81068" y2="38652"/>
                        <a14:foregroundMark x1="78833" y1="34201" x2="79419" y2="38361"/>
                        <a14:foregroundMark x1="73251" y1="50275" x2="73000" y2="50414"/>
                        <a14:foregroundMark x1="81000" y1="33846" x2="80000" y2="40947"/>
                        <a14:foregroundMark x1="80000" y1="40947" x2="73500" y2="48757"/>
                        <a14:backgroundMark x1="25691" y1="50427" x2="36167" y2="67929"/>
                        <a14:backgroundMark x1="36167" y1="67929" x2="26333" y2="72899"/>
                        <a14:backgroundMark x1="26333" y1="72899" x2="18634" y2="74371"/>
                        <a14:backgroundMark x1="440" y1="92656" x2="167" y2="93254"/>
                        <a14:backgroundMark x1="77167" y1="27337" x2="75523" y2="33491"/>
                        <a14:backgroundMark x1="73551" y1="52198" x2="73167" y2="52781"/>
                        <a14:backgroundMark x1="73167" y1="52781" x2="78167" y2="59053"/>
                        <a14:backgroundMark x1="78167" y1="59053" x2="84071" y2="62495"/>
                        <a14:backgroundMark x1="99242" y1="68466" x2="99833" y2="68639"/>
                        <a14:backgroundMark x1="74500" y1="34083" x2="74989" y2="34546"/>
                        <a14:backgroundMark x1="72333" y1="11598" x2="77000" y2="16213"/>
                        <a14:backgroundMark x1="75167" y1="13846" x2="79167" y2="20947"/>
                        <a14:backgroundMark x1="79167" y1="20947" x2="78167" y2="21420"/>
                        <a14:backgroundMark x1="57491" y1="5828" x2="57690" y2="5905"/>
                        <a14:backgroundMark x1="73126" y1="50383" x2="73333" y2="51361"/>
                        <a14:backgroundMark x1="19833" y1="37515" x2="19167" y2="37633"/>
                        <a14:backgroundMark x1="19833" y1="38107" x2="17667" y2="38225"/>
                        <a14:backgroundMark x1="86500" y1="39408" x2="85333" y2="38935"/>
                        <a14:backgroundMark x1="81208" y1="41032" x2="81091" y2="41360"/>
                        <a14:backgroundMark x1="75021" y1="49334" x2="73500" y2="5041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287" r="-55" b="4631"/>
          <a:stretch/>
        </p:blipFill>
        <p:spPr>
          <a:xfrm>
            <a:off x="7068483" y="0"/>
            <a:ext cx="5123517" cy="6858000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13293D23-8F7A-C530-19B3-857B02959D08}"/>
              </a:ext>
            </a:extLst>
          </p:cNvPr>
          <p:cNvSpPr txBox="1"/>
          <p:nvPr/>
        </p:nvSpPr>
        <p:spPr>
          <a:xfrm>
            <a:off x="130748" y="364227"/>
            <a:ext cx="45946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1903</a:t>
            </a:r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年</a:t>
            </a:r>
            <a:r>
              <a:rPr lang="zh-CN" altLang="en-US" b="1" i="0" dirty="0">
                <a:effectLst/>
                <a:latin typeface="黑体" panose="02010609060101010101" pitchFamily="49" charset="-122"/>
                <a:ea typeface="黑体" panose="02010609060101010101" pitchFamily="49" charset="-122"/>
              </a:rPr>
              <a:t>出生于湖南石门县一农民家庭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31F0A521-763D-21C9-FAEC-126242ECE84C}"/>
              </a:ext>
            </a:extLst>
          </p:cNvPr>
          <p:cNvSpPr txBox="1"/>
          <p:nvPr/>
        </p:nvSpPr>
        <p:spPr>
          <a:xfrm>
            <a:off x="130748" y="793578"/>
            <a:ext cx="45192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1</a:t>
            </a:r>
            <a:r>
              <a:rPr lang="en-US" altLang="zh-CN" b="1" i="0" dirty="0">
                <a:effectLst/>
                <a:latin typeface="黑体" panose="02010609060101010101" pitchFamily="49" charset="-122"/>
                <a:ea typeface="黑体" panose="02010609060101010101" pitchFamily="49" charset="-122"/>
              </a:rPr>
              <a:t>924</a:t>
            </a:r>
            <a:r>
              <a:rPr lang="zh-CN" altLang="en-US" b="1" i="0" dirty="0">
                <a:effectLst/>
                <a:latin typeface="黑体" panose="02010609060101010101" pitchFamily="49" charset="-122"/>
                <a:ea typeface="黑体" panose="02010609060101010101" pitchFamily="49" charset="-122"/>
              </a:rPr>
              <a:t>年考入黄埔军校第一期，加入国民党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218F491B-D4FE-1BF7-3564-E5EB43F2D0B3}"/>
              </a:ext>
            </a:extLst>
          </p:cNvPr>
          <p:cNvSpPr txBox="1"/>
          <p:nvPr/>
        </p:nvSpPr>
        <p:spPr>
          <a:xfrm>
            <a:off x="130748" y="1186807"/>
            <a:ext cx="37783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1926</a:t>
            </a:r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年参加北伐战争</a:t>
            </a:r>
            <a:endParaRPr lang="zh-CN" altLang="en-US" b="1" i="0" dirty="0">
              <a:effectLst/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0CB2A1FD-DC8F-EF51-2958-A0BE55BAB169}"/>
              </a:ext>
            </a:extLst>
          </p:cNvPr>
          <p:cNvSpPr txBox="1"/>
          <p:nvPr/>
        </p:nvSpPr>
        <p:spPr>
          <a:xfrm>
            <a:off x="130748" y="1615870"/>
            <a:ext cx="57714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1931</a:t>
            </a:r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年</a:t>
            </a:r>
            <a:r>
              <a:rPr lang="zh-CN" altLang="en-US" b="1" i="0" dirty="0">
                <a:effectLst/>
                <a:latin typeface="黑体" panose="02010609060101010101" pitchFamily="49" charset="-122"/>
                <a:ea typeface="黑体" panose="02010609060101010101" pitchFamily="49" charset="-122"/>
              </a:rPr>
              <a:t>九一八事变后，驻防热河，亲历东北军溃败</a:t>
            </a:r>
          </a:p>
        </p:txBody>
      </p:sp>
      <p:sp>
        <p:nvSpPr>
          <p:cNvPr id="227" name="文本框 226">
            <a:extLst>
              <a:ext uri="{FF2B5EF4-FFF2-40B4-BE49-F238E27FC236}">
                <a16:creationId xmlns:a16="http://schemas.microsoft.com/office/drawing/2014/main" id="{4291A019-3243-B423-57F4-349BF88F9CA4}"/>
              </a:ext>
            </a:extLst>
          </p:cNvPr>
          <p:cNvSpPr txBox="1"/>
          <p:nvPr/>
        </p:nvSpPr>
        <p:spPr>
          <a:xfrm>
            <a:off x="130748" y="2030234"/>
            <a:ext cx="69377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zh-CN" b="1" i="0" dirty="0">
                <a:effectLst/>
                <a:latin typeface="黑体" panose="02010609060101010101" pitchFamily="49" charset="-122"/>
                <a:ea typeface="黑体" panose="02010609060101010101" pitchFamily="49" charset="-122"/>
              </a:rPr>
              <a:t>1933</a:t>
            </a:r>
            <a:r>
              <a:rPr lang="zh-CN" altLang="en-US" b="1" i="0" dirty="0">
                <a:effectLst/>
                <a:latin typeface="黑体" panose="02010609060101010101" pitchFamily="49" charset="-122"/>
                <a:ea typeface="黑体" panose="02010609060101010101" pitchFamily="49" charset="-122"/>
              </a:rPr>
              <a:t>年长城抗战，率部在古北口与日军激战，因孤立无援被迫撤退。</a:t>
            </a:r>
          </a:p>
        </p:txBody>
      </p:sp>
      <p:sp>
        <p:nvSpPr>
          <p:cNvPr id="231" name="文本框 230">
            <a:extLst>
              <a:ext uri="{FF2B5EF4-FFF2-40B4-BE49-F238E27FC236}">
                <a16:creationId xmlns:a16="http://schemas.microsoft.com/office/drawing/2014/main" id="{10267273-74BB-FBA9-8F33-43813B20FCE6}"/>
              </a:ext>
            </a:extLst>
          </p:cNvPr>
          <p:cNvSpPr txBox="1"/>
          <p:nvPr/>
        </p:nvSpPr>
        <p:spPr>
          <a:xfrm>
            <a:off x="130748" y="2480681"/>
            <a:ext cx="4752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zh-CN" b="1" i="0" dirty="0">
                <a:effectLst/>
                <a:latin typeface="黑体" panose="02010609060101010101" pitchFamily="49" charset="-122"/>
                <a:ea typeface="黑体" panose="02010609060101010101" pitchFamily="49" charset="-122"/>
              </a:rPr>
              <a:t>1937</a:t>
            </a:r>
            <a:r>
              <a:rPr lang="zh-CN" altLang="en-US" b="1" i="0" dirty="0">
                <a:effectLst/>
                <a:latin typeface="黑体" panose="02010609060101010101" pitchFamily="49" charset="-122"/>
                <a:ea typeface="黑体" panose="02010609060101010101" pitchFamily="49" charset="-122"/>
              </a:rPr>
              <a:t>年保定会战，率部死守保定南口</a:t>
            </a:r>
          </a:p>
        </p:txBody>
      </p:sp>
      <p:sp>
        <p:nvSpPr>
          <p:cNvPr id="235" name="文本框 234">
            <a:extLst>
              <a:ext uri="{FF2B5EF4-FFF2-40B4-BE49-F238E27FC236}">
                <a16:creationId xmlns:a16="http://schemas.microsoft.com/office/drawing/2014/main" id="{EA6DB97C-A728-F678-8BB0-883977F55631}"/>
              </a:ext>
            </a:extLst>
          </p:cNvPr>
          <p:cNvSpPr txBox="1"/>
          <p:nvPr/>
        </p:nvSpPr>
        <p:spPr>
          <a:xfrm>
            <a:off x="130749" y="2953029"/>
            <a:ext cx="693773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1938</a:t>
            </a:r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年参加</a:t>
            </a:r>
            <a:r>
              <a:rPr lang="zh-CN" altLang="en-US" b="1" i="0" dirty="0">
                <a:effectLst/>
                <a:latin typeface="黑体" panose="02010609060101010101" pitchFamily="49" charset="-122"/>
                <a:ea typeface="黑体" panose="02010609060101010101" pitchFamily="49" charset="-122"/>
              </a:rPr>
              <a:t>台儿庄战役，驰援徐州战场，为台儿庄大捷争取时间。</a:t>
            </a:r>
          </a:p>
        </p:txBody>
      </p:sp>
      <p:sp>
        <p:nvSpPr>
          <p:cNvPr id="239" name="文本框 238">
            <a:extLst>
              <a:ext uri="{FF2B5EF4-FFF2-40B4-BE49-F238E27FC236}">
                <a16:creationId xmlns:a16="http://schemas.microsoft.com/office/drawing/2014/main" id="{8723142E-CF25-BE24-52AE-331FD82C00BB}"/>
              </a:ext>
            </a:extLst>
          </p:cNvPr>
          <p:cNvSpPr txBox="1"/>
          <p:nvPr/>
        </p:nvSpPr>
        <p:spPr>
          <a:xfrm>
            <a:off x="130748" y="3416814"/>
            <a:ext cx="56533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1939</a:t>
            </a:r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年昆仑关战役，击毙日军旅团长中村正雄</a:t>
            </a:r>
            <a:endParaRPr lang="zh-CN" altLang="en-US" b="1" i="0" dirty="0">
              <a:effectLst/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243" name="文本框 242">
            <a:extLst>
              <a:ext uri="{FF2B5EF4-FFF2-40B4-BE49-F238E27FC236}">
                <a16:creationId xmlns:a16="http://schemas.microsoft.com/office/drawing/2014/main" id="{9C1A23EF-21CF-0B94-C60C-DC5C4DFD7229}"/>
              </a:ext>
            </a:extLst>
          </p:cNvPr>
          <p:cNvSpPr txBox="1"/>
          <p:nvPr/>
        </p:nvSpPr>
        <p:spPr>
          <a:xfrm>
            <a:off x="130747" y="3862768"/>
            <a:ext cx="66102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1942</a:t>
            </a:r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年第一次入缅作战</a:t>
            </a:r>
            <a:endParaRPr lang="zh-CN" altLang="en-US" b="1" i="0" dirty="0">
              <a:effectLst/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247" name="文本框 246">
            <a:extLst>
              <a:ext uri="{FF2B5EF4-FFF2-40B4-BE49-F238E27FC236}">
                <a16:creationId xmlns:a16="http://schemas.microsoft.com/office/drawing/2014/main" id="{F24A707D-8976-96F8-1117-F1EAD62A4865}"/>
              </a:ext>
            </a:extLst>
          </p:cNvPr>
          <p:cNvSpPr txBox="1"/>
          <p:nvPr/>
        </p:nvSpPr>
        <p:spPr>
          <a:xfrm>
            <a:off x="130748" y="4268733"/>
            <a:ext cx="4752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1945</a:t>
            </a:r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年缅北反攻，打通中印公路</a:t>
            </a:r>
            <a:endParaRPr lang="zh-CN" altLang="en-US" b="1" i="0" dirty="0">
              <a:effectLst/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251" name="文本框 250">
            <a:extLst>
              <a:ext uri="{FF2B5EF4-FFF2-40B4-BE49-F238E27FC236}">
                <a16:creationId xmlns:a16="http://schemas.microsoft.com/office/drawing/2014/main" id="{244CEBC2-7CCF-E532-EE6C-32F8F8DAD609}"/>
              </a:ext>
            </a:extLst>
          </p:cNvPr>
          <p:cNvSpPr txBox="1"/>
          <p:nvPr/>
        </p:nvSpPr>
        <p:spPr>
          <a:xfrm>
            <a:off x="130748" y="4721671"/>
            <a:ext cx="66102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1948</a:t>
            </a:r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年任国民党东北“剿总”副总司令，困守长春数月，最终在弹尽粮绝、部下起义的压力下投诚解放军。</a:t>
            </a:r>
            <a:endParaRPr lang="zh-CN" altLang="en-US" b="1" i="0" dirty="0">
              <a:effectLst/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255" name="文本框 254">
            <a:extLst>
              <a:ext uri="{FF2B5EF4-FFF2-40B4-BE49-F238E27FC236}">
                <a16:creationId xmlns:a16="http://schemas.microsoft.com/office/drawing/2014/main" id="{3137C8BF-3E63-B2ED-C482-13C058E5FAD4}"/>
              </a:ext>
            </a:extLst>
          </p:cNvPr>
          <p:cNvSpPr txBox="1"/>
          <p:nvPr/>
        </p:nvSpPr>
        <p:spPr>
          <a:xfrm>
            <a:off x="130747" y="5529338"/>
            <a:ext cx="73758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1949</a:t>
            </a:r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年任水利部参事、全国政协委员、民革中央副主席等职</a:t>
            </a:r>
            <a:endParaRPr lang="zh-CN" altLang="en-US" b="1" i="0" dirty="0">
              <a:effectLst/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259" name="文本框 258">
            <a:extLst>
              <a:ext uri="{FF2B5EF4-FFF2-40B4-BE49-F238E27FC236}">
                <a16:creationId xmlns:a16="http://schemas.microsoft.com/office/drawing/2014/main" id="{EF3DEAB5-310E-5EE5-BE3B-3496081FB160}"/>
              </a:ext>
            </a:extLst>
          </p:cNvPr>
          <p:cNvSpPr txBox="1"/>
          <p:nvPr/>
        </p:nvSpPr>
        <p:spPr>
          <a:xfrm>
            <a:off x="130748" y="6016416"/>
            <a:ext cx="4752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1992</a:t>
            </a:r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年病逝于北京</a:t>
            </a:r>
            <a:endParaRPr lang="zh-CN" altLang="en-US" b="1" i="0" dirty="0">
              <a:effectLst/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765845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5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accel="100000" fill="hold">
                                          <p:stCondLst>
                                            <p:cond delay="45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4500" decel="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accel="100000" fill="hold">
                                          <p:stCondLst>
                                            <p:cond delay="45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4500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accel="100000" fill="hold">
                                          <p:stCondLst>
                                            <p:cond delay="45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500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accel="100000" fill="hold">
                                          <p:stCondLst>
                                            <p:cond delay="45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0" fill="hold"/>
                                        <p:tgtEl>
                                          <p:spTgt spid="2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4500" decel="100000" fill="hold"/>
                                        <p:tgtEl>
                                          <p:spTgt spid="2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accel="100000" fill="hold">
                                          <p:stCondLst>
                                            <p:cond delay="450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5000" fill="hold"/>
                                        <p:tgtEl>
                                          <p:spTgt spid="2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4500" decel="100000" fill="hold"/>
                                        <p:tgtEl>
                                          <p:spTgt spid="2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accel="100000" fill="hold">
                                          <p:stCondLst>
                                            <p:cond delay="450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0" fill="hold"/>
                                        <p:tgtEl>
                                          <p:spTgt spid="2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4500" decel="100000" fill="hold"/>
                                        <p:tgtEl>
                                          <p:spTgt spid="2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accel="100000" fill="hold">
                                          <p:stCondLst>
                                            <p:cond delay="450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0"/>
                                        <p:tgtEl>
                                          <p:spTgt spid="2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5000" fill="hold"/>
                                        <p:tgtEl>
                                          <p:spTgt spid="2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4500" decel="100000" fill="hold"/>
                                        <p:tgtEl>
                                          <p:spTgt spid="2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accel="100000" fill="hold">
                                          <p:stCondLst>
                                            <p:cond delay="450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5000" fill="hold"/>
                                        <p:tgtEl>
                                          <p:spTgt spid="2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4500" decel="100000" fill="hold"/>
                                        <p:tgtEl>
                                          <p:spTgt spid="2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accel="100000" fill="hold">
                                          <p:stCondLst>
                                            <p:cond delay="450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0"/>
                                        <p:tgtEl>
                                          <p:spTgt spid="2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5000" fill="hold"/>
                                        <p:tgtEl>
                                          <p:spTgt spid="2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4500" decel="100000" fill="hold"/>
                                        <p:tgtEl>
                                          <p:spTgt spid="2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accel="100000" fill="hold">
                                          <p:stCondLst>
                                            <p:cond delay="450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500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4500" decel="10000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accel="100000" fill="hold">
                                          <p:stCondLst>
                                            <p:cond delay="450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0"/>
                                        <p:tgtEl>
                                          <p:spTgt spid="2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500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4500" decel="10000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accel="100000" fill="hold">
                                          <p:stCondLst>
                                            <p:cond delay="450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0"/>
                                        <p:tgtEl>
                                          <p:spTgt spid="2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5000" fill="hold"/>
                                        <p:tgtEl>
                                          <p:spTgt spid="2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4500" decel="100000" fill="hold"/>
                                        <p:tgtEl>
                                          <p:spTgt spid="2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accel="100000" fill="hold">
                                          <p:stCondLst>
                                            <p:cond delay="450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9" grpId="0"/>
      <p:bldP spid="13" grpId="0"/>
      <p:bldP spid="21" grpId="0"/>
      <p:bldP spid="227" grpId="0"/>
      <p:bldP spid="231" grpId="0"/>
      <p:bldP spid="235" grpId="0"/>
      <p:bldP spid="239" grpId="0"/>
      <p:bldP spid="243" grpId="0"/>
      <p:bldP spid="247" grpId="0"/>
      <p:bldP spid="251" grpId="0"/>
      <p:bldP spid="255" grpId="0"/>
      <p:bldP spid="25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A00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4319B0D7-B50A-045B-4742-AF8BF3DEA8F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257" b="48500"/>
          <a:stretch/>
        </p:blipFill>
        <p:spPr>
          <a:xfrm rot="18396880">
            <a:off x="-1122592" y="3673829"/>
            <a:ext cx="6064704" cy="2537728"/>
          </a:xfrm>
          <a:prstGeom prst="rect">
            <a:avLst/>
          </a:prstGeom>
          <a:effectLst>
            <a:outerShdw blurRad="241300" dist="25400" dir="2700000" algn="tl" rotWithShape="0">
              <a:prstClr val="black">
                <a:alpha val="30000"/>
              </a:prstClr>
            </a:outerShdw>
          </a:effectLst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5BED32CE-01E8-EB9E-65BC-A81E859FA3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257" b="48500"/>
          <a:stretch/>
        </p:blipFill>
        <p:spPr>
          <a:xfrm rot="7712281">
            <a:off x="7097098" y="-183385"/>
            <a:ext cx="6064704" cy="2537728"/>
          </a:xfrm>
          <a:prstGeom prst="rect">
            <a:avLst/>
          </a:prstGeom>
          <a:effectLst>
            <a:outerShdw blurRad="241300" dist="25400" dir="2700000" algn="tl" rotWithShape="0">
              <a:prstClr val="black">
                <a:alpha val="30000"/>
              </a:prstClr>
            </a:outerShdw>
          </a:effectLst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0D86943F-9BC1-E145-6AAB-FAD901181988}"/>
              </a:ext>
            </a:extLst>
          </p:cNvPr>
          <p:cNvSpPr/>
          <p:nvPr/>
        </p:nvSpPr>
        <p:spPr>
          <a:xfrm>
            <a:off x="-657639" y="1891835"/>
            <a:ext cx="13646426" cy="2087218"/>
          </a:xfrm>
          <a:prstGeom prst="rect">
            <a:avLst/>
          </a:prstGeom>
          <a:solidFill>
            <a:schemeClr val="tx1"/>
          </a:solidFill>
          <a:ln w="38100"/>
          <a:effectLst>
            <a:outerShdw blurRad="76200" dist="330200" dir="3960000" sx="99000" sy="99000" algn="t" rotWithShape="0">
              <a:prstClr val="black">
                <a:alpha val="39000"/>
              </a:prstClr>
            </a:outerShdw>
          </a:effectLst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5C8408F3-0FF9-4D44-CC68-5233DFBB44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93574" y="1874042"/>
            <a:ext cx="9144000" cy="1061402"/>
          </a:xfrm>
        </p:spPr>
        <p:txBody>
          <a:bodyPr>
            <a:normAutofit/>
          </a:bodyPr>
          <a:lstStyle/>
          <a:p>
            <a:pPr algn="dist"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4800" b="1" dirty="0">
                <a:solidFill>
                  <a:srgbClr val="FEE979"/>
                </a:solidFill>
                <a:effectLst>
                  <a:outerShdw blurRad="165100" dist="203200" dir="1800000" sx="101000" sy="101000" algn="ctr" rotWithShape="0">
                    <a:srgbClr val="000000">
                      <a:alpha val="52000"/>
                    </a:srgbClr>
                  </a:outerShdw>
                </a:effectLst>
                <a:latin typeface="+mn-lt"/>
                <a:ea typeface="汉仪尚巍手书W" panose="00020600040101010101" pitchFamily="18" charset="-122"/>
                <a:cs typeface="+mn-cs"/>
              </a:rPr>
              <a:t>第六单元 </a:t>
            </a:r>
            <a:r>
              <a:rPr lang="zh-CN" altLang="zh-CN" sz="4800" b="1" dirty="0">
                <a:solidFill>
                  <a:srgbClr val="FEE979"/>
                </a:solidFill>
                <a:effectLst>
                  <a:outerShdw blurRad="165100" dist="203200" dir="1800000" sx="101000" sy="101000" algn="ctr" rotWithShape="0">
                    <a:srgbClr val="000000">
                      <a:alpha val="52000"/>
                    </a:srgbClr>
                  </a:outerShdw>
                </a:effectLst>
                <a:latin typeface="+mn-lt"/>
                <a:ea typeface="汉仪尚巍手书W" panose="00020600040101010101" pitchFamily="18" charset="-122"/>
                <a:cs typeface="+mn-cs"/>
              </a:rPr>
              <a:t>中华民族的抗日战争</a:t>
            </a:r>
            <a:endParaRPr lang="zh-CN" altLang="en-US" sz="4800" b="1" dirty="0">
              <a:solidFill>
                <a:srgbClr val="FEE979"/>
              </a:solidFill>
              <a:effectLst>
                <a:outerShdw blurRad="165100" dist="203200" dir="1800000" sx="101000" sy="101000" algn="ctr" rotWithShape="0">
                  <a:srgbClr val="000000">
                    <a:alpha val="52000"/>
                  </a:srgbClr>
                </a:outerShdw>
              </a:effectLst>
              <a:latin typeface="+mn-lt"/>
              <a:ea typeface="汉仪尚巍手书W" panose="00020600040101010101" pitchFamily="18" charset="-122"/>
              <a:cs typeface="+mn-cs"/>
            </a:endParaRP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A03D60FE-9CD6-DF8B-FAB5-7C409F3D95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2124" y="3286932"/>
            <a:ext cx="6619875" cy="1655762"/>
          </a:xfrm>
        </p:spPr>
        <p:txBody>
          <a:bodyPr>
            <a:normAutofit/>
          </a:bodyPr>
          <a:lstStyle/>
          <a:p>
            <a:pPr algn="dist"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3200" b="1" dirty="0">
                <a:solidFill>
                  <a:srgbClr val="FEE979"/>
                </a:solidFill>
                <a:effectLst>
                  <a:outerShdw blurRad="165100" dist="203200" dir="1800000" sx="101000" sy="101000" algn="ctr" rotWithShape="0">
                    <a:srgbClr val="000000">
                      <a:alpha val="52000"/>
                    </a:srgbClr>
                  </a:outerShdw>
                </a:effectLst>
                <a:latin typeface="黑体" panose="02010609060101010101" pitchFamily="49" charset="-122"/>
                <a:ea typeface="黑体" panose="02010609060101010101" pitchFamily="49" charset="-122"/>
              </a:rPr>
              <a:t>——</a:t>
            </a:r>
            <a:r>
              <a:rPr lang="zh-CN" altLang="en-US" sz="3200" b="1" dirty="0">
                <a:solidFill>
                  <a:srgbClr val="FEE979"/>
                </a:solidFill>
                <a:effectLst>
                  <a:outerShdw blurRad="165100" dist="203200" dir="1800000" sx="101000" sy="101000" algn="ctr" rotWithShape="0">
                    <a:srgbClr val="000000">
                      <a:alpha val="52000"/>
                    </a:srgbClr>
                  </a:outerShdw>
                </a:effectLst>
                <a:latin typeface="黑体" panose="02010609060101010101" pitchFamily="49" charset="-122"/>
                <a:ea typeface="黑体" panose="02010609060101010101" pitchFamily="49" charset="-122"/>
              </a:rPr>
              <a:t>从郑洞国的视角再看抗日战争</a:t>
            </a:r>
          </a:p>
        </p:txBody>
      </p:sp>
    </p:spTree>
    <p:extLst>
      <p:ext uri="{BB962C8B-B14F-4D97-AF65-F5344CB8AC3E}">
        <p14:creationId xmlns:p14="http://schemas.microsoft.com/office/powerpoint/2010/main" val="29795461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任意多边形: 形状 67">
            <a:extLst>
              <a:ext uri="{FF2B5EF4-FFF2-40B4-BE49-F238E27FC236}">
                <a16:creationId xmlns:a16="http://schemas.microsoft.com/office/drawing/2014/main" id="{847D2AC0-FEB2-49C9-9E45-286DCED32B08}"/>
              </a:ext>
            </a:extLst>
          </p:cNvPr>
          <p:cNvSpPr/>
          <p:nvPr/>
        </p:nvSpPr>
        <p:spPr>
          <a:xfrm>
            <a:off x="2209800" y="1529017"/>
            <a:ext cx="8196942" cy="3630549"/>
          </a:xfrm>
          <a:custGeom>
            <a:avLst/>
            <a:gdLst>
              <a:gd name="connsiteX0" fmla="*/ 6003471 w 8196942"/>
              <a:gd name="connsiteY0" fmla="*/ 0 h 3630549"/>
              <a:gd name="connsiteX1" fmla="*/ 8196942 w 8196942"/>
              <a:gd name="connsiteY1" fmla="*/ 0 h 3630549"/>
              <a:gd name="connsiteX2" fmla="*/ 8196942 w 8196942"/>
              <a:gd name="connsiteY2" fmla="*/ 560778 h 3630549"/>
              <a:gd name="connsiteX3" fmla="*/ 8196942 w 8196942"/>
              <a:gd name="connsiteY3" fmla="*/ 816429 h 3630549"/>
              <a:gd name="connsiteX4" fmla="*/ 8196942 w 8196942"/>
              <a:gd name="connsiteY4" fmla="*/ 3630549 h 3630549"/>
              <a:gd name="connsiteX5" fmla="*/ 0 w 8196942"/>
              <a:gd name="connsiteY5" fmla="*/ 3630549 h 3630549"/>
              <a:gd name="connsiteX6" fmla="*/ 0 w 8196942"/>
              <a:gd name="connsiteY6" fmla="*/ 560778 h 3630549"/>
              <a:gd name="connsiteX7" fmla="*/ 6003471 w 8196942"/>
              <a:gd name="connsiteY7" fmla="*/ 560778 h 3630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96942" h="3630549">
                <a:moveTo>
                  <a:pt x="6003471" y="0"/>
                </a:moveTo>
                <a:lnTo>
                  <a:pt x="8196942" y="0"/>
                </a:lnTo>
                <a:lnTo>
                  <a:pt x="8196942" y="560778"/>
                </a:lnTo>
                <a:lnTo>
                  <a:pt x="8196942" y="816429"/>
                </a:lnTo>
                <a:lnTo>
                  <a:pt x="8196942" y="3630549"/>
                </a:lnTo>
                <a:lnTo>
                  <a:pt x="0" y="3630549"/>
                </a:lnTo>
                <a:lnTo>
                  <a:pt x="0" y="560778"/>
                </a:lnTo>
                <a:lnTo>
                  <a:pt x="6003471" y="560778"/>
                </a:lnTo>
                <a:close/>
              </a:path>
            </a:pathLst>
          </a:custGeom>
          <a:solidFill>
            <a:srgbClr val="AA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AA000B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7" name="任意多边形: 形状 66">
            <a:extLst>
              <a:ext uri="{FF2B5EF4-FFF2-40B4-BE49-F238E27FC236}">
                <a16:creationId xmlns:a16="http://schemas.microsoft.com/office/drawing/2014/main" id="{9B6E30B8-7076-44B7-B5C1-7AA385591766}"/>
              </a:ext>
            </a:extLst>
          </p:cNvPr>
          <p:cNvSpPr/>
          <p:nvPr/>
        </p:nvSpPr>
        <p:spPr>
          <a:xfrm>
            <a:off x="1997528" y="1333336"/>
            <a:ext cx="8196942" cy="3630549"/>
          </a:xfrm>
          <a:custGeom>
            <a:avLst/>
            <a:gdLst>
              <a:gd name="connsiteX0" fmla="*/ 6003471 w 8196942"/>
              <a:gd name="connsiteY0" fmla="*/ 0 h 3630549"/>
              <a:gd name="connsiteX1" fmla="*/ 8196942 w 8196942"/>
              <a:gd name="connsiteY1" fmla="*/ 0 h 3630549"/>
              <a:gd name="connsiteX2" fmla="*/ 8196942 w 8196942"/>
              <a:gd name="connsiteY2" fmla="*/ 560778 h 3630549"/>
              <a:gd name="connsiteX3" fmla="*/ 8196942 w 8196942"/>
              <a:gd name="connsiteY3" fmla="*/ 816429 h 3630549"/>
              <a:gd name="connsiteX4" fmla="*/ 8196942 w 8196942"/>
              <a:gd name="connsiteY4" fmla="*/ 3630549 h 3630549"/>
              <a:gd name="connsiteX5" fmla="*/ 0 w 8196942"/>
              <a:gd name="connsiteY5" fmla="*/ 3630549 h 3630549"/>
              <a:gd name="connsiteX6" fmla="*/ 0 w 8196942"/>
              <a:gd name="connsiteY6" fmla="*/ 560778 h 3630549"/>
              <a:gd name="connsiteX7" fmla="*/ 6003471 w 8196942"/>
              <a:gd name="connsiteY7" fmla="*/ 560778 h 3630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96942" h="3630549">
                <a:moveTo>
                  <a:pt x="6003471" y="0"/>
                </a:moveTo>
                <a:lnTo>
                  <a:pt x="8196942" y="0"/>
                </a:lnTo>
                <a:lnTo>
                  <a:pt x="8196942" y="560778"/>
                </a:lnTo>
                <a:lnTo>
                  <a:pt x="8196942" y="816429"/>
                </a:lnTo>
                <a:lnTo>
                  <a:pt x="8196942" y="3630549"/>
                </a:lnTo>
                <a:lnTo>
                  <a:pt x="0" y="3630549"/>
                </a:lnTo>
                <a:lnTo>
                  <a:pt x="0" y="560778"/>
                </a:lnTo>
                <a:lnTo>
                  <a:pt x="6003471" y="560778"/>
                </a:lnTo>
                <a:close/>
              </a:path>
            </a:pathLst>
          </a:custGeom>
          <a:solidFill>
            <a:srgbClr val="AA000B"/>
          </a:solidFill>
          <a:ln>
            <a:noFill/>
          </a:ln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AA000B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pic>
        <p:nvPicPr>
          <p:cNvPr id="70" name="图片 69">
            <a:extLst>
              <a:ext uri="{FF2B5EF4-FFF2-40B4-BE49-F238E27FC236}">
                <a16:creationId xmlns:a16="http://schemas.microsoft.com/office/drawing/2014/main" id="{C31ED9EA-3761-4E1E-AFE7-0FA870ACF73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257" b="48500"/>
          <a:stretch/>
        </p:blipFill>
        <p:spPr>
          <a:xfrm rot="1089086">
            <a:off x="-588109" y="839428"/>
            <a:ext cx="6064704" cy="2537728"/>
          </a:xfrm>
          <a:prstGeom prst="rect">
            <a:avLst/>
          </a:prstGeom>
          <a:effectLst>
            <a:outerShdw blurRad="241300" dist="25400" dir="2700000" algn="tl" rotWithShape="0">
              <a:prstClr val="black">
                <a:alpha val="30000"/>
              </a:prstClr>
            </a:outerShdw>
          </a:effectLst>
        </p:spPr>
      </p:pic>
      <p:sp>
        <p:nvSpPr>
          <p:cNvPr id="71" name="文本框 70">
            <a:extLst>
              <a:ext uri="{FF2B5EF4-FFF2-40B4-BE49-F238E27FC236}">
                <a16:creationId xmlns:a16="http://schemas.microsoft.com/office/drawing/2014/main" id="{FD0996DA-9824-47C9-91F5-F67B1D695A44}"/>
              </a:ext>
            </a:extLst>
          </p:cNvPr>
          <p:cNvSpPr txBox="1"/>
          <p:nvPr/>
        </p:nvSpPr>
        <p:spPr>
          <a:xfrm>
            <a:off x="3289628" y="2499169"/>
            <a:ext cx="826219" cy="1862048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perspectiveLeft">
                <a:rot lat="0" lon="600000" rev="0"/>
              </a:camera>
              <a:lightRig rig="threePt" dir="t"/>
            </a:scene3d>
            <a:sp3d extrusionH="57150" contourW="12700" prstMaterial="matte">
              <a:bevelT w="38100" h="38100"/>
              <a:contourClr>
                <a:srgbClr val="FEE979"/>
              </a:contourClr>
            </a:sp3d>
          </a:bodyPr>
          <a:lstStyle>
            <a:defPPr>
              <a:defRPr lang="zh-CN"/>
            </a:defPPr>
            <a:lvl1pPr algn="dist">
              <a:defRPr sz="8800" b="1">
                <a:solidFill>
                  <a:srgbClr val="FEE979"/>
                </a:solidFill>
                <a:effectLst>
                  <a:outerShdw blurRad="165100" dist="203200" dir="1800000" sx="101000" sy="101000" algn="ctr" rotWithShape="0">
                    <a:srgbClr val="000000">
                      <a:alpha val="52000"/>
                    </a:srgbClr>
                  </a:outerShdw>
                </a:effectLst>
                <a:latin typeface="汉仪尚巍手书W" panose="00020600040101010101" pitchFamily="18" charset="-122"/>
                <a:ea typeface="汉仪尚巍手书W" panose="00020600040101010101" pitchFamily="18" charset="-122"/>
              </a:defRPr>
            </a:lvl1pPr>
          </a:lstStyle>
          <a:p>
            <a:pPr marL="0" marR="0" lvl="0" indent="0" algn="di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500" b="1" i="0" u="none" strike="noStrike" kern="1200" cap="none" spc="0" normalizeH="0" baseline="0" noProof="0" dirty="0">
                <a:ln>
                  <a:noFill/>
                </a:ln>
                <a:solidFill>
                  <a:srgbClr val="FEE979"/>
                </a:solidFill>
                <a:effectLst>
                  <a:outerShdw blurRad="165100" dist="203200" dir="1800000" sx="101000" sy="101000" algn="ctr" rotWithShape="0">
                    <a:srgbClr val="000000">
                      <a:alpha val="52000"/>
                    </a:srgbClr>
                  </a:outerShdw>
                </a:effectLst>
                <a:uLnTx/>
                <a:uFillTx/>
                <a:ea typeface="汉仪尚巍手书W" panose="00020600040101010101" pitchFamily="18" charset="-122"/>
                <a:cs typeface="+mn-cs"/>
              </a:rPr>
              <a:t>壹</a:t>
            </a:r>
          </a:p>
        </p:txBody>
      </p:sp>
      <p:sp>
        <p:nvSpPr>
          <p:cNvPr id="72" name="文本框 71">
            <a:extLst>
              <a:ext uri="{FF2B5EF4-FFF2-40B4-BE49-F238E27FC236}">
                <a16:creationId xmlns:a16="http://schemas.microsoft.com/office/drawing/2014/main" id="{307D9931-D437-459B-B56E-4448787A71F4}"/>
              </a:ext>
            </a:extLst>
          </p:cNvPr>
          <p:cNvSpPr txBox="1"/>
          <p:nvPr/>
        </p:nvSpPr>
        <p:spPr>
          <a:xfrm>
            <a:off x="5072431" y="2748500"/>
            <a:ext cx="33770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EE979"/>
                </a:solidFill>
                <a:effectLst/>
                <a:uLnTx/>
                <a:uFillTx/>
                <a:latin typeface="经典粗宋简" panose="02010609000101010101" pitchFamily="49" charset="-122"/>
                <a:ea typeface="经典粗宋简" panose="02010609000101010101" pitchFamily="49" charset="-122"/>
                <a:cs typeface="经典粗宋简" panose="02010609000101010101" pitchFamily="49" charset="-122"/>
              </a:rPr>
              <a:t>跟着郑洞国一起</a:t>
            </a:r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D1275676-F7CD-4661-AFA4-9B045A6A1061}"/>
              </a:ext>
            </a:extLst>
          </p:cNvPr>
          <p:cNvSpPr txBox="1"/>
          <p:nvPr/>
        </p:nvSpPr>
        <p:spPr>
          <a:xfrm>
            <a:off x="5017094" y="3268224"/>
            <a:ext cx="44042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FEE979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经典粗宋简" panose="02010609000101010101" pitchFamily="49" charset="-122"/>
              </a:rPr>
              <a:t>再忆抗战往事</a:t>
            </a:r>
          </a:p>
        </p:txBody>
      </p:sp>
      <p:cxnSp>
        <p:nvCxnSpPr>
          <p:cNvPr id="76" name="直接连接符 75">
            <a:extLst>
              <a:ext uri="{FF2B5EF4-FFF2-40B4-BE49-F238E27FC236}">
                <a16:creationId xmlns:a16="http://schemas.microsoft.com/office/drawing/2014/main" id="{6468E4D8-2016-4E32-8329-F5F1242A911A}"/>
              </a:ext>
            </a:extLst>
          </p:cNvPr>
          <p:cNvCxnSpPr>
            <a:cxnSpLocks/>
          </p:cNvCxnSpPr>
          <p:nvPr/>
        </p:nvCxnSpPr>
        <p:spPr>
          <a:xfrm>
            <a:off x="5121317" y="3201096"/>
            <a:ext cx="2679658" cy="0"/>
          </a:xfrm>
          <a:prstGeom prst="line">
            <a:avLst/>
          </a:prstGeom>
          <a:ln>
            <a:solidFill>
              <a:srgbClr val="FEE9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文本框 77">
            <a:extLst>
              <a:ext uri="{FF2B5EF4-FFF2-40B4-BE49-F238E27FC236}">
                <a16:creationId xmlns:a16="http://schemas.microsoft.com/office/drawing/2014/main" id="{396F053D-E7D2-403D-87E7-847A6DCF56C6}"/>
              </a:ext>
            </a:extLst>
          </p:cNvPr>
          <p:cNvSpPr txBox="1"/>
          <p:nvPr/>
        </p:nvSpPr>
        <p:spPr>
          <a:xfrm>
            <a:off x="8224298" y="1398792"/>
            <a:ext cx="1844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FEE979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经典粗宋简" panose="02010609000101010101" pitchFamily="49" charset="-122"/>
              </a:rPr>
              <a:t>PART ONE</a:t>
            </a:r>
          </a:p>
        </p:txBody>
      </p:sp>
      <p:cxnSp>
        <p:nvCxnSpPr>
          <p:cNvPr id="80" name="直接连接符 79">
            <a:extLst>
              <a:ext uri="{FF2B5EF4-FFF2-40B4-BE49-F238E27FC236}">
                <a16:creationId xmlns:a16="http://schemas.microsoft.com/office/drawing/2014/main" id="{53F097C5-5600-48F4-959F-12B31798D024}"/>
              </a:ext>
            </a:extLst>
          </p:cNvPr>
          <p:cNvCxnSpPr>
            <a:cxnSpLocks/>
            <a:stCxn id="67" idx="7"/>
            <a:endCxn id="67" idx="2"/>
          </p:cNvCxnSpPr>
          <p:nvPr/>
        </p:nvCxnSpPr>
        <p:spPr>
          <a:xfrm>
            <a:off x="8000999" y="1894114"/>
            <a:ext cx="2193471" cy="0"/>
          </a:xfrm>
          <a:prstGeom prst="line">
            <a:avLst/>
          </a:prstGeom>
          <a:ln w="9525">
            <a:solidFill>
              <a:srgbClr val="86000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2553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Click="0" advTm="0">
        <p:blinds/>
      </p:transition>
    </mc:Choice>
    <mc:Fallback xmlns="">
      <p:transition spd="slow" advClick="0" advTm="0">
        <p:blinds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椭圆 3">
            <a:extLst>
              <a:ext uri="{FF2B5EF4-FFF2-40B4-BE49-F238E27FC236}">
                <a16:creationId xmlns:a16="http://schemas.microsoft.com/office/drawing/2014/main" id="{007B862E-D210-ABD9-B3C2-1F3D820CD325}"/>
              </a:ext>
            </a:extLst>
          </p:cNvPr>
          <p:cNvSpPr/>
          <p:nvPr/>
        </p:nvSpPr>
        <p:spPr>
          <a:xfrm>
            <a:off x="-3218768" y="-348005"/>
            <a:ext cx="7821961" cy="7540274"/>
          </a:xfrm>
          <a:prstGeom prst="ellipse">
            <a:avLst/>
          </a:prstGeom>
          <a:blipFill dpi="0" rotWithShape="1">
            <a:blip r:embed="rId3">
              <a:alphaModFix amt="31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76200">
            <a:solidFill>
              <a:schemeClr val="tx1">
                <a:lumMod val="50000"/>
                <a:lumOff val="50000"/>
              </a:schemeClr>
            </a:solidFill>
          </a:ln>
          <a:scene3d>
            <a:camera prst="orthographicFront">
              <a:rot lat="0" lon="10499978" rev="0"/>
            </a:camera>
            <a:lightRig rig="threePt" dir="t"/>
          </a:scene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317B9ACB-4AFD-2B88-C708-13FE3A752DB5}"/>
              </a:ext>
            </a:extLst>
          </p:cNvPr>
          <p:cNvGrpSpPr/>
          <p:nvPr/>
        </p:nvGrpSpPr>
        <p:grpSpPr>
          <a:xfrm>
            <a:off x="-35424" y="652701"/>
            <a:ext cx="3747631" cy="646330"/>
            <a:chOff x="149666" y="318499"/>
            <a:chExt cx="3795609" cy="421401"/>
          </a:xfrm>
        </p:grpSpPr>
        <p:sp>
          <p:nvSpPr>
            <p:cNvPr id="22" name="椭圆 21">
              <a:extLst>
                <a:ext uri="{FF2B5EF4-FFF2-40B4-BE49-F238E27FC236}">
                  <a16:creationId xmlns:a16="http://schemas.microsoft.com/office/drawing/2014/main" id="{CE2AC54C-BFB9-48DB-DCE7-D78F04DD3D8D}"/>
                </a:ext>
              </a:extLst>
            </p:cNvPr>
            <p:cNvSpPr/>
            <p:nvPr/>
          </p:nvSpPr>
          <p:spPr>
            <a:xfrm>
              <a:off x="3657598" y="318499"/>
              <a:ext cx="143838" cy="118045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C29E8AE6-16B5-1121-A3B8-7F4F7408296C}"/>
                </a:ext>
              </a:extLst>
            </p:cNvPr>
            <p:cNvSpPr txBox="1"/>
            <p:nvPr/>
          </p:nvSpPr>
          <p:spPr>
            <a:xfrm>
              <a:off x="149666" y="318499"/>
              <a:ext cx="2926450" cy="4214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zh-CN" altLang="en-US" b="1" i="0" dirty="0">
                  <a:solidFill>
                    <a:srgbClr val="404040"/>
                  </a:solidFill>
                  <a:effectLst/>
                  <a:latin typeface="黑体" panose="02010609060101010101" pitchFamily="49" charset="-122"/>
                  <a:ea typeface="黑体" panose="02010609060101010101" pitchFamily="49" charset="-122"/>
                </a:rPr>
                <a:t>九一八事变后，驻防热河，亲历东北军溃败</a:t>
              </a:r>
            </a:p>
          </p:txBody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69655DC2-933A-05ED-57A0-8C79A05665F6}"/>
                </a:ext>
              </a:extLst>
            </p:cNvPr>
            <p:cNvSpPr txBox="1"/>
            <p:nvPr/>
          </p:nvSpPr>
          <p:spPr>
            <a:xfrm>
              <a:off x="2731121" y="377272"/>
              <a:ext cx="1214154" cy="2408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b="1" dirty="0">
                  <a:solidFill>
                    <a:srgbClr val="40404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1931</a:t>
              </a:r>
              <a:r>
                <a:rPr lang="zh-CN" altLang="en-US" b="1" dirty="0">
                  <a:solidFill>
                    <a:srgbClr val="40404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年</a:t>
              </a:r>
              <a:endParaRPr lang="zh-CN" altLang="en-US" b="1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0676D789-E17B-C2A3-6267-2C4B948CDB55}"/>
              </a:ext>
            </a:extLst>
          </p:cNvPr>
          <p:cNvGrpSpPr/>
          <p:nvPr/>
        </p:nvGrpSpPr>
        <p:grpSpPr>
          <a:xfrm>
            <a:off x="30958" y="1389597"/>
            <a:ext cx="4280524" cy="646331"/>
            <a:chOff x="525075" y="290703"/>
            <a:chExt cx="3415064" cy="646331"/>
          </a:xfrm>
        </p:grpSpPr>
        <p:sp>
          <p:nvSpPr>
            <p:cNvPr id="26" name="椭圆 25">
              <a:extLst>
                <a:ext uri="{FF2B5EF4-FFF2-40B4-BE49-F238E27FC236}">
                  <a16:creationId xmlns:a16="http://schemas.microsoft.com/office/drawing/2014/main" id="{A2ED66C5-6E95-C004-968D-0A76E1868D30}"/>
                </a:ext>
              </a:extLst>
            </p:cNvPr>
            <p:cNvSpPr/>
            <p:nvPr/>
          </p:nvSpPr>
          <p:spPr>
            <a:xfrm>
              <a:off x="3657599" y="318499"/>
              <a:ext cx="143839" cy="133564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6F446FD2-4AEE-8D10-005E-E9863A87F166}"/>
                </a:ext>
              </a:extLst>
            </p:cNvPr>
            <p:cNvSpPr txBox="1"/>
            <p:nvPr/>
          </p:nvSpPr>
          <p:spPr>
            <a:xfrm>
              <a:off x="525075" y="290703"/>
              <a:ext cx="2683578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zh-CN" altLang="en-US" b="1" i="0" dirty="0">
                  <a:solidFill>
                    <a:srgbClr val="404040"/>
                  </a:solidFill>
                  <a:effectLst/>
                  <a:latin typeface="黑体" panose="02010609060101010101" pitchFamily="49" charset="-122"/>
                  <a:ea typeface="黑体" panose="02010609060101010101" pitchFamily="49" charset="-122"/>
                </a:rPr>
                <a:t>长城抗战，率部在古北口与日军激战，因孤立无援被迫撤退。</a:t>
              </a: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74CDC3F7-EB88-F6EB-7591-53999B8429C5}"/>
                </a:ext>
              </a:extLst>
            </p:cNvPr>
            <p:cNvSpPr txBox="1"/>
            <p:nvPr/>
          </p:nvSpPr>
          <p:spPr>
            <a:xfrm>
              <a:off x="2974369" y="323367"/>
              <a:ext cx="96577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b="1" dirty="0">
                  <a:solidFill>
                    <a:srgbClr val="40404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1933</a:t>
              </a:r>
              <a:r>
                <a:rPr lang="zh-CN" altLang="en-US" b="1" dirty="0">
                  <a:solidFill>
                    <a:srgbClr val="40404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年</a:t>
              </a:r>
              <a:endParaRPr lang="zh-CN" altLang="en-US" b="1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CF76CD51-42F1-65C5-CCC5-FB7311DDB7AE}"/>
              </a:ext>
            </a:extLst>
          </p:cNvPr>
          <p:cNvGrpSpPr/>
          <p:nvPr/>
        </p:nvGrpSpPr>
        <p:grpSpPr>
          <a:xfrm>
            <a:off x="-808546" y="2608002"/>
            <a:ext cx="5613528" cy="400632"/>
            <a:chOff x="-182139" y="287199"/>
            <a:chExt cx="4061864" cy="400632"/>
          </a:xfrm>
        </p:grpSpPr>
        <p:sp>
          <p:nvSpPr>
            <p:cNvPr id="30" name="椭圆 29">
              <a:extLst>
                <a:ext uri="{FF2B5EF4-FFF2-40B4-BE49-F238E27FC236}">
                  <a16:creationId xmlns:a16="http://schemas.microsoft.com/office/drawing/2014/main" id="{CBEE969E-D278-C0D1-8BC6-C06448D23ABB}"/>
                </a:ext>
              </a:extLst>
            </p:cNvPr>
            <p:cNvSpPr/>
            <p:nvPr/>
          </p:nvSpPr>
          <p:spPr>
            <a:xfrm>
              <a:off x="3619532" y="408816"/>
              <a:ext cx="143839" cy="133564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E5D7AEC9-D708-2829-E5D2-CEA640EDF0E3}"/>
                </a:ext>
              </a:extLst>
            </p:cNvPr>
            <p:cNvSpPr txBox="1"/>
            <p:nvPr/>
          </p:nvSpPr>
          <p:spPr>
            <a:xfrm>
              <a:off x="-182139" y="318499"/>
              <a:ext cx="343904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zh-CN" altLang="en-US" b="1" i="0" dirty="0">
                  <a:solidFill>
                    <a:srgbClr val="404040"/>
                  </a:solidFill>
                  <a:effectLst/>
                  <a:latin typeface="黑体" panose="02010609060101010101" pitchFamily="49" charset="-122"/>
                  <a:ea typeface="黑体" panose="02010609060101010101" pitchFamily="49" charset="-122"/>
                </a:rPr>
                <a:t>            保定会战，率部死守保定南口</a:t>
              </a: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A894FBF2-5BF1-0010-342C-D97909FE09F2}"/>
                </a:ext>
              </a:extLst>
            </p:cNvPr>
            <p:cNvSpPr txBox="1"/>
            <p:nvPr/>
          </p:nvSpPr>
          <p:spPr>
            <a:xfrm>
              <a:off x="2913955" y="287199"/>
              <a:ext cx="96577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b="1" dirty="0">
                  <a:solidFill>
                    <a:srgbClr val="40404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1937</a:t>
              </a:r>
              <a:r>
                <a:rPr lang="zh-CN" altLang="en-US" b="1" dirty="0">
                  <a:solidFill>
                    <a:srgbClr val="40404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年</a:t>
              </a:r>
              <a:endParaRPr lang="zh-CN" altLang="en-US" b="1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7C3D68DB-1356-33D0-EC1C-FCEBF52EBF3F}"/>
              </a:ext>
            </a:extLst>
          </p:cNvPr>
          <p:cNvGrpSpPr/>
          <p:nvPr/>
        </p:nvGrpSpPr>
        <p:grpSpPr>
          <a:xfrm>
            <a:off x="68203" y="3369736"/>
            <a:ext cx="4820272" cy="646331"/>
            <a:chOff x="116214" y="318499"/>
            <a:chExt cx="3823925" cy="646331"/>
          </a:xfrm>
        </p:grpSpPr>
        <p:sp>
          <p:nvSpPr>
            <p:cNvPr id="34" name="椭圆 33">
              <a:extLst>
                <a:ext uri="{FF2B5EF4-FFF2-40B4-BE49-F238E27FC236}">
                  <a16:creationId xmlns:a16="http://schemas.microsoft.com/office/drawing/2014/main" id="{8A494739-40D8-4C96-F5C8-41CC2C9D71E5}"/>
                </a:ext>
              </a:extLst>
            </p:cNvPr>
            <p:cNvSpPr/>
            <p:nvPr/>
          </p:nvSpPr>
          <p:spPr>
            <a:xfrm>
              <a:off x="3657599" y="318499"/>
              <a:ext cx="143839" cy="133564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5FACA973-131D-B1FB-352F-4B407C4198B8}"/>
                </a:ext>
              </a:extLst>
            </p:cNvPr>
            <p:cNvSpPr txBox="1"/>
            <p:nvPr/>
          </p:nvSpPr>
          <p:spPr>
            <a:xfrm>
              <a:off x="116214" y="318499"/>
              <a:ext cx="317838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zh-CN" altLang="en-US" b="1" dirty="0">
                  <a:solidFill>
                    <a:srgbClr val="40404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参加</a:t>
              </a:r>
              <a:r>
                <a:rPr lang="zh-CN" altLang="en-US" b="1" i="0" dirty="0">
                  <a:solidFill>
                    <a:srgbClr val="404040"/>
                  </a:solidFill>
                  <a:effectLst/>
                  <a:latin typeface="黑体" panose="02010609060101010101" pitchFamily="49" charset="-122"/>
                  <a:ea typeface="黑体" panose="02010609060101010101" pitchFamily="49" charset="-122"/>
                </a:rPr>
                <a:t>台儿庄战役，驰援徐州战场，为台儿庄大捷争取时间。</a:t>
              </a:r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A9A6BB76-48B9-66B2-3F40-DF6F3E404FE6}"/>
                </a:ext>
              </a:extLst>
            </p:cNvPr>
            <p:cNvSpPr txBox="1"/>
            <p:nvPr/>
          </p:nvSpPr>
          <p:spPr>
            <a:xfrm>
              <a:off x="2974369" y="323367"/>
              <a:ext cx="96577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b="1" dirty="0">
                  <a:solidFill>
                    <a:srgbClr val="40404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1938</a:t>
              </a:r>
              <a:r>
                <a:rPr lang="zh-CN" altLang="en-US" b="1" dirty="0">
                  <a:solidFill>
                    <a:srgbClr val="40404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年</a:t>
              </a:r>
              <a:endParaRPr lang="zh-CN" altLang="en-US" b="1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19BA123F-A277-AE64-162D-CBCCE731F405}"/>
              </a:ext>
            </a:extLst>
          </p:cNvPr>
          <p:cNvGrpSpPr/>
          <p:nvPr/>
        </p:nvGrpSpPr>
        <p:grpSpPr>
          <a:xfrm>
            <a:off x="68202" y="4317394"/>
            <a:ext cx="4509482" cy="673328"/>
            <a:chOff x="-182139" y="291502"/>
            <a:chExt cx="4001639" cy="673328"/>
          </a:xfrm>
        </p:grpSpPr>
        <p:sp>
          <p:nvSpPr>
            <p:cNvPr id="38" name="椭圆 37">
              <a:extLst>
                <a:ext uri="{FF2B5EF4-FFF2-40B4-BE49-F238E27FC236}">
                  <a16:creationId xmlns:a16="http://schemas.microsoft.com/office/drawing/2014/main" id="{C031DFBC-96CB-4461-1B97-59B9639437D5}"/>
                </a:ext>
              </a:extLst>
            </p:cNvPr>
            <p:cNvSpPr/>
            <p:nvPr/>
          </p:nvSpPr>
          <p:spPr>
            <a:xfrm>
              <a:off x="3657599" y="318499"/>
              <a:ext cx="143839" cy="133564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CC35D490-075B-B534-E232-2345BF72F569}"/>
                </a:ext>
              </a:extLst>
            </p:cNvPr>
            <p:cNvSpPr txBox="1"/>
            <p:nvPr/>
          </p:nvSpPr>
          <p:spPr>
            <a:xfrm>
              <a:off x="-182139" y="318499"/>
              <a:ext cx="3233629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zh-CN" altLang="en-US" b="1" dirty="0">
                  <a:solidFill>
                    <a:srgbClr val="40404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昆仑关战役，击毙日军旅团长中村正雄</a:t>
              </a:r>
              <a:endParaRPr lang="zh-CN" altLang="en-US" b="1" i="0" dirty="0">
                <a:solidFill>
                  <a:srgbClr val="404040"/>
                </a:solidFill>
                <a:effectLst/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0008A4B6-B354-F28D-AF0E-2BE528395B35}"/>
                </a:ext>
              </a:extLst>
            </p:cNvPr>
            <p:cNvSpPr txBox="1"/>
            <p:nvPr/>
          </p:nvSpPr>
          <p:spPr>
            <a:xfrm>
              <a:off x="2853730" y="291502"/>
              <a:ext cx="96577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b="1" dirty="0">
                  <a:solidFill>
                    <a:srgbClr val="40404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1939</a:t>
              </a:r>
              <a:r>
                <a:rPr lang="zh-CN" altLang="en-US" b="1" dirty="0">
                  <a:solidFill>
                    <a:srgbClr val="40404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年</a:t>
              </a:r>
              <a:endParaRPr lang="zh-CN" altLang="en-US" b="1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  <p:grpSp>
        <p:nvGrpSpPr>
          <p:cNvPr id="41" name="组合 40">
            <a:extLst>
              <a:ext uri="{FF2B5EF4-FFF2-40B4-BE49-F238E27FC236}">
                <a16:creationId xmlns:a16="http://schemas.microsoft.com/office/drawing/2014/main" id="{7DCE131B-9C81-0BBA-BC2C-257700ACA98C}"/>
              </a:ext>
            </a:extLst>
          </p:cNvPr>
          <p:cNvGrpSpPr/>
          <p:nvPr/>
        </p:nvGrpSpPr>
        <p:grpSpPr>
          <a:xfrm>
            <a:off x="-1193853" y="5027106"/>
            <a:ext cx="5577820" cy="407146"/>
            <a:chOff x="-182139" y="280685"/>
            <a:chExt cx="4036026" cy="407146"/>
          </a:xfrm>
        </p:grpSpPr>
        <p:sp>
          <p:nvSpPr>
            <p:cNvPr id="42" name="椭圆 41">
              <a:extLst>
                <a:ext uri="{FF2B5EF4-FFF2-40B4-BE49-F238E27FC236}">
                  <a16:creationId xmlns:a16="http://schemas.microsoft.com/office/drawing/2014/main" id="{DDF05441-C3FB-3C6E-3E21-B078DD557609}"/>
                </a:ext>
              </a:extLst>
            </p:cNvPr>
            <p:cNvSpPr/>
            <p:nvPr/>
          </p:nvSpPr>
          <p:spPr>
            <a:xfrm>
              <a:off x="3657599" y="318499"/>
              <a:ext cx="143839" cy="133564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43" name="文本框 42">
              <a:extLst>
                <a:ext uri="{FF2B5EF4-FFF2-40B4-BE49-F238E27FC236}">
                  <a16:creationId xmlns:a16="http://schemas.microsoft.com/office/drawing/2014/main" id="{C8853707-E9FD-7831-D024-D17D31C7E682}"/>
                </a:ext>
              </a:extLst>
            </p:cNvPr>
            <p:cNvSpPr txBox="1"/>
            <p:nvPr/>
          </p:nvSpPr>
          <p:spPr>
            <a:xfrm>
              <a:off x="-182139" y="318499"/>
              <a:ext cx="343904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zh-CN" altLang="en-US" b="1" dirty="0">
                  <a:solidFill>
                    <a:srgbClr val="40404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                    第一次入缅作战</a:t>
              </a:r>
              <a:endParaRPr lang="zh-CN" altLang="en-US" b="1" i="0" dirty="0">
                <a:solidFill>
                  <a:srgbClr val="404040"/>
                </a:solidFill>
                <a:effectLst/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56F6E551-EA5B-E5A3-671A-529253C28143}"/>
                </a:ext>
              </a:extLst>
            </p:cNvPr>
            <p:cNvSpPr txBox="1"/>
            <p:nvPr/>
          </p:nvSpPr>
          <p:spPr>
            <a:xfrm>
              <a:off x="2888117" y="280685"/>
              <a:ext cx="96577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b="1" dirty="0">
                  <a:solidFill>
                    <a:srgbClr val="40404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1942</a:t>
              </a:r>
              <a:r>
                <a:rPr lang="zh-CN" altLang="en-US" b="1" dirty="0">
                  <a:solidFill>
                    <a:srgbClr val="40404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年</a:t>
              </a:r>
              <a:endParaRPr lang="zh-CN" altLang="en-US" b="1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3D7852DC-6A8B-42D1-72D8-3B66E839DEB9}"/>
              </a:ext>
            </a:extLst>
          </p:cNvPr>
          <p:cNvGrpSpPr/>
          <p:nvPr/>
        </p:nvGrpSpPr>
        <p:grpSpPr>
          <a:xfrm>
            <a:off x="-120074" y="5724241"/>
            <a:ext cx="3791141" cy="410867"/>
            <a:chOff x="-117293" y="340083"/>
            <a:chExt cx="3977232" cy="410867"/>
          </a:xfrm>
        </p:grpSpPr>
        <p:sp>
          <p:nvSpPr>
            <p:cNvPr id="46" name="椭圆 45">
              <a:extLst>
                <a:ext uri="{FF2B5EF4-FFF2-40B4-BE49-F238E27FC236}">
                  <a16:creationId xmlns:a16="http://schemas.microsoft.com/office/drawing/2014/main" id="{E698D0B7-54CA-AE5B-9E9B-E7AB9C52EB17}"/>
                </a:ext>
              </a:extLst>
            </p:cNvPr>
            <p:cNvSpPr/>
            <p:nvPr/>
          </p:nvSpPr>
          <p:spPr>
            <a:xfrm>
              <a:off x="3716100" y="497494"/>
              <a:ext cx="143839" cy="133564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47" name="文本框 46">
              <a:extLst>
                <a:ext uri="{FF2B5EF4-FFF2-40B4-BE49-F238E27FC236}">
                  <a16:creationId xmlns:a16="http://schemas.microsoft.com/office/drawing/2014/main" id="{819BA828-853B-01F7-0669-F33707773E82}"/>
                </a:ext>
              </a:extLst>
            </p:cNvPr>
            <p:cNvSpPr txBox="1"/>
            <p:nvPr/>
          </p:nvSpPr>
          <p:spPr>
            <a:xfrm>
              <a:off x="-117293" y="340083"/>
              <a:ext cx="328106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zh-CN" altLang="en-US" b="1" dirty="0">
                  <a:solidFill>
                    <a:srgbClr val="40404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 缅北反攻，打通中印公路</a:t>
              </a:r>
              <a:endParaRPr lang="zh-CN" altLang="en-US" b="1" i="0" dirty="0">
                <a:solidFill>
                  <a:srgbClr val="404040"/>
                </a:solidFill>
                <a:effectLst/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48" name="文本框 47">
              <a:extLst>
                <a:ext uri="{FF2B5EF4-FFF2-40B4-BE49-F238E27FC236}">
                  <a16:creationId xmlns:a16="http://schemas.microsoft.com/office/drawing/2014/main" id="{0D16383C-20B9-6D04-B189-14CCC0C3B055}"/>
                </a:ext>
              </a:extLst>
            </p:cNvPr>
            <p:cNvSpPr txBox="1"/>
            <p:nvPr/>
          </p:nvSpPr>
          <p:spPr>
            <a:xfrm>
              <a:off x="2738220" y="381618"/>
              <a:ext cx="100522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b="1" dirty="0">
                  <a:solidFill>
                    <a:srgbClr val="40404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1945</a:t>
              </a:r>
              <a:r>
                <a:rPr lang="zh-CN" altLang="en-US" b="1" dirty="0">
                  <a:solidFill>
                    <a:srgbClr val="40404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年</a:t>
              </a:r>
              <a:endParaRPr lang="zh-CN" altLang="en-US" b="1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1B9A3BED-D290-D0CF-8973-DC462DC2A225}"/>
              </a:ext>
            </a:extLst>
          </p:cNvPr>
          <p:cNvSpPr/>
          <p:nvPr/>
        </p:nvSpPr>
        <p:spPr>
          <a:xfrm>
            <a:off x="2437813" y="-36576"/>
            <a:ext cx="9854971" cy="6941780"/>
          </a:xfrm>
          <a:custGeom>
            <a:avLst/>
            <a:gdLst>
              <a:gd name="connsiteX0" fmla="*/ 0 w 9762836"/>
              <a:gd name="connsiteY0" fmla="*/ 0 h 6858000"/>
              <a:gd name="connsiteX1" fmla="*/ 9762836 w 9762836"/>
              <a:gd name="connsiteY1" fmla="*/ 0 h 6858000"/>
              <a:gd name="connsiteX2" fmla="*/ 9762836 w 9762836"/>
              <a:gd name="connsiteY2" fmla="*/ 6858000 h 6858000"/>
              <a:gd name="connsiteX3" fmla="*/ 0 w 9762836"/>
              <a:gd name="connsiteY3" fmla="*/ 6858000 h 6858000"/>
              <a:gd name="connsiteX4" fmla="*/ 0 w 9762836"/>
              <a:gd name="connsiteY4" fmla="*/ 6790881 h 6858000"/>
              <a:gd name="connsiteX5" fmla="*/ 95888 w 9762836"/>
              <a:gd name="connsiteY5" fmla="*/ 6744102 h 6858000"/>
              <a:gd name="connsiteX6" fmla="*/ 2167332 w 9762836"/>
              <a:gd name="connsiteY6" fmla="*/ 3429000 h 6858000"/>
              <a:gd name="connsiteX7" fmla="*/ 95888 w 9762836"/>
              <a:gd name="connsiteY7" fmla="*/ 113898 h 6858000"/>
              <a:gd name="connsiteX8" fmla="*/ 0 w 9762836"/>
              <a:gd name="connsiteY8" fmla="*/ 67119 h 6858000"/>
              <a:gd name="connsiteX9" fmla="*/ 0 w 9762836"/>
              <a:gd name="connsiteY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762836" h="6858000">
                <a:moveTo>
                  <a:pt x="0" y="0"/>
                </a:moveTo>
                <a:lnTo>
                  <a:pt x="9762836" y="0"/>
                </a:lnTo>
                <a:lnTo>
                  <a:pt x="9762836" y="6858000"/>
                </a:lnTo>
                <a:lnTo>
                  <a:pt x="0" y="6858000"/>
                </a:lnTo>
                <a:lnTo>
                  <a:pt x="0" y="6790881"/>
                </a:lnTo>
                <a:lnTo>
                  <a:pt x="95888" y="6744102"/>
                </a:lnTo>
                <a:cubicBezTo>
                  <a:pt x="1329733" y="6105670"/>
                  <a:pt x="2167332" y="4860505"/>
                  <a:pt x="2167332" y="3429000"/>
                </a:cubicBezTo>
                <a:cubicBezTo>
                  <a:pt x="2167332" y="1997495"/>
                  <a:pt x="1329733" y="752331"/>
                  <a:pt x="95888" y="113898"/>
                </a:cubicBezTo>
                <a:lnTo>
                  <a:pt x="0" y="67119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21EBE4CC-72B8-4612-CF75-DA61390F81B2}"/>
              </a:ext>
            </a:extLst>
          </p:cNvPr>
          <p:cNvSpPr txBox="1"/>
          <p:nvPr/>
        </p:nvSpPr>
        <p:spPr>
          <a:xfrm>
            <a:off x="530962" y="80102"/>
            <a:ext cx="18187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>
                <a:latin typeface="黑体" panose="02010609060101010101" pitchFamily="49" charset="-122"/>
                <a:ea typeface="黑体" panose="02010609060101010101" pitchFamily="49" charset="-122"/>
              </a:rPr>
              <a:t>我的抗战</a:t>
            </a:r>
          </a:p>
        </p:txBody>
      </p:sp>
      <p:grpSp>
        <p:nvGrpSpPr>
          <p:cNvPr id="90" name="组合 89">
            <a:extLst>
              <a:ext uri="{FF2B5EF4-FFF2-40B4-BE49-F238E27FC236}">
                <a16:creationId xmlns:a16="http://schemas.microsoft.com/office/drawing/2014/main" id="{972053E2-018F-1159-F41F-7958DDE538EA}"/>
              </a:ext>
            </a:extLst>
          </p:cNvPr>
          <p:cNvGrpSpPr/>
          <p:nvPr/>
        </p:nvGrpSpPr>
        <p:grpSpPr>
          <a:xfrm>
            <a:off x="3625298" y="722892"/>
            <a:ext cx="8566702" cy="110097"/>
            <a:chOff x="3625298" y="722892"/>
            <a:chExt cx="8566702" cy="110097"/>
          </a:xfrm>
        </p:grpSpPr>
        <p:cxnSp>
          <p:nvCxnSpPr>
            <p:cNvPr id="88" name="直接连接符 87">
              <a:extLst>
                <a:ext uri="{FF2B5EF4-FFF2-40B4-BE49-F238E27FC236}">
                  <a16:creationId xmlns:a16="http://schemas.microsoft.com/office/drawing/2014/main" id="{59BF7C5A-1E69-7FEB-D5CA-A1B9E9A10995}"/>
                </a:ext>
              </a:extLst>
            </p:cNvPr>
            <p:cNvCxnSpPr/>
            <p:nvPr/>
          </p:nvCxnSpPr>
          <p:spPr>
            <a:xfrm flipV="1">
              <a:off x="3625298" y="722892"/>
              <a:ext cx="8566702" cy="19953"/>
            </a:xfrm>
            <a:prstGeom prst="line">
              <a:avLst/>
            </a:prstGeom>
            <a:ln w="28575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直接连接符 88">
              <a:extLst>
                <a:ext uri="{FF2B5EF4-FFF2-40B4-BE49-F238E27FC236}">
                  <a16:creationId xmlns:a16="http://schemas.microsoft.com/office/drawing/2014/main" id="{02600562-D23E-B772-A525-D36137988DC1}"/>
                </a:ext>
              </a:extLst>
            </p:cNvPr>
            <p:cNvCxnSpPr/>
            <p:nvPr/>
          </p:nvCxnSpPr>
          <p:spPr>
            <a:xfrm flipV="1">
              <a:off x="3625298" y="813036"/>
              <a:ext cx="8566702" cy="19953"/>
            </a:xfrm>
            <a:prstGeom prst="line">
              <a:avLst/>
            </a:prstGeom>
            <a:ln w="28575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1" name="组合 110">
            <a:extLst>
              <a:ext uri="{FF2B5EF4-FFF2-40B4-BE49-F238E27FC236}">
                <a16:creationId xmlns:a16="http://schemas.microsoft.com/office/drawing/2014/main" id="{50A0A61E-557C-95F2-CB13-1E84CCBA94D3}"/>
              </a:ext>
            </a:extLst>
          </p:cNvPr>
          <p:cNvGrpSpPr/>
          <p:nvPr/>
        </p:nvGrpSpPr>
        <p:grpSpPr>
          <a:xfrm>
            <a:off x="3671067" y="5905119"/>
            <a:ext cx="8566702" cy="110097"/>
            <a:chOff x="3671067" y="5905119"/>
            <a:chExt cx="8566702" cy="110097"/>
          </a:xfrm>
        </p:grpSpPr>
        <p:cxnSp>
          <p:nvCxnSpPr>
            <p:cNvPr id="106" name="直接连接符 105">
              <a:extLst>
                <a:ext uri="{FF2B5EF4-FFF2-40B4-BE49-F238E27FC236}">
                  <a16:creationId xmlns:a16="http://schemas.microsoft.com/office/drawing/2014/main" id="{0F5592EA-D54D-ED59-76A3-D70CC66A9D22}"/>
                </a:ext>
              </a:extLst>
            </p:cNvPr>
            <p:cNvCxnSpPr/>
            <p:nvPr/>
          </p:nvCxnSpPr>
          <p:spPr>
            <a:xfrm flipV="1">
              <a:off x="3671067" y="5905119"/>
              <a:ext cx="8566702" cy="19953"/>
            </a:xfrm>
            <a:prstGeom prst="line">
              <a:avLst/>
            </a:prstGeom>
            <a:ln w="28575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直接连接符 106">
              <a:extLst>
                <a:ext uri="{FF2B5EF4-FFF2-40B4-BE49-F238E27FC236}">
                  <a16:creationId xmlns:a16="http://schemas.microsoft.com/office/drawing/2014/main" id="{11D7BB66-402B-1D45-C8E6-577163E20351}"/>
                </a:ext>
              </a:extLst>
            </p:cNvPr>
            <p:cNvCxnSpPr/>
            <p:nvPr/>
          </p:nvCxnSpPr>
          <p:spPr>
            <a:xfrm flipV="1">
              <a:off x="3671067" y="5995263"/>
              <a:ext cx="8566702" cy="19953"/>
            </a:xfrm>
            <a:prstGeom prst="line">
              <a:avLst/>
            </a:prstGeom>
            <a:ln w="28575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8" name="文本框 107">
            <a:extLst>
              <a:ext uri="{FF2B5EF4-FFF2-40B4-BE49-F238E27FC236}">
                <a16:creationId xmlns:a16="http://schemas.microsoft.com/office/drawing/2014/main" id="{6B9BF777-1E87-87AE-A9BB-AEA2B106FC25}"/>
              </a:ext>
            </a:extLst>
          </p:cNvPr>
          <p:cNvSpPr txBox="1"/>
          <p:nvPr/>
        </p:nvSpPr>
        <p:spPr>
          <a:xfrm>
            <a:off x="6816545" y="55815"/>
            <a:ext cx="25522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全民族的抗战</a:t>
            </a:r>
          </a:p>
        </p:txBody>
      </p:sp>
      <p:cxnSp>
        <p:nvCxnSpPr>
          <p:cNvPr id="109" name="直接连接符 108">
            <a:extLst>
              <a:ext uri="{FF2B5EF4-FFF2-40B4-BE49-F238E27FC236}">
                <a16:creationId xmlns:a16="http://schemas.microsoft.com/office/drawing/2014/main" id="{5E8C7741-3D22-B1AB-3198-313EB2C390CA}"/>
              </a:ext>
            </a:extLst>
          </p:cNvPr>
          <p:cNvCxnSpPr>
            <a:cxnSpLocks/>
          </p:cNvCxnSpPr>
          <p:nvPr/>
        </p:nvCxnSpPr>
        <p:spPr>
          <a:xfrm flipV="1">
            <a:off x="4648499" y="2785001"/>
            <a:ext cx="1070694" cy="9976"/>
          </a:xfrm>
          <a:prstGeom prst="line">
            <a:avLst/>
          </a:prstGeom>
          <a:ln w="28575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文本框 113">
            <a:extLst>
              <a:ext uri="{FF2B5EF4-FFF2-40B4-BE49-F238E27FC236}">
                <a16:creationId xmlns:a16="http://schemas.microsoft.com/office/drawing/2014/main" id="{FEA3C01E-13F1-69D1-BD30-91262515CA38}"/>
              </a:ext>
            </a:extLst>
          </p:cNvPr>
          <p:cNvSpPr txBox="1"/>
          <p:nvPr/>
        </p:nvSpPr>
        <p:spPr>
          <a:xfrm>
            <a:off x="4699749" y="1451344"/>
            <a:ext cx="9305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局部侵华</a:t>
            </a:r>
          </a:p>
        </p:txBody>
      </p:sp>
      <p:sp>
        <p:nvSpPr>
          <p:cNvPr id="115" name="文本框 114">
            <a:extLst>
              <a:ext uri="{FF2B5EF4-FFF2-40B4-BE49-F238E27FC236}">
                <a16:creationId xmlns:a16="http://schemas.microsoft.com/office/drawing/2014/main" id="{43978036-9CA8-3862-001B-F4052CB734C8}"/>
              </a:ext>
            </a:extLst>
          </p:cNvPr>
          <p:cNvSpPr txBox="1"/>
          <p:nvPr/>
        </p:nvSpPr>
        <p:spPr>
          <a:xfrm>
            <a:off x="4801740" y="4151397"/>
            <a:ext cx="9305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全面侵华</a:t>
            </a:r>
          </a:p>
        </p:txBody>
      </p:sp>
      <p:sp>
        <p:nvSpPr>
          <p:cNvPr id="116" name="文本框 115">
            <a:extLst>
              <a:ext uri="{FF2B5EF4-FFF2-40B4-BE49-F238E27FC236}">
                <a16:creationId xmlns:a16="http://schemas.microsoft.com/office/drawing/2014/main" id="{6599871C-FD18-72BD-FB98-2225654CCF7B}"/>
              </a:ext>
            </a:extLst>
          </p:cNvPr>
          <p:cNvSpPr txBox="1"/>
          <p:nvPr/>
        </p:nvSpPr>
        <p:spPr>
          <a:xfrm>
            <a:off x="11042852" y="1408076"/>
            <a:ext cx="9305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局部抗战</a:t>
            </a:r>
          </a:p>
        </p:txBody>
      </p:sp>
      <p:sp>
        <p:nvSpPr>
          <p:cNvPr id="117" name="文本框 116">
            <a:extLst>
              <a:ext uri="{FF2B5EF4-FFF2-40B4-BE49-F238E27FC236}">
                <a16:creationId xmlns:a16="http://schemas.microsoft.com/office/drawing/2014/main" id="{6F4D5E84-0A80-ECFE-6E55-528A730EE9F8}"/>
              </a:ext>
            </a:extLst>
          </p:cNvPr>
          <p:cNvSpPr txBox="1"/>
          <p:nvPr/>
        </p:nvSpPr>
        <p:spPr>
          <a:xfrm>
            <a:off x="10954811" y="4090775"/>
            <a:ext cx="9305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全面抗战</a:t>
            </a:r>
          </a:p>
        </p:txBody>
      </p:sp>
      <p:cxnSp>
        <p:nvCxnSpPr>
          <p:cNvPr id="118" name="直接连接符 117">
            <a:extLst>
              <a:ext uri="{FF2B5EF4-FFF2-40B4-BE49-F238E27FC236}">
                <a16:creationId xmlns:a16="http://schemas.microsoft.com/office/drawing/2014/main" id="{905C6A2F-F598-476F-E262-FCDB343D84F9}"/>
              </a:ext>
            </a:extLst>
          </p:cNvPr>
          <p:cNvCxnSpPr>
            <a:cxnSpLocks/>
          </p:cNvCxnSpPr>
          <p:nvPr/>
        </p:nvCxnSpPr>
        <p:spPr>
          <a:xfrm>
            <a:off x="5491034" y="1866172"/>
            <a:ext cx="342838" cy="0"/>
          </a:xfrm>
          <a:prstGeom prst="line">
            <a:avLst/>
          </a:prstGeom>
          <a:ln w="28575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矩形: 圆角 119">
            <a:extLst>
              <a:ext uri="{FF2B5EF4-FFF2-40B4-BE49-F238E27FC236}">
                <a16:creationId xmlns:a16="http://schemas.microsoft.com/office/drawing/2014/main" id="{39BA4CCA-2582-8F2F-3608-7AC194832009}"/>
              </a:ext>
            </a:extLst>
          </p:cNvPr>
          <p:cNvSpPr/>
          <p:nvPr/>
        </p:nvSpPr>
        <p:spPr>
          <a:xfrm>
            <a:off x="5855636" y="1449146"/>
            <a:ext cx="1035297" cy="77643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b="1" dirty="0">
                <a:solidFill>
                  <a:schemeClr val="tx1"/>
                </a:solidFill>
              </a:rPr>
              <a:t>①</a:t>
            </a:r>
          </a:p>
        </p:txBody>
      </p:sp>
      <p:cxnSp>
        <p:nvCxnSpPr>
          <p:cNvPr id="124" name="直接连接符 123">
            <a:extLst>
              <a:ext uri="{FF2B5EF4-FFF2-40B4-BE49-F238E27FC236}">
                <a16:creationId xmlns:a16="http://schemas.microsoft.com/office/drawing/2014/main" id="{DDE45BAB-5DED-C71D-5D2E-DFD7BAE3EEB9}"/>
              </a:ext>
            </a:extLst>
          </p:cNvPr>
          <p:cNvCxnSpPr>
            <a:cxnSpLocks/>
          </p:cNvCxnSpPr>
          <p:nvPr/>
        </p:nvCxnSpPr>
        <p:spPr>
          <a:xfrm>
            <a:off x="10769631" y="1875885"/>
            <a:ext cx="342838" cy="0"/>
          </a:xfrm>
          <a:prstGeom prst="line">
            <a:avLst/>
          </a:prstGeom>
          <a:ln w="28575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矩形: 圆角 124">
            <a:extLst>
              <a:ext uri="{FF2B5EF4-FFF2-40B4-BE49-F238E27FC236}">
                <a16:creationId xmlns:a16="http://schemas.microsoft.com/office/drawing/2014/main" id="{1B73232D-5997-A7D6-ACCD-420807B90B55}"/>
              </a:ext>
            </a:extLst>
          </p:cNvPr>
          <p:cNvSpPr/>
          <p:nvPr/>
        </p:nvSpPr>
        <p:spPr>
          <a:xfrm>
            <a:off x="9012670" y="1788812"/>
            <a:ext cx="1676150" cy="4124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b="1" dirty="0">
                <a:solidFill>
                  <a:schemeClr val="tx1"/>
                </a:solidFill>
              </a:rPr>
              <a:t> </a:t>
            </a:r>
            <a:r>
              <a:rPr lang="zh-CN" altLang="en-US" sz="2400" b="1" dirty="0">
                <a:solidFill>
                  <a:schemeClr val="tx1"/>
                </a:solidFill>
              </a:rPr>
              <a:t>华北： ③</a:t>
            </a:r>
          </a:p>
        </p:txBody>
      </p:sp>
      <p:sp>
        <p:nvSpPr>
          <p:cNvPr id="126" name="矩形: 圆角 125">
            <a:extLst>
              <a:ext uri="{FF2B5EF4-FFF2-40B4-BE49-F238E27FC236}">
                <a16:creationId xmlns:a16="http://schemas.microsoft.com/office/drawing/2014/main" id="{10D14232-D70D-FAD1-5072-ACEF246211CB}"/>
              </a:ext>
            </a:extLst>
          </p:cNvPr>
          <p:cNvSpPr/>
          <p:nvPr/>
        </p:nvSpPr>
        <p:spPr>
          <a:xfrm>
            <a:off x="9012670" y="1161660"/>
            <a:ext cx="1756961" cy="462190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b="1" dirty="0">
                <a:solidFill>
                  <a:schemeClr val="tx1"/>
                </a:solidFill>
              </a:rPr>
              <a:t>东北：②</a:t>
            </a:r>
          </a:p>
        </p:txBody>
      </p:sp>
      <p:sp>
        <p:nvSpPr>
          <p:cNvPr id="132" name="文本框 47">
            <a:extLst>
              <a:ext uri="{FF2B5EF4-FFF2-40B4-BE49-F238E27FC236}">
                <a16:creationId xmlns:a16="http://schemas.microsoft.com/office/drawing/2014/main" id="{B5909DA3-A5FB-1DBC-CD2C-4FAF650FF27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777016" y="1314883"/>
            <a:ext cx="2504198" cy="858377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anose="02010609060101010101" pitchFamily="49" charset="-122"/>
                <a:ea typeface="黑体" panose="02010609060101010101" pitchFamily="49" charset="-122"/>
              </a:rPr>
              <a:t>中日民族矛盾逐步</a:t>
            </a:r>
          </a:p>
          <a:p>
            <a:pPr algn="ctr">
              <a:lnSpc>
                <a:spcPct val="150000"/>
              </a:lnSpc>
            </a:pPr>
            <a:r>
              <a:rPr 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anose="02010609060101010101" pitchFamily="49" charset="-122"/>
                <a:ea typeface="黑体" panose="02010609060101010101" pitchFamily="49" charset="-122"/>
              </a:rPr>
              <a:t>上升为主要矛盾</a:t>
            </a:r>
          </a:p>
        </p:txBody>
      </p:sp>
      <p:cxnSp>
        <p:nvCxnSpPr>
          <p:cNvPr id="133" name="直接连接符 132">
            <a:extLst>
              <a:ext uri="{FF2B5EF4-FFF2-40B4-BE49-F238E27FC236}">
                <a16:creationId xmlns:a16="http://schemas.microsoft.com/office/drawing/2014/main" id="{D9289CB3-524C-1661-4F13-13AB0B04B4DC}"/>
              </a:ext>
            </a:extLst>
          </p:cNvPr>
          <p:cNvCxnSpPr>
            <a:cxnSpLocks/>
          </p:cNvCxnSpPr>
          <p:nvPr/>
        </p:nvCxnSpPr>
        <p:spPr>
          <a:xfrm>
            <a:off x="5534841" y="4574894"/>
            <a:ext cx="342838" cy="0"/>
          </a:xfrm>
          <a:prstGeom prst="line">
            <a:avLst/>
          </a:prstGeom>
          <a:ln w="28575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矩形: 圆角 133">
            <a:extLst>
              <a:ext uri="{FF2B5EF4-FFF2-40B4-BE49-F238E27FC236}">
                <a16:creationId xmlns:a16="http://schemas.microsoft.com/office/drawing/2014/main" id="{AB11162F-D17A-349F-8652-68FD2E36CF01}"/>
              </a:ext>
            </a:extLst>
          </p:cNvPr>
          <p:cNvSpPr/>
          <p:nvPr/>
        </p:nvSpPr>
        <p:spPr>
          <a:xfrm>
            <a:off x="5937506" y="4171362"/>
            <a:ext cx="1035297" cy="77643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b="1" dirty="0">
                <a:solidFill>
                  <a:schemeClr val="tx1"/>
                </a:solidFill>
              </a:rPr>
              <a:t>⑤</a:t>
            </a:r>
          </a:p>
        </p:txBody>
      </p:sp>
      <p:cxnSp>
        <p:nvCxnSpPr>
          <p:cNvPr id="138" name="直接箭头连接符 137">
            <a:extLst>
              <a:ext uri="{FF2B5EF4-FFF2-40B4-BE49-F238E27FC236}">
                <a16:creationId xmlns:a16="http://schemas.microsoft.com/office/drawing/2014/main" id="{CF1A5F33-6AA1-09CF-2537-9EB973251BE0}"/>
              </a:ext>
            </a:extLst>
          </p:cNvPr>
          <p:cNvCxnSpPr>
            <a:cxnSpLocks/>
            <a:endCxn id="117" idx="0"/>
          </p:cNvCxnSpPr>
          <p:nvPr/>
        </p:nvCxnSpPr>
        <p:spPr>
          <a:xfrm flipH="1">
            <a:off x="11420074" y="2215808"/>
            <a:ext cx="1052" cy="1874967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文本框 140">
            <a:extLst>
              <a:ext uri="{FF2B5EF4-FFF2-40B4-BE49-F238E27FC236}">
                <a16:creationId xmlns:a16="http://schemas.microsoft.com/office/drawing/2014/main" id="{1D883F99-C001-C961-532E-01A3B4DC1EFE}"/>
              </a:ext>
            </a:extLst>
          </p:cNvPr>
          <p:cNvSpPr txBox="1"/>
          <p:nvPr/>
        </p:nvSpPr>
        <p:spPr>
          <a:xfrm>
            <a:off x="11411029" y="2331069"/>
            <a:ext cx="93052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抗日民族统一战线</a:t>
            </a:r>
          </a:p>
        </p:txBody>
      </p:sp>
      <p:sp>
        <p:nvSpPr>
          <p:cNvPr id="143" name="矩形: 圆角 142">
            <a:extLst>
              <a:ext uri="{FF2B5EF4-FFF2-40B4-BE49-F238E27FC236}">
                <a16:creationId xmlns:a16="http://schemas.microsoft.com/office/drawing/2014/main" id="{EB0EC03F-D28B-3219-B018-89453B9FDD6A}"/>
              </a:ext>
            </a:extLst>
          </p:cNvPr>
          <p:cNvSpPr/>
          <p:nvPr/>
        </p:nvSpPr>
        <p:spPr>
          <a:xfrm>
            <a:off x="8953273" y="2270076"/>
            <a:ext cx="2264004" cy="5396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b="1" dirty="0">
                <a:solidFill>
                  <a:schemeClr val="tx1"/>
                </a:solidFill>
              </a:rPr>
              <a:t>初步形成：④</a:t>
            </a:r>
          </a:p>
        </p:txBody>
      </p:sp>
      <p:sp>
        <p:nvSpPr>
          <p:cNvPr id="145" name="矩形: 圆角 144">
            <a:extLst>
              <a:ext uri="{FF2B5EF4-FFF2-40B4-BE49-F238E27FC236}">
                <a16:creationId xmlns:a16="http://schemas.microsoft.com/office/drawing/2014/main" id="{6B60E42D-FE6F-B58D-5382-E8EF90DB0E35}"/>
              </a:ext>
            </a:extLst>
          </p:cNvPr>
          <p:cNvSpPr/>
          <p:nvPr/>
        </p:nvSpPr>
        <p:spPr>
          <a:xfrm>
            <a:off x="8989268" y="3005053"/>
            <a:ext cx="2228009" cy="499330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b="1" dirty="0">
                <a:solidFill>
                  <a:schemeClr val="tx1"/>
                </a:solidFill>
              </a:rPr>
              <a:t>正式确立：⑧</a:t>
            </a:r>
          </a:p>
        </p:txBody>
      </p:sp>
      <p:cxnSp>
        <p:nvCxnSpPr>
          <p:cNvPr id="146" name="直接箭头连接符 145">
            <a:extLst>
              <a:ext uri="{FF2B5EF4-FFF2-40B4-BE49-F238E27FC236}">
                <a16:creationId xmlns:a16="http://schemas.microsoft.com/office/drawing/2014/main" id="{62DF2EC8-2573-9769-62D5-A0CCC1D34F9A}"/>
              </a:ext>
            </a:extLst>
          </p:cNvPr>
          <p:cNvCxnSpPr>
            <a:cxnSpLocks/>
          </p:cNvCxnSpPr>
          <p:nvPr/>
        </p:nvCxnSpPr>
        <p:spPr>
          <a:xfrm flipV="1">
            <a:off x="6987804" y="1793071"/>
            <a:ext cx="1965468" cy="7081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矩形: 圆角 148">
            <a:extLst>
              <a:ext uri="{FF2B5EF4-FFF2-40B4-BE49-F238E27FC236}">
                <a16:creationId xmlns:a16="http://schemas.microsoft.com/office/drawing/2014/main" id="{5C1678C1-3B58-B420-9C40-3398018B5600}"/>
              </a:ext>
            </a:extLst>
          </p:cNvPr>
          <p:cNvSpPr/>
          <p:nvPr/>
        </p:nvSpPr>
        <p:spPr>
          <a:xfrm>
            <a:off x="8978624" y="4034595"/>
            <a:ext cx="1921490" cy="499330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>
                <a:solidFill>
                  <a:schemeClr val="tx1"/>
                </a:solidFill>
              </a:rPr>
              <a:t>正面战场： ⑥</a:t>
            </a:r>
          </a:p>
        </p:txBody>
      </p:sp>
      <p:sp>
        <p:nvSpPr>
          <p:cNvPr id="150" name="矩形: 圆角 149">
            <a:extLst>
              <a:ext uri="{FF2B5EF4-FFF2-40B4-BE49-F238E27FC236}">
                <a16:creationId xmlns:a16="http://schemas.microsoft.com/office/drawing/2014/main" id="{5A3AFDDA-0E2E-D54E-7FB1-9CE3E1BC8593}"/>
              </a:ext>
            </a:extLst>
          </p:cNvPr>
          <p:cNvSpPr/>
          <p:nvPr/>
        </p:nvSpPr>
        <p:spPr>
          <a:xfrm>
            <a:off x="8989268" y="4584399"/>
            <a:ext cx="1921490" cy="535756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>
                <a:solidFill>
                  <a:schemeClr val="tx1"/>
                </a:solidFill>
              </a:rPr>
              <a:t>敌后战场： ⑦</a:t>
            </a:r>
          </a:p>
        </p:txBody>
      </p:sp>
      <p:cxnSp>
        <p:nvCxnSpPr>
          <p:cNvPr id="151" name="直接箭头连接符 150">
            <a:extLst>
              <a:ext uri="{FF2B5EF4-FFF2-40B4-BE49-F238E27FC236}">
                <a16:creationId xmlns:a16="http://schemas.microsoft.com/office/drawing/2014/main" id="{6C78F361-7EF2-B3CF-D60A-93AC2D2D8C2D}"/>
              </a:ext>
            </a:extLst>
          </p:cNvPr>
          <p:cNvCxnSpPr>
            <a:cxnSpLocks/>
          </p:cNvCxnSpPr>
          <p:nvPr/>
        </p:nvCxnSpPr>
        <p:spPr>
          <a:xfrm flipH="1" flipV="1">
            <a:off x="5682817" y="5300747"/>
            <a:ext cx="5183024" cy="11108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文本框 154">
            <a:extLst>
              <a:ext uri="{FF2B5EF4-FFF2-40B4-BE49-F238E27FC236}">
                <a16:creationId xmlns:a16="http://schemas.microsoft.com/office/drawing/2014/main" id="{79884DDC-1850-3037-332C-0B12237B6079}"/>
              </a:ext>
            </a:extLst>
          </p:cNvPr>
          <p:cNvSpPr txBox="1"/>
          <p:nvPr/>
        </p:nvSpPr>
        <p:spPr>
          <a:xfrm>
            <a:off x="6455154" y="5366277"/>
            <a:ext cx="31350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日本宣布无条件投降</a:t>
            </a:r>
          </a:p>
        </p:txBody>
      </p:sp>
    </p:spTree>
    <p:extLst>
      <p:ext uri="{BB962C8B-B14F-4D97-AF65-F5344CB8AC3E}">
        <p14:creationId xmlns:p14="http://schemas.microsoft.com/office/powerpoint/2010/main" val="30933497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8" grpId="0"/>
      <p:bldP spid="114" grpId="0"/>
      <p:bldP spid="115" grpId="0"/>
      <p:bldP spid="116" grpId="0"/>
      <p:bldP spid="117" grpId="0"/>
      <p:bldP spid="120" grpId="0" animBg="1"/>
      <p:bldP spid="125" grpId="0" animBg="1"/>
      <p:bldP spid="126" grpId="0" animBg="1"/>
      <p:bldP spid="132" grpId="0"/>
      <p:bldP spid="134" grpId="0" animBg="1"/>
      <p:bldP spid="141" grpId="0"/>
      <p:bldP spid="143" grpId="0" animBg="1"/>
      <p:bldP spid="145" grpId="0" animBg="1"/>
      <p:bldP spid="149" grpId="0" animBg="1"/>
      <p:bldP spid="150" grpId="0" animBg="1"/>
      <p:bldP spid="15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2DBF5D88-DD73-C095-8756-630092944735}"/>
              </a:ext>
            </a:extLst>
          </p:cNvPr>
          <p:cNvSpPr txBox="1"/>
          <p:nvPr/>
        </p:nvSpPr>
        <p:spPr>
          <a:xfrm>
            <a:off x="109824" y="940629"/>
            <a:ext cx="11208042" cy="8583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latin typeface="宋体" panose="02010600030101010101" pitchFamily="2" charset="-122"/>
                <a:ea typeface="宋体" panose="02010600030101010101" pitchFamily="2" charset="-122"/>
              </a:rPr>
              <a:t>选择上述思维导图中相互关联的事件，结合所学自定一个你想论述的观点，加以阐述或说明。（要求：观点正确，史论结合，条理清楚）</a:t>
            </a: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12BD96C3-7914-D851-5688-0C0962F5C7DD}"/>
              </a:ext>
            </a:extLst>
          </p:cNvPr>
          <p:cNvSpPr>
            <a:spLocks/>
          </p:cNvSpPr>
          <p:nvPr/>
        </p:nvSpPr>
        <p:spPr bwMode="auto">
          <a:xfrm>
            <a:off x="-1505309" y="118000"/>
            <a:ext cx="6060959" cy="921505"/>
          </a:xfrm>
          <a:custGeom>
            <a:avLst/>
            <a:gdLst>
              <a:gd name="connsiteX0" fmla="*/ 883995 w 5227821"/>
              <a:gd name="connsiteY0" fmla="*/ 1158893 h 1257266"/>
              <a:gd name="connsiteX1" fmla="*/ 891058 w 5227821"/>
              <a:gd name="connsiteY1" fmla="*/ 1159121 h 1257266"/>
              <a:gd name="connsiteX2" fmla="*/ 883539 w 5227821"/>
              <a:gd name="connsiteY2" fmla="*/ 1159121 h 1257266"/>
              <a:gd name="connsiteX3" fmla="*/ 4615788 w 5227821"/>
              <a:gd name="connsiteY3" fmla="*/ 826594 h 1257266"/>
              <a:gd name="connsiteX4" fmla="*/ 4616959 w 5227821"/>
              <a:gd name="connsiteY4" fmla="*/ 827767 h 1257266"/>
              <a:gd name="connsiteX5" fmla="*/ 4617450 w 5227821"/>
              <a:gd name="connsiteY5" fmla="*/ 827029 h 1257266"/>
              <a:gd name="connsiteX6" fmla="*/ 4610559 w 5227821"/>
              <a:gd name="connsiteY6" fmla="*/ 825984 h 1257266"/>
              <a:gd name="connsiteX7" fmla="*/ 4591373 w 5227821"/>
              <a:gd name="connsiteY7" fmla="*/ 828386 h 1257266"/>
              <a:gd name="connsiteX8" fmla="*/ 4584680 w 5227821"/>
              <a:gd name="connsiteY8" fmla="*/ 830752 h 1257266"/>
              <a:gd name="connsiteX9" fmla="*/ 4583122 w 5227821"/>
              <a:gd name="connsiteY9" fmla="*/ 831532 h 1257266"/>
              <a:gd name="connsiteX10" fmla="*/ 4598161 w 5227821"/>
              <a:gd name="connsiteY10" fmla="*/ 835298 h 1257266"/>
              <a:gd name="connsiteX11" fmla="*/ 4600041 w 5227821"/>
              <a:gd name="connsiteY11" fmla="*/ 833886 h 1257266"/>
              <a:gd name="connsiteX12" fmla="*/ 4763331 w 5227821"/>
              <a:gd name="connsiteY12" fmla="*/ 809097 h 1257266"/>
              <a:gd name="connsiteX13" fmla="*/ 4764025 w 5227821"/>
              <a:gd name="connsiteY13" fmla="*/ 815097 h 1257266"/>
              <a:gd name="connsiteX14" fmla="*/ 4768080 w 5227821"/>
              <a:gd name="connsiteY14" fmla="*/ 809559 h 1257266"/>
              <a:gd name="connsiteX15" fmla="*/ 4653526 w 5227821"/>
              <a:gd name="connsiteY15" fmla="*/ 808089 h 1257266"/>
              <a:gd name="connsiteX16" fmla="*/ 4644009 w 5227821"/>
              <a:gd name="connsiteY16" fmla="*/ 820856 h 1257266"/>
              <a:gd name="connsiteX17" fmla="*/ 4659047 w 5227821"/>
              <a:gd name="connsiteY17" fmla="*/ 828386 h 1257266"/>
              <a:gd name="connsiteX18" fmla="*/ 4642634 w 5227821"/>
              <a:gd name="connsiteY18" fmla="*/ 833009 h 1257266"/>
              <a:gd name="connsiteX19" fmla="*/ 4658317 w 5227821"/>
              <a:gd name="connsiteY19" fmla="*/ 846594 h 1257266"/>
              <a:gd name="connsiteX20" fmla="*/ 4684635 w 5227821"/>
              <a:gd name="connsiteY20" fmla="*/ 816471 h 1257266"/>
              <a:gd name="connsiteX21" fmla="*/ 4683861 w 5227821"/>
              <a:gd name="connsiteY21" fmla="*/ 813370 h 1257266"/>
              <a:gd name="connsiteX22" fmla="*/ 4669387 w 5227821"/>
              <a:gd name="connsiteY22" fmla="*/ 809089 h 1257266"/>
              <a:gd name="connsiteX23" fmla="*/ 4653526 w 5227821"/>
              <a:gd name="connsiteY23" fmla="*/ 808089 h 1257266"/>
              <a:gd name="connsiteX24" fmla="*/ 4720496 w 5227821"/>
              <a:gd name="connsiteY24" fmla="*/ 800558 h 1257266"/>
              <a:gd name="connsiteX25" fmla="*/ 4704165 w 5227821"/>
              <a:gd name="connsiteY25" fmla="*/ 809559 h 1257266"/>
              <a:gd name="connsiteX26" fmla="*/ 4711684 w 5227821"/>
              <a:gd name="connsiteY26" fmla="*/ 817090 h 1257266"/>
              <a:gd name="connsiteX27" fmla="*/ 4703433 w 5227821"/>
              <a:gd name="connsiteY27" fmla="*/ 816325 h 1257266"/>
              <a:gd name="connsiteX28" fmla="*/ 4703433 w 5227821"/>
              <a:gd name="connsiteY28" fmla="*/ 824001 h 1257266"/>
              <a:gd name="connsiteX29" fmla="*/ 4718473 w 5227821"/>
              <a:gd name="connsiteY29" fmla="*/ 820236 h 1257266"/>
              <a:gd name="connsiteX30" fmla="*/ 4733511 w 5227821"/>
              <a:gd name="connsiteY30" fmla="*/ 846594 h 1257266"/>
              <a:gd name="connsiteX31" fmla="*/ 4710953 w 5227821"/>
              <a:gd name="connsiteY31" fmla="*/ 850359 h 1257266"/>
              <a:gd name="connsiteX32" fmla="*/ 4692155 w 5227821"/>
              <a:gd name="connsiteY32" fmla="*/ 842828 h 1257266"/>
              <a:gd name="connsiteX33" fmla="*/ 4658317 w 5227821"/>
              <a:gd name="connsiteY33" fmla="*/ 854125 h 1257266"/>
              <a:gd name="connsiteX34" fmla="*/ 4677115 w 5227821"/>
              <a:gd name="connsiteY34" fmla="*/ 854125 h 1257266"/>
              <a:gd name="connsiteX35" fmla="*/ 4673355 w 5227821"/>
              <a:gd name="connsiteY35" fmla="*/ 857890 h 1257266"/>
              <a:gd name="connsiteX36" fmla="*/ 4741031 w 5227821"/>
              <a:gd name="connsiteY36" fmla="*/ 857890 h 1257266"/>
              <a:gd name="connsiteX37" fmla="*/ 4748551 w 5227821"/>
              <a:gd name="connsiteY37" fmla="*/ 861655 h 1257266"/>
              <a:gd name="connsiteX38" fmla="*/ 4752310 w 5227821"/>
              <a:gd name="connsiteY38" fmla="*/ 857890 h 1257266"/>
              <a:gd name="connsiteX39" fmla="*/ 4763589 w 5227821"/>
              <a:gd name="connsiteY39" fmla="*/ 854125 h 1257266"/>
              <a:gd name="connsiteX40" fmla="*/ 4752310 w 5227821"/>
              <a:gd name="connsiteY40" fmla="*/ 854125 h 1257266"/>
              <a:gd name="connsiteX41" fmla="*/ 4756070 w 5227821"/>
              <a:gd name="connsiteY41" fmla="*/ 835298 h 1257266"/>
              <a:gd name="connsiteX42" fmla="*/ 4744321 w 5227821"/>
              <a:gd name="connsiteY42" fmla="*/ 817412 h 1257266"/>
              <a:gd name="connsiteX43" fmla="*/ 4747974 w 5227821"/>
              <a:gd name="connsiteY43" fmla="*/ 806649 h 1257266"/>
              <a:gd name="connsiteX44" fmla="*/ 4736122 w 5227821"/>
              <a:gd name="connsiteY44" fmla="*/ 802499 h 1257266"/>
              <a:gd name="connsiteX45" fmla="*/ 4720496 w 5227821"/>
              <a:gd name="connsiteY45" fmla="*/ 800558 h 1257266"/>
              <a:gd name="connsiteX46" fmla="*/ 1676438 w 5227821"/>
              <a:gd name="connsiteY46" fmla="*/ 90716 h 1257266"/>
              <a:gd name="connsiteX47" fmla="*/ 1850993 w 5227821"/>
              <a:gd name="connsiteY47" fmla="*/ 94135 h 1257266"/>
              <a:gd name="connsiteX48" fmla="*/ 2046029 w 5227821"/>
              <a:gd name="connsiteY48" fmla="*/ 97900 h 1257266"/>
              <a:gd name="connsiteX49" fmla="*/ 2057308 w 5227821"/>
              <a:gd name="connsiteY49" fmla="*/ 101666 h 1257266"/>
              <a:gd name="connsiteX50" fmla="*/ 1850523 w 5227821"/>
              <a:gd name="connsiteY50" fmla="*/ 97900 h 1257266"/>
              <a:gd name="connsiteX51" fmla="*/ 1692614 w 5227821"/>
              <a:gd name="connsiteY51" fmla="*/ 94135 h 1257266"/>
              <a:gd name="connsiteX52" fmla="*/ 1675636 w 5227821"/>
              <a:gd name="connsiteY52" fmla="*/ 90546 h 1257266"/>
              <a:gd name="connsiteX53" fmla="*/ 1676438 w 5227821"/>
              <a:gd name="connsiteY53" fmla="*/ 90716 h 1257266"/>
              <a:gd name="connsiteX54" fmla="*/ 1674865 w 5227821"/>
              <a:gd name="connsiteY54" fmla="*/ 90685 h 1257266"/>
              <a:gd name="connsiteX55" fmla="*/ 2005634 w 5227821"/>
              <a:gd name="connsiteY55" fmla="*/ 36919 h 1257266"/>
              <a:gd name="connsiteX56" fmla="*/ 2008432 w 5227821"/>
              <a:gd name="connsiteY56" fmla="*/ 37654 h 1257266"/>
              <a:gd name="connsiteX57" fmla="*/ 2000912 w 5227821"/>
              <a:gd name="connsiteY57" fmla="*/ 37654 h 1257266"/>
              <a:gd name="connsiteX58" fmla="*/ 1594861 w 5227821"/>
              <a:gd name="connsiteY58" fmla="*/ 0 h 1257266"/>
              <a:gd name="connsiteX59" fmla="*/ 1655016 w 5227821"/>
              <a:gd name="connsiteY59" fmla="*/ 11296 h 1257266"/>
              <a:gd name="connsiteX60" fmla="*/ 1651257 w 5227821"/>
              <a:gd name="connsiteY60" fmla="*/ 18827 h 1257266"/>
              <a:gd name="connsiteX61" fmla="*/ 1767809 w 5227821"/>
              <a:gd name="connsiteY61" fmla="*/ 22593 h 1257266"/>
              <a:gd name="connsiteX62" fmla="*/ 2230256 w 5227821"/>
              <a:gd name="connsiteY62" fmla="*/ 26358 h 1257266"/>
              <a:gd name="connsiteX63" fmla="*/ 2275373 w 5227821"/>
              <a:gd name="connsiteY63" fmla="*/ 30123 h 1257266"/>
              <a:gd name="connsiteX64" fmla="*/ 2046029 w 5227821"/>
              <a:gd name="connsiteY64" fmla="*/ 33889 h 1257266"/>
              <a:gd name="connsiteX65" fmla="*/ 2022061 w 5227821"/>
              <a:gd name="connsiteY65" fmla="*/ 34359 h 1257266"/>
              <a:gd name="connsiteX66" fmla="*/ 2005634 w 5227821"/>
              <a:gd name="connsiteY66" fmla="*/ 36919 h 1257266"/>
              <a:gd name="connsiteX67" fmla="*/ 1983817 w 5227821"/>
              <a:gd name="connsiteY67" fmla="*/ 31183 h 1257266"/>
              <a:gd name="connsiteX68" fmla="*/ 1888120 w 5227821"/>
              <a:gd name="connsiteY68" fmla="*/ 30123 h 1257266"/>
              <a:gd name="connsiteX69" fmla="*/ 1662536 w 5227821"/>
              <a:gd name="connsiteY69" fmla="*/ 26358 h 1257266"/>
              <a:gd name="connsiteX70" fmla="*/ 1655016 w 5227821"/>
              <a:gd name="connsiteY70" fmla="*/ 37654 h 1257266"/>
              <a:gd name="connsiteX71" fmla="*/ 1609900 w 5227821"/>
              <a:gd name="connsiteY71" fmla="*/ 30123 h 1257266"/>
              <a:gd name="connsiteX72" fmla="*/ 1553503 w 5227821"/>
              <a:gd name="connsiteY72" fmla="*/ 52716 h 1257266"/>
              <a:gd name="connsiteX73" fmla="*/ 1587341 w 5227821"/>
              <a:gd name="connsiteY73" fmla="*/ 56481 h 1257266"/>
              <a:gd name="connsiteX74" fmla="*/ 1542224 w 5227821"/>
              <a:gd name="connsiteY74" fmla="*/ 56481 h 1257266"/>
              <a:gd name="connsiteX75" fmla="*/ 1527185 w 5227821"/>
              <a:gd name="connsiteY75" fmla="*/ 71543 h 1257266"/>
              <a:gd name="connsiteX76" fmla="*/ 1478309 w 5227821"/>
              <a:gd name="connsiteY76" fmla="*/ 79073 h 1257266"/>
              <a:gd name="connsiteX77" fmla="*/ 1658776 w 5227821"/>
              <a:gd name="connsiteY77" fmla="*/ 90370 h 1257266"/>
              <a:gd name="connsiteX78" fmla="*/ 1674865 w 5227821"/>
              <a:gd name="connsiteY78" fmla="*/ 90685 h 1257266"/>
              <a:gd name="connsiteX79" fmla="*/ 1658306 w 5227821"/>
              <a:gd name="connsiteY79" fmla="*/ 93664 h 1257266"/>
              <a:gd name="connsiteX80" fmla="*/ 1621179 w 5227821"/>
              <a:gd name="connsiteY80" fmla="*/ 101666 h 1257266"/>
              <a:gd name="connsiteX81" fmla="*/ 1579822 w 5227821"/>
              <a:gd name="connsiteY81" fmla="*/ 128024 h 1257266"/>
              <a:gd name="connsiteX82" fmla="*/ 1576062 w 5227821"/>
              <a:gd name="connsiteY82" fmla="*/ 120493 h 1257266"/>
              <a:gd name="connsiteX83" fmla="*/ 1598620 w 5227821"/>
              <a:gd name="connsiteY83" fmla="*/ 112962 h 1257266"/>
              <a:gd name="connsiteX84" fmla="*/ 1587341 w 5227821"/>
              <a:gd name="connsiteY84" fmla="*/ 109197 h 1257266"/>
              <a:gd name="connsiteX85" fmla="*/ 1564783 w 5227821"/>
              <a:gd name="connsiteY85" fmla="*/ 109197 h 1257266"/>
              <a:gd name="connsiteX86" fmla="*/ 1553503 w 5227821"/>
              <a:gd name="connsiteY86" fmla="*/ 105431 h 1257266"/>
              <a:gd name="connsiteX87" fmla="*/ 1621179 w 5227821"/>
              <a:gd name="connsiteY87" fmla="*/ 94135 h 1257266"/>
              <a:gd name="connsiteX88" fmla="*/ 1448231 w 5227821"/>
              <a:gd name="connsiteY88" fmla="*/ 86604 h 1257266"/>
              <a:gd name="connsiteX89" fmla="*/ 1410633 w 5227821"/>
              <a:gd name="connsiteY89" fmla="*/ 97900 h 1257266"/>
              <a:gd name="connsiteX90" fmla="*/ 1444471 w 5227821"/>
              <a:gd name="connsiteY90" fmla="*/ 101666 h 1257266"/>
              <a:gd name="connsiteX91" fmla="*/ 1380555 w 5227821"/>
              <a:gd name="connsiteY91" fmla="*/ 131789 h 1257266"/>
              <a:gd name="connsiteX92" fmla="*/ 1380555 w 5227821"/>
              <a:gd name="connsiteY92" fmla="*/ 112962 h 1257266"/>
              <a:gd name="connsiteX93" fmla="*/ 1369276 w 5227821"/>
              <a:gd name="connsiteY93" fmla="*/ 131789 h 1257266"/>
              <a:gd name="connsiteX94" fmla="*/ 1357997 w 5227821"/>
              <a:gd name="connsiteY94" fmla="*/ 131789 h 1257266"/>
              <a:gd name="connsiteX95" fmla="*/ 1354237 w 5227821"/>
              <a:gd name="connsiteY95" fmla="*/ 146851 h 1257266"/>
              <a:gd name="connsiteX96" fmla="*/ 1350478 w 5227821"/>
              <a:gd name="connsiteY96" fmla="*/ 139320 h 1257266"/>
              <a:gd name="connsiteX97" fmla="*/ 1327919 w 5227821"/>
              <a:gd name="connsiteY97" fmla="*/ 161912 h 1257266"/>
              <a:gd name="connsiteX98" fmla="*/ 1436952 w 5227821"/>
              <a:gd name="connsiteY98" fmla="*/ 173208 h 1257266"/>
              <a:gd name="connsiteX99" fmla="*/ 1459510 w 5227821"/>
              <a:gd name="connsiteY99" fmla="*/ 192035 h 1257266"/>
              <a:gd name="connsiteX100" fmla="*/ 1421913 w 5227821"/>
              <a:gd name="connsiteY100" fmla="*/ 207097 h 1257266"/>
              <a:gd name="connsiteX101" fmla="*/ 1451990 w 5227821"/>
              <a:gd name="connsiteY101" fmla="*/ 207097 h 1257266"/>
              <a:gd name="connsiteX102" fmla="*/ 1451990 w 5227821"/>
              <a:gd name="connsiteY102" fmla="*/ 210862 h 1257266"/>
              <a:gd name="connsiteX103" fmla="*/ 1512146 w 5227821"/>
              <a:gd name="connsiteY103" fmla="*/ 210862 h 1257266"/>
              <a:gd name="connsiteX104" fmla="*/ 1512146 w 5227821"/>
              <a:gd name="connsiteY104" fmla="*/ 214628 h 1257266"/>
              <a:gd name="connsiteX105" fmla="*/ 1534705 w 5227821"/>
              <a:gd name="connsiteY105" fmla="*/ 214628 h 1257266"/>
              <a:gd name="connsiteX106" fmla="*/ 1538464 w 5227821"/>
              <a:gd name="connsiteY106" fmla="*/ 210862 h 1257266"/>
              <a:gd name="connsiteX107" fmla="*/ 1538464 w 5227821"/>
              <a:gd name="connsiteY107" fmla="*/ 218393 h 1257266"/>
              <a:gd name="connsiteX108" fmla="*/ 1515906 w 5227821"/>
              <a:gd name="connsiteY108" fmla="*/ 225924 h 1257266"/>
              <a:gd name="connsiteX109" fmla="*/ 1549744 w 5227821"/>
              <a:gd name="connsiteY109" fmla="*/ 229689 h 1257266"/>
              <a:gd name="connsiteX110" fmla="*/ 1542224 w 5227821"/>
              <a:gd name="connsiteY110" fmla="*/ 237220 h 1257266"/>
              <a:gd name="connsiteX111" fmla="*/ 1722692 w 5227821"/>
              <a:gd name="connsiteY111" fmla="*/ 225924 h 1257266"/>
              <a:gd name="connsiteX112" fmla="*/ 1764049 w 5227821"/>
              <a:gd name="connsiteY112" fmla="*/ 218393 h 1257266"/>
              <a:gd name="connsiteX113" fmla="*/ 1801646 w 5227821"/>
              <a:gd name="connsiteY113" fmla="*/ 218393 h 1257266"/>
              <a:gd name="connsiteX114" fmla="*/ 1809166 w 5227821"/>
              <a:gd name="connsiteY114" fmla="*/ 214628 h 1257266"/>
              <a:gd name="connsiteX115" fmla="*/ 1940757 w 5227821"/>
              <a:gd name="connsiteY115" fmla="*/ 214628 h 1257266"/>
              <a:gd name="connsiteX116" fmla="*/ 2083627 w 5227821"/>
              <a:gd name="connsiteY116" fmla="*/ 203331 h 1257266"/>
              <a:gd name="connsiteX117" fmla="*/ 2124984 w 5227821"/>
              <a:gd name="connsiteY117" fmla="*/ 203331 h 1257266"/>
              <a:gd name="connsiteX118" fmla="*/ 2128744 w 5227821"/>
              <a:gd name="connsiteY118" fmla="*/ 199566 h 1257266"/>
              <a:gd name="connsiteX119" fmla="*/ 2117464 w 5227821"/>
              <a:gd name="connsiteY119" fmla="*/ 195801 h 1257266"/>
              <a:gd name="connsiteX120" fmla="*/ 2128744 w 5227821"/>
              <a:gd name="connsiteY120" fmla="*/ 192035 h 1257266"/>
              <a:gd name="connsiteX121" fmla="*/ 2121224 w 5227821"/>
              <a:gd name="connsiteY121" fmla="*/ 188270 h 1257266"/>
              <a:gd name="connsiteX122" fmla="*/ 2192659 w 5227821"/>
              <a:gd name="connsiteY122" fmla="*/ 184504 h 1257266"/>
              <a:gd name="connsiteX123" fmla="*/ 2196419 w 5227821"/>
              <a:gd name="connsiteY123" fmla="*/ 199566 h 1257266"/>
              <a:gd name="connsiteX124" fmla="*/ 2215218 w 5227821"/>
              <a:gd name="connsiteY124" fmla="*/ 195801 h 1257266"/>
              <a:gd name="connsiteX125" fmla="*/ 2203938 w 5227821"/>
              <a:gd name="connsiteY125" fmla="*/ 188270 h 1257266"/>
              <a:gd name="connsiteX126" fmla="*/ 2271614 w 5227821"/>
              <a:gd name="connsiteY126" fmla="*/ 188270 h 1257266"/>
              <a:gd name="connsiteX127" fmla="*/ 2395685 w 5227821"/>
              <a:gd name="connsiteY127" fmla="*/ 184504 h 1257266"/>
              <a:gd name="connsiteX128" fmla="*/ 2422003 w 5227821"/>
              <a:gd name="connsiteY128" fmla="*/ 169443 h 1257266"/>
              <a:gd name="connsiteX129" fmla="*/ 2564873 w 5227821"/>
              <a:gd name="connsiteY129" fmla="*/ 180739 h 1257266"/>
              <a:gd name="connsiteX130" fmla="*/ 2737821 w 5227821"/>
              <a:gd name="connsiteY130" fmla="*/ 176974 h 1257266"/>
              <a:gd name="connsiteX131" fmla="*/ 2737821 w 5227821"/>
              <a:gd name="connsiteY131" fmla="*/ 169443 h 1257266"/>
              <a:gd name="connsiteX132" fmla="*/ 2794217 w 5227821"/>
              <a:gd name="connsiteY132" fmla="*/ 176974 h 1257266"/>
              <a:gd name="connsiteX133" fmla="*/ 2805496 w 5227821"/>
              <a:gd name="connsiteY133" fmla="*/ 169443 h 1257266"/>
              <a:gd name="connsiteX134" fmla="*/ 3568723 w 5227821"/>
              <a:gd name="connsiteY134" fmla="*/ 165678 h 1257266"/>
              <a:gd name="connsiteX135" fmla="*/ 3673996 w 5227821"/>
              <a:gd name="connsiteY135" fmla="*/ 158147 h 1257266"/>
              <a:gd name="connsiteX136" fmla="*/ 3719113 w 5227821"/>
              <a:gd name="connsiteY136" fmla="*/ 161912 h 1257266"/>
              <a:gd name="connsiteX137" fmla="*/ 3880782 w 5227821"/>
              <a:gd name="connsiteY137" fmla="*/ 150616 h 1257266"/>
              <a:gd name="connsiteX138" fmla="*/ 3869503 w 5227821"/>
              <a:gd name="connsiteY138" fmla="*/ 161912 h 1257266"/>
              <a:gd name="connsiteX139" fmla="*/ 3922139 w 5227821"/>
              <a:gd name="connsiteY139" fmla="*/ 169443 h 1257266"/>
              <a:gd name="connsiteX140" fmla="*/ 4046210 w 5227821"/>
              <a:gd name="connsiteY140" fmla="*/ 165678 h 1257266"/>
              <a:gd name="connsiteX141" fmla="*/ 4083807 w 5227821"/>
              <a:gd name="connsiteY141" fmla="*/ 165678 h 1257266"/>
              <a:gd name="connsiteX142" fmla="*/ 4083807 w 5227821"/>
              <a:gd name="connsiteY142" fmla="*/ 169443 h 1257266"/>
              <a:gd name="connsiteX143" fmla="*/ 4181561 w 5227821"/>
              <a:gd name="connsiteY143" fmla="*/ 173208 h 1257266"/>
              <a:gd name="connsiteX144" fmla="*/ 4264275 w 5227821"/>
              <a:gd name="connsiteY144" fmla="*/ 173208 h 1257266"/>
              <a:gd name="connsiteX145" fmla="*/ 4316911 w 5227821"/>
              <a:gd name="connsiteY145" fmla="*/ 184504 h 1257266"/>
              <a:gd name="connsiteX146" fmla="*/ 4440983 w 5227821"/>
              <a:gd name="connsiteY146" fmla="*/ 184504 h 1257266"/>
              <a:gd name="connsiteX147" fmla="*/ 4433463 w 5227821"/>
              <a:gd name="connsiteY147" fmla="*/ 192035 h 1257266"/>
              <a:gd name="connsiteX148" fmla="*/ 4512418 w 5227821"/>
              <a:gd name="connsiteY148" fmla="*/ 199566 h 1257266"/>
              <a:gd name="connsiteX149" fmla="*/ 4550015 w 5227821"/>
              <a:gd name="connsiteY149" fmla="*/ 203331 h 1257266"/>
              <a:gd name="connsiteX150" fmla="*/ 4557535 w 5227821"/>
              <a:gd name="connsiteY150" fmla="*/ 199566 h 1257266"/>
              <a:gd name="connsiteX151" fmla="*/ 4568814 w 5227821"/>
              <a:gd name="connsiteY151" fmla="*/ 207097 h 1257266"/>
              <a:gd name="connsiteX152" fmla="*/ 4644009 w 5227821"/>
              <a:gd name="connsiteY152" fmla="*/ 233455 h 1257266"/>
              <a:gd name="connsiteX153" fmla="*/ 4775599 w 5227821"/>
              <a:gd name="connsiteY153" fmla="*/ 237220 h 1257266"/>
              <a:gd name="connsiteX154" fmla="*/ 4828236 w 5227821"/>
              <a:gd name="connsiteY154" fmla="*/ 199566 h 1257266"/>
              <a:gd name="connsiteX155" fmla="*/ 4783119 w 5227821"/>
              <a:gd name="connsiteY155" fmla="*/ 188270 h 1257266"/>
              <a:gd name="connsiteX156" fmla="*/ 4828236 w 5227821"/>
              <a:gd name="connsiteY156" fmla="*/ 195801 h 1257266"/>
              <a:gd name="connsiteX157" fmla="*/ 4850795 w 5227821"/>
              <a:gd name="connsiteY157" fmla="*/ 180739 h 1257266"/>
              <a:gd name="connsiteX158" fmla="*/ 4794399 w 5227821"/>
              <a:gd name="connsiteY158" fmla="*/ 150616 h 1257266"/>
              <a:gd name="connsiteX159" fmla="*/ 4813197 w 5227821"/>
              <a:gd name="connsiteY159" fmla="*/ 143085 h 1257266"/>
              <a:gd name="connsiteX160" fmla="*/ 4738002 w 5227821"/>
              <a:gd name="connsiteY160" fmla="*/ 135554 h 1257266"/>
              <a:gd name="connsiteX161" fmla="*/ 4677847 w 5227821"/>
              <a:gd name="connsiteY161" fmla="*/ 139320 h 1257266"/>
              <a:gd name="connsiteX162" fmla="*/ 4644009 w 5227821"/>
              <a:gd name="connsiteY162" fmla="*/ 116727 h 1257266"/>
              <a:gd name="connsiteX163" fmla="*/ 4516177 w 5227821"/>
              <a:gd name="connsiteY163" fmla="*/ 109197 h 1257266"/>
              <a:gd name="connsiteX164" fmla="*/ 4444743 w 5227821"/>
              <a:gd name="connsiteY164" fmla="*/ 90370 h 1257266"/>
              <a:gd name="connsiteX165" fmla="*/ 4380827 w 5227821"/>
              <a:gd name="connsiteY165" fmla="*/ 82839 h 1257266"/>
              <a:gd name="connsiteX166" fmla="*/ 4365788 w 5227821"/>
              <a:gd name="connsiteY166" fmla="*/ 90370 h 1257266"/>
              <a:gd name="connsiteX167" fmla="*/ 4354509 w 5227821"/>
              <a:gd name="connsiteY167" fmla="*/ 86604 h 1257266"/>
              <a:gd name="connsiteX168" fmla="*/ 4331951 w 5227821"/>
              <a:gd name="connsiteY168" fmla="*/ 82839 h 1257266"/>
              <a:gd name="connsiteX169" fmla="*/ 4335710 w 5227821"/>
              <a:gd name="connsiteY169" fmla="*/ 67777 h 1257266"/>
              <a:gd name="connsiteX170" fmla="*/ 4474821 w 5227821"/>
              <a:gd name="connsiteY170" fmla="*/ 79073 h 1257266"/>
              <a:gd name="connsiteX171" fmla="*/ 4561295 w 5227821"/>
              <a:gd name="connsiteY171" fmla="*/ 90370 h 1257266"/>
              <a:gd name="connsiteX172" fmla="*/ 4681606 w 5227821"/>
              <a:gd name="connsiteY172" fmla="*/ 94135 h 1257266"/>
              <a:gd name="connsiteX173" fmla="*/ 4685366 w 5227821"/>
              <a:gd name="connsiteY173" fmla="*/ 97900 h 1257266"/>
              <a:gd name="connsiteX174" fmla="*/ 4801918 w 5227821"/>
              <a:gd name="connsiteY174" fmla="*/ 109197 h 1257266"/>
              <a:gd name="connsiteX175" fmla="*/ 4809437 w 5227821"/>
              <a:gd name="connsiteY175" fmla="*/ 112962 h 1257266"/>
              <a:gd name="connsiteX176" fmla="*/ 4824476 w 5227821"/>
              <a:gd name="connsiteY176" fmla="*/ 105431 h 1257266"/>
              <a:gd name="connsiteX177" fmla="*/ 4828236 w 5227821"/>
              <a:gd name="connsiteY177" fmla="*/ 109197 h 1257266"/>
              <a:gd name="connsiteX178" fmla="*/ 4805677 w 5227821"/>
              <a:gd name="connsiteY178" fmla="*/ 124258 h 1257266"/>
              <a:gd name="connsiteX179" fmla="*/ 4903431 w 5227821"/>
              <a:gd name="connsiteY179" fmla="*/ 124258 h 1257266"/>
              <a:gd name="connsiteX180" fmla="*/ 4925989 w 5227821"/>
              <a:gd name="connsiteY180" fmla="*/ 143085 h 1257266"/>
              <a:gd name="connsiteX181" fmla="*/ 4941028 w 5227821"/>
              <a:gd name="connsiteY181" fmla="*/ 143085 h 1257266"/>
              <a:gd name="connsiteX182" fmla="*/ 4922229 w 5227821"/>
              <a:gd name="connsiteY182" fmla="*/ 109197 h 1257266"/>
              <a:gd name="connsiteX183" fmla="*/ 4956067 w 5227821"/>
              <a:gd name="connsiteY183" fmla="*/ 97900 h 1257266"/>
              <a:gd name="connsiteX184" fmla="*/ 4959827 w 5227821"/>
              <a:gd name="connsiteY184" fmla="*/ 94135 h 1257266"/>
              <a:gd name="connsiteX185" fmla="*/ 4922229 w 5227821"/>
              <a:gd name="connsiteY185" fmla="*/ 97900 h 1257266"/>
              <a:gd name="connsiteX186" fmla="*/ 4903431 w 5227821"/>
              <a:gd name="connsiteY186" fmla="*/ 86604 h 1257266"/>
              <a:gd name="connsiteX187" fmla="*/ 4933509 w 5227821"/>
              <a:gd name="connsiteY187" fmla="*/ 75308 h 1257266"/>
              <a:gd name="connsiteX188" fmla="*/ 4929749 w 5227821"/>
              <a:gd name="connsiteY188" fmla="*/ 71543 h 1257266"/>
              <a:gd name="connsiteX189" fmla="*/ 5068859 w 5227821"/>
              <a:gd name="connsiteY189" fmla="*/ 79073 h 1257266"/>
              <a:gd name="connsiteX190" fmla="*/ 5061339 w 5227821"/>
              <a:gd name="connsiteY190" fmla="*/ 75308 h 1257266"/>
              <a:gd name="connsiteX191" fmla="*/ 5132775 w 5227821"/>
              <a:gd name="connsiteY191" fmla="*/ 75308 h 1257266"/>
              <a:gd name="connsiteX192" fmla="*/ 5136535 w 5227821"/>
              <a:gd name="connsiteY192" fmla="*/ 71543 h 1257266"/>
              <a:gd name="connsiteX193" fmla="*/ 5087658 w 5227821"/>
              <a:gd name="connsiteY193" fmla="*/ 71543 h 1257266"/>
              <a:gd name="connsiteX194" fmla="*/ 5189171 w 5227821"/>
              <a:gd name="connsiteY194" fmla="*/ 52716 h 1257266"/>
              <a:gd name="connsiteX195" fmla="*/ 5095177 w 5227821"/>
              <a:gd name="connsiteY195" fmla="*/ 101666 h 1257266"/>
              <a:gd name="connsiteX196" fmla="*/ 5065099 w 5227821"/>
              <a:gd name="connsiteY196" fmla="*/ 131789 h 1257266"/>
              <a:gd name="connsiteX197" fmla="*/ 4971106 w 5227821"/>
              <a:gd name="connsiteY197" fmla="*/ 161912 h 1257266"/>
              <a:gd name="connsiteX198" fmla="*/ 5035021 w 5227821"/>
              <a:gd name="connsiteY198" fmla="*/ 165678 h 1257266"/>
              <a:gd name="connsiteX199" fmla="*/ 5023743 w 5227821"/>
              <a:gd name="connsiteY199" fmla="*/ 184504 h 1257266"/>
              <a:gd name="connsiteX200" fmla="*/ 4869593 w 5227821"/>
              <a:gd name="connsiteY200" fmla="*/ 263578 h 1257266"/>
              <a:gd name="connsiteX201" fmla="*/ 4884632 w 5227821"/>
              <a:gd name="connsiteY201" fmla="*/ 267343 h 1257266"/>
              <a:gd name="connsiteX202" fmla="*/ 4798158 w 5227821"/>
              <a:gd name="connsiteY202" fmla="*/ 312528 h 1257266"/>
              <a:gd name="connsiteX203" fmla="*/ 4809437 w 5227821"/>
              <a:gd name="connsiteY203" fmla="*/ 316293 h 1257266"/>
              <a:gd name="connsiteX204" fmla="*/ 4783119 w 5227821"/>
              <a:gd name="connsiteY204" fmla="*/ 327589 h 1257266"/>
              <a:gd name="connsiteX205" fmla="*/ 4783119 w 5227821"/>
              <a:gd name="connsiteY205" fmla="*/ 304997 h 1257266"/>
              <a:gd name="connsiteX206" fmla="*/ 4760561 w 5227821"/>
              <a:gd name="connsiteY206" fmla="*/ 335120 h 1257266"/>
              <a:gd name="connsiteX207" fmla="*/ 4801918 w 5227821"/>
              <a:gd name="connsiteY207" fmla="*/ 342651 h 1257266"/>
              <a:gd name="connsiteX208" fmla="*/ 4801918 w 5227821"/>
              <a:gd name="connsiteY208" fmla="*/ 350182 h 1257266"/>
              <a:gd name="connsiteX209" fmla="*/ 4820717 w 5227821"/>
              <a:gd name="connsiteY209" fmla="*/ 346416 h 1257266"/>
              <a:gd name="connsiteX210" fmla="*/ 4816957 w 5227821"/>
              <a:gd name="connsiteY210" fmla="*/ 342651 h 1257266"/>
              <a:gd name="connsiteX211" fmla="*/ 4850795 w 5227821"/>
              <a:gd name="connsiteY211" fmla="*/ 342651 h 1257266"/>
              <a:gd name="connsiteX212" fmla="*/ 4850795 w 5227821"/>
              <a:gd name="connsiteY212" fmla="*/ 331355 h 1257266"/>
              <a:gd name="connsiteX213" fmla="*/ 4910950 w 5227821"/>
              <a:gd name="connsiteY213" fmla="*/ 323824 h 1257266"/>
              <a:gd name="connsiteX214" fmla="*/ 4918469 w 5227821"/>
              <a:gd name="connsiteY214" fmla="*/ 293701 h 1257266"/>
              <a:gd name="connsiteX215" fmla="*/ 4937269 w 5227821"/>
              <a:gd name="connsiteY215" fmla="*/ 278639 h 1257266"/>
              <a:gd name="connsiteX216" fmla="*/ 4941028 w 5227821"/>
              <a:gd name="connsiteY216" fmla="*/ 278639 h 1257266"/>
              <a:gd name="connsiteX217" fmla="*/ 4997424 w 5227821"/>
              <a:gd name="connsiteY217" fmla="*/ 256047 h 1257266"/>
              <a:gd name="connsiteX218" fmla="*/ 5042541 w 5227821"/>
              <a:gd name="connsiteY218" fmla="*/ 263578 h 1257266"/>
              <a:gd name="connsiteX219" fmla="*/ 5027502 w 5227821"/>
              <a:gd name="connsiteY219" fmla="*/ 278639 h 1257266"/>
              <a:gd name="connsiteX220" fmla="*/ 5061339 w 5227821"/>
              <a:gd name="connsiteY220" fmla="*/ 278639 h 1257266"/>
              <a:gd name="connsiteX221" fmla="*/ 5019983 w 5227821"/>
              <a:gd name="connsiteY221" fmla="*/ 323824 h 1257266"/>
              <a:gd name="connsiteX222" fmla="*/ 5012463 w 5227821"/>
              <a:gd name="connsiteY222" fmla="*/ 342651 h 1257266"/>
              <a:gd name="connsiteX223" fmla="*/ 5001184 w 5227821"/>
              <a:gd name="connsiteY223" fmla="*/ 335120 h 1257266"/>
              <a:gd name="connsiteX224" fmla="*/ 5001184 w 5227821"/>
              <a:gd name="connsiteY224" fmla="*/ 327589 h 1257266"/>
              <a:gd name="connsiteX225" fmla="*/ 4986145 w 5227821"/>
              <a:gd name="connsiteY225" fmla="*/ 335120 h 1257266"/>
              <a:gd name="connsiteX226" fmla="*/ 4978625 w 5227821"/>
              <a:gd name="connsiteY226" fmla="*/ 335120 h 1257266"/>
              <a:gd name="connsiteX227" fmla="*/ 4993665 w 5227821"/>
              <a:gd name="connsiteY227" fmla="*/ 301232 h 1257266"/>
              <a:gd name="connsiteX228" fmla="*/ 5008703 w 5227821"/>
              <a:gd name="connsiteY228" fmla="*/ 297466 h 1257266"/>
              <a:gd name="connsiteX229" fmla="*/ 5012463 w 5227821"/>
              <a:gd name="connsiteY229" fmla="*/ 286170 h 1257266"/>
              <a:gd name="connsiteX230" fmla="*/ 5027502 w 5227821"/>
              <a:gd name="connsiteY230" fmla="*/ 282405 h 1257266"/>
              <a:gd name="connsiteX231" fmla="*/ 4982385 w 5227821"/>
              <a:gd name="connsiteY231" fmla="*/ 286170 h 1257266"/>
              <a:gd name="connsiteX232" fmla="*/ 4888392 w 5227821"/>
              <a:gd name="connsiteY232" fmla="*/ 353947 h 1257266"/>
              <a:gd name="connsiteX233" fmla="*/ 4884632 w 5227821"/>
              <a:gd name="connsiteY233" fmla="*/ 365243 h 1257266"/>
              <a:gd name="connsiteX234" fmla="*/ 4869593 w 5227821"/>
              <a:gd name="connsiteY234" fmla="*/ 369009 h 1257266"/>
              <a:gd name="connsiteX235" fmla="*/ 4880873 w 5227821"/>
              <a:gd name="connsiteY235" fmla="*/ 380305 h 1257266"/>
              <a:gd name="connsiteX236" fmla="*/ 4865833 w 5227821"/>
              <a:gd name="connsiteY236" fmla="*/ 387836 h 1257266"/>
              <a:gd name="connsiteX237" fmla="*/ 4903431 w 5227821"/>
              <a:gd name="connsiteY237" fmla="*/ 391601 h 1257266"/>
              <a:gd name="connsiteX238" fmla="*/ 4929749 w 5227821"/>
              <a:gd name="connsiteY238" fmla="*/ 384070 h 1257266"/>
              <a:gd name="connsiteX239" fmla="*/ 4918469 w 5227821"/>
              <a:gd name="connsiteY239" fmla="*/ 395366 h 1257266"/>
              <a:gd name="connsiteX240" fmla="*/ 4925989 w 5227821"/>
              <a:gd name="connsiteY240" fmla="*/ 399132 h 1257266"/>
              <a:gd name="connsiteX241" fmla="*/ 4971106 w 5227821"/>
              <a:gd name="connsiteY241" fmla="*/ 380305 h 1257266"/>
              <a:gd name="connsiteX242" fmla="*/ 4967347 w 5227821"/>
              <a:gd name="connsiteY242" fmla="*/ 429255 h 1257266"/>
              <a:gd name="connsiteX243" fmla="*/ 5001184 w 5227821"/>
              <a:gd name="connsiteY243" fmla="*/ 391601 h 1257266"/>
              <a:gd name="connsiteX244" fmla="*/ 5012463 w 5227821"/>
              <a:gd name="connsiteY244" fmla="*/ 391601 h 1257266"/>
              <a:gd name="connsiteX245" fmla="*/ 4974865 w 5227821"/>
              <a:gd name="connsiteY245" fmla="*/ 466909 h 1257266"/>
              <a:gd name="connsiteX246" fmla="*/ 4971106 w 5227821"/>
              <a:gd name="connsiteY246" fmla="*/ 466909 h 1257266"/>
              <a:gd name="connsiteX247" fmla="*/ 4963587 w 5227821"/>
              <a:gd name="connsiteY247" fmla="*/ 470674 h 1257266"/>
              <a:gd name="connsiteX248" fmla="*/ 4952307 w 5227821"/>
              <a:gd name="connsiteY248" fmla="*/ 470674 h 1257266"/>
              <a:gd name="connsiteX249" fmla="*/ 4929749 w 5227821"/>
              <a:gd name="connsiteY249" fmla="*/ 474440 h 1257266"/>
              <a:gd name="connsiteX250" fmla="*/ 4952307 w 5227821"/>
              <a:gd name="connsiteY250" fmla="*/ 470674 h 1257266"/>
              <a:gd name="connsiteX251" fmla="*/ 4963587 w 5227821"/>
              <a:gd name="connsiteY251" fmla="*/ 470674 h 1257266"/>
              <a:gd name="connsiteX252" fmla="*/ 4967347 w 5227821"/>
              <a:gd name="connsiteY252" fmla="*/ 470674 h 1257266"/>
              <a:gd name="connsiteX253" fmla="*/ 4944788 w 5227821"/>
              <a:gd name="connsiteY253" fmla="*/ 481970 h 1257266"/>
              <a:gd name="connsiteX254" fmla="*/ 4959827 w 5227821"/>
              <a:gd name="connsiteY254" fmla="*/ 485736 h 1257266"/>
              <a:gd name="connsiteX255" fmla="*/ 4974865 w 5227821"/>
              <a:gd name="connsiteY255" fmla="*/ 474440 h 1257266"/>
              <a:gd name="connsiteX256" fmla="*/ 4978625 w 5227821"/>
              <a:gd name="connsiteY256" fmla="*/ 478205 h 1257266"/>
              <a:gd name="connsiteX257" fmla="*/ 4993665 w 5227821"/>
              <a:gd name="connsiteY257" fmla="*/ 455613 h 1257266"/>
              <a:gd name="connsiteX258" fmla="*/ 5004943 w 5227821"/>
              <a:gd name="connsiteY258" fmla="*/ 455613 h 1257266"/>
              <a:gd name="connsiteX259" fmla="*/ 5019983 w 5227821"/>
              <a:gd name="connsiteY259" fmla="*/ 497032 h 1257266"/>
              <a:gd name="connsiteX260" fmla="*/ 5046301 w 5227821"/>
              <a:gd name="connsiteY260" fmla="*/ 466909 h 1257266"/>
              <a:gd name="connsiteX261" fmla="*/ 5042541 w 5227821"/>
              <a:gd name="connsiteY261" fmla="*/ 451847 h 1257266"/>
              <a:gd name="connsiteX262" fmla="*/ 5065099 w 5227821"/>
              <a:gd name="connsiteY262" fmla="*/ 448082 h 1257266"/>
              <a:gd name="connsiteX263" fmla="*/ 5065099 w 5227821"/>
              <a:gd name="connsiteY263" fmla="*/ 474440 h 1257266"/>
              <a:gd name="connsiteX264" fmla="*/ 5080139 w 5227821"/>
              <a:gd name="connsiteY264" fmla="*/ 470674 h 1257266"/>
              <a:gd name="connsiteX265" fmla="*/ 5095177 w 5227821"/>
              <a:gd name="connsiteY265" fmla="*/ 497032 h 1257266"/>
              <a:gd name="connsiteX266" fmla="*/ 5072619 w 5227821"/>
              <a:gd name="connsiteY266" fmla="*/ 500797 h 1257266"/>
              <a:gd name="connsiteX267" fmla="*/ 5053821 w 5227821"/>
              <a:gd name="connsiteY267" fmla="*/ 493267 h 1257266"/>
              <a:gd name="connsiteX268" fmla="*/ 5019983 w 5227821"/>
              <a:gd name="connsiteY268" fmla="*/ 504563 h 1257266"/>
              <a:gd name="connsiteX269" fmla="*/ 5038781 w 5227821"/>
              <a:gd name="connsiteY269" fmla="*/ 504563 h 1257266"/>
              <a:gd name="connsiteX270" fmla="*/ 5035021 w 5227821"/>
              <a:gd name="connsiteY270" fmla="*/ 508328 h 1257266"/>
              <a:gd name="connsiteX271" fmla="*/ 5102697 w 5227821"/>
              <a:gd name="connsiteY271" fmla="*/ 508328 h 1257266"/>
              <a:gd name="connsiteX272" fmla="*/ 5110217 w 5227821"/>
              <a:gd name="connsiteY272" fmla="*/ 512094 h 1257266"/>
              <a:gd name="connsiteX273" fmla="*/ 5113976 w 5227821"/>
              <a:gd name="connsiteY273" fmla="*/ 508328 h 1257266"/>
              <a:gd name="connsiteX274" fmla="*/ 5125255 w 5227821"/>
              <a:gd name="connsiteY274" fmla="*/ 504563 h 1257266"/>
              <a:gd name="connsiteX275" fmla="*/ 5113976 w 5227821"/>
              <a:gd name="connsiteY275" fmla="*/ 504563 h 1257266"/>
              <a:gd name="connsiteX276" fmla="*/ 5117736 w 5227821"/>
              <a:gd name="connsiteY276" fmla="*/ 485736 h 1257266"/>
              <a:gd name="connsiteX277" fmla="*/ 5113976 w 5227821"/>
              <a:gd name="connsiteY277" fmla="*/ 444317 h 1257266"/>
              <a:gd name="connsiteX278" fmla="*/ 5159093 w 5227821"/>
              <a:gd name="connsiteY278" fmla="*/ 489501 h 1257266"/>
              <a:gd name="connsiteX279" fmla="*/ 5162853 w 5227821"/>
              <a:gd name="connsiteY279" fmla="*/ 485736 h 1257266"/>
              <a:gd name="connsiteX280" fmla="*/ 5170372 w 5227821"/>
              <a:gd name="connsiteY280" fmla="*/ 489501 h 1257266"/>
              <a:gd name="connsiteX281" fmla="*/ 5170372 w 5227821"/>
              <a:gd name="connsiteY281" fmla="*/ 519624 h 1257266"/>
              <a:gd name="connsiteX282" fmla="*/ 5162853 w 5227821"/>
              <a:gd name="connsiteY282" fmla="*/ 508328 h 1257266"/>
              <a:gd name="connsiteX283" fmla="*/ 5144054 w 5227821"/>
              <a:gd name="connsiteY283" fmla="*/ 549748 h 1257266"/>
              <a:gd name="connsiteX284" fmla="*/ 5110217 w 5227821"/>
              <a:gd name="connsiteY284" fmla="*/ 564809 h 1257266"/>
              <a:gd name="connsiteX285" fmla="*/ 5129015 w 5227821"/>
              <a:gd name="connsiteY285" fmla="*/ 606228 h 1257266"/>
              <a:gd name="connsiteX286" fmla="*/ 5159093 w 5227821"/>
              <a:gd name="connsiteY286" fmla="*/ 591167 h 1257266"/>
              <a:gd name="connsiteX287" fmla="*/ 5129015 w 5227821"/>
              <a:gd name="connsiteY287" fmla="*/ 617524 h 1257266"/>
              <a:gd name="connsiteX288" fmla="*/ 5136535 w 5227821"/>
              <a:gd name="connsiteY288" fmla="*/ 681536 h 1257266"/>
              <a:gd name="connsiteX289" fmla="*/ 5159093 w 5227821"/>
              <a:gd name="connsiteY289" fmla="*/ 692832 h 1257266"/>
              <a:gd name="connsiteX290" fmla="*/ 5207969 w 5227821"/>
              <a:gd name="connsiteY290" fmla="*/ 670240 h 1257266"/>
              <a:gd name="connsiteX291" fmla="*/ 5215489 w 5227821"/>
              <a:gd name="connsiteY291" fmla="*/ 674005 h 1257266"/>
              <a:gd name="connsiteX292" fmla="*/ 5223009 w 5227821"/>
              <a:gd name="connsiteY292" fmla="*/ 670240 h 1257266"/>
              <a:gd name="connsiteX293" fmla="*/ 5226769 w 5227821"/>
              <a:gd name="connsiteY293" fmla="*/ 704128 h 1257266"/>
              <a:gd name="connsiteX294" fmla="*/ 5129015 w 5227821"/>
              <a:gd name="connsiteY294" fmla="*/ 745548 h 1257266"/>
              <a:gd name="connsiteX295" fmla="*/ 5113976 w 5227821"/>
              <a:gd name="connsiteY295" fmla="*/ 745548 h 1257266"/>
              <a:gd name="connsiteX296" fmla="*/ 5117736 w 5227821"/>
              <a:gd name="connsiteY296" fmla="*/ 741782 h 1257266"/>
              <a:gd name="connsiteX297" fmla="*/ 5095177 w 5227821"/>
              <a:gd name="connsiteY297" fmla="*/ 741782 h 1257266"/>
              <a:gd name="connsiteX298" fmla="*/ 5038781 w 5227821"/>
              <a:gd name="connsiteY298" fmla="*/ 749313 h 1257266"/>
              <a:gd name="connsiteX299" fmla="*/ 5117736 w 5227821"/>
              <a:gd name="connsiteY299" fmla="*/ 756844 h 1257266"/>
              <a:gd name="connsiteX300" fmla="*/ 5016223 w 5227821"/>
              <a:gd name="connsiteY300" fmla="*/ 775671 h 1257266"/>
              <a:gd name="connsiteX301" fmla="*/ 4933509 w 5227821"/>
              <a:gd name="connsiteY301" fmla="*/ 768140 h 1257266"/>
              <a:gd name="connsiteX302" fmla="*/ 4892151 w 5227821"/>
              <a:gd name="connsiteY302" fmla="*/ 790732 h 1257266"/>
              <a:gd name="connsiteX303" fmla="*/ 4888392 w 5227821"/>
              <a:gd name="connsiteY303" fmla="*/ 786967 h 1257266"/>
              <a:gd name="connsiteX304" fmla="*/ 4869593 w 5227821"/>
              <a:gd name="connsiteY304" fmla="*/ 809559 h 1257266"/>
              <a:gd name="connsiteX305" fmla="*/ 4873353 w 5227821"/>
              <a:gd name="connsiteY305" fmla="*/ 813325 h 1257266"/>
              <a:gd name="connsiteX306" fmla="*/ 4831995 w 5227821"/>
              <a:gd name="connsiteY306" fmla="*/ 805794 h 1257266"/>
              <a:gd name="connsiteX307" fmla="*/ 4771840 w 5227821"/>
              <a:gd name="connsiteY307" fmla="*/ 820856 h 1257266"/>
              <a:gd name="connsiteX308" fmla="*/ 4764275 w 5227821"/>
              <a:gd name="connsiteY308" fmla="*/ 817267 h 1257266"/>
              <a:gd name="connsiteX309" fmla="*/ 4765000 w 5227821"/>
              <a:gd name="connsiteY309" fmla="*/ 823531 h 1257266"/>
              <a:gd name="connsiteX310" fmla="*/ 4797427 w 5227821"/>
              <a:gd name="connsiteY310" fmla="*/ 839063 h 1257266"/>
              <a:gd name="connsiteX311" fmla="*/ 4801187 w 5227821"/>
              <a:gd name="connsiteY311" fmla="*/ 835298 h 1257266"/>
              <a:gd name="connsiteX312" fmla="*/ 4808706 w 5227821"/>
              <a:gd name="connsiteY312" fmla="*/ 839063 h 1257266"/>
              <a:gd name="connsiteX313" fmla="*/ 4808706 w 5227821"/>
              <a:gd name="connsiteY313" fmla="*/ 869186 h 1257266"/>
              <a:gd name="connsiteX314" fmla="*/ 4801187 w 5227821"/>
              <a:gd name="connsiteY314" fmla="*/ 857890 h 1257266"/>
              <a:gd name="connsiteX315" fmla="*/ 4782388 w 5227821"/>
              <a:gd name="connsiteY315" fmla="*/ 899309 h 1257266"/>
              <a:gd name="connsiteX316" fmla="*/ 4748551 w 5227821"/>
              <a:gd name="connsiteY316" fmla="*/ 914371 h 1257266"/>
              <a:gd name="connsiteX317" fmla="*/ 4767349 w 5227821"/>
              <a:gd name="connsiteY317" fmla="*/ 955790 h 1257266"/>
              <a:gd name="connsiteX318" fmla="*/ 4797427 w 5227821"/>
              <a:gd name="connsiteY318" fmla="*/ 940729 h 1257266"/>
              <a:gd name="connsiteX319" fmla="*/ 4767349 w 5227821"/>
              <a:gd name="connsiteY319" fmla="*/ 967086 h 1257266"/>
              <a:gd name="connsiteX320" fmla="*/ 4774869 w 5227821"/>
              <a:gd name="connsiteY320" fmla="*/ 1031098 h 1257266"/>
              <a:gd name="connsiteX321" fmla="*/ 4797427 w 5227821"/>
              <a:gd name="connsiteY321" fmla="*/ 1042394 h 1257266"/>
              <a:gd name="connsiteX322" fmla="*/ 4846303 w 5227821"/>
              <a:gd name="connsiteY322" fmla="*/ 1019802 h 1257266"/>
              <a:gd name="connsiteX323" fmla="*/ 4853823 w 5227821"/>
              <a:gd name="connsiteY323" fmla="*/ 1023567 h 1257266"/>
              <a:gd name="connsiteX324" fmla="*/ 4861343 w 5227821"/>
              <a:gd name="connsiteY324" fmla="*/ 1019802 h 1257266"/>
              <a:gd name="connsiteX325" fmla="*/ 4865103 w 5227821"/>
              <a:gd name="connsiteY325" fmla="*/ 1053690 h 1257266"/>
              <a:gd name="connsiteX326" fmla="*/ 4767349 w 5227821"/>
              <a:gd name="connsiteY326" fmla="*/ 1095110 h 1257266"/>
              <a:gd name="connsiteX327" fmla="*/ 4752310 w 5227821"/>
              <a:gd name="connsiteY327" fmla="*/ 1095110 h 1257266"/>
              <a:gd name="connsiteX328" fmla="*/ 4756070 w 5227821"/>
              <a:gd name="connsiteY328" fmla="*/ 1091344 h 1257266"/>
              <a:gd name="connsiteX329" fmla="*/ 4733511 w 5227821"/>
              <a:gd name="connsiteY329" fmla="*/ 1091344 h 1257266"/>
              <a:gd name="connsiteX330" fmla="*/ 4677115 w 5227821"/>
              <a:gd name="connsiteY330" fmla="*/ 1098875 h 1257266"/>
              <a:gd name="connsiteX331" fmla="*/ 4756070 w 5227821"/>
              <a:gd name="connsiteY331" fmla="*/ 1106406 h 1257266"/>
              <a:gd name="connsiteX332" fmla="*/ 4654557 w 5227821"/>
              <a:gd name="connsiteY332" fmla="*/ 1125233 h 1257266"/>
              <a:gd name="connsiteX333" fmla="*/ 4571843 w 5227821"/>
              <a:gd name="connsiteY333" fmla="*/ 1117702 h 1257266"/>
              <a:gd name="connsiteX334" fmla="*/ 4530485 w 5227821"/>
              <a:gd name="connsiteY334" fmla="*/ 1140294 h 1257266"/>
              <a:gd name="connsiteX335" fmla="*/ 4526726 w 5227821"/>
              <a:gd name="connsiteY335" fmla="*/ 1136529 h 1257266"/>
              <a:gd name="connsiteX336" fmla="*/ 4507927 w 5227821"/>
              <a:gd name="connsiteY336" fmla="*/ 1159121 h 1257266"/>
              <a:gd name="connsiteX337" fmla="*/ 4511687 w 5227821"/>
              <a:gd name="connsiteY337" fmla="*/ 1162887 h 1257266"/>
              <a:gd name="connsiteX338" fmla="*/ 4470329 w 5227821"/>
              <a:gd name="connsiteY338" fmla="*/ 1155356 h 1257266"/>
              <a:gd name="connsiteX339" fmla="*/ 4410174 w 5227821"/>
              <a:gd name="connsiteY339" fmla="*/ 1170418 h 1257266"/>
              <a:gd name="connsiteX340" fmla="*/ 4406414 w 5227821"/>
              <a:gd name="connsiteY340" fmla="*/ 1159121 h 1257266"/>
              <a:gd name="connsiteX341" fmla="*/ 4342499 w 5227821"/>
              <a:gd name="connsiteY341" fmla="*/ 1159121 h 1257266"/>
              <a:gd name="connsiteX342" fmla="*/ 4350018 w 5227821"/>
              <a:gd name="connsiteY342" fmla="*/ 1166652 h 1257266"/>
              <a:gd name="connsiteX343" fmla="*/ 4282343 w 5227821"/>
              <a:gd name="connsiteY343" fmla="*/ 1170418 h 1257266"/>
              <a:gd name="connsiteX344" fmla="*/ 4297381 w 5227821"/>
              <a:gd name="connsiteY344" fmla="*/ 1177948 h 1257266"/>
              <a:gd name="connsiteX345" fmla="*/ 4229707 w 5227821"/>
              <a:gd name="connsiteY345" fmla="*/ 1177948 h 1257266"/>
              <a:gd name="connsiteX346" fmla="*/ 4146992 w 5227821"/>
              <a:gd name="connsiteY346" fmla="*/ 1200541 h 1257266"/>
              <a:gd name="connsiteX347" fmla="*/ 4041719 w 5227821"/>
              <a:gd name="connsiteY347" fmla="*/ 1215602 h 1257266"/>
              <a:gd name="connsiteX348" fmla="*/ 3665745 w 5227821"/>
              <a:gd name="connsiteY348" fmla="*/ 1249491 h 1257266"/>
              <a:gd name="connsiteX349" fmla="*/ 3673265 w 5227821"/>
              <a:gd name="connsiteY349" fmla="*/ 1245725 h 1257266"/>
              <a:gd name="connsiteX350" fmla="*/ 3349927 w 5227821"/>
              <a:gd name="connsiteY350" fmla="*/ 1257022 h 1257266"/>
              <a:gd name="connsiteX351" fmla="*/ 3500317 w 5227821"/>
              <a:gd name="connsiteY351" fmla="*/ 1234429 h 1257266"/>
              <a:gd name="connsiteX352" fmla="*/ 3244655 w 5227821"/>
              <a:gd name="connsiteY352" fmla="*/ 1241960 h 1257266"/>
              <a:gd name="connsiteX353" fmla="*/ 3316090 w 5227821"/>
              <a:gd name="connsiteY353" fmla="*/ 1226898 h 1257266"/>
              <a:gd name="connsiteX354" fmla="*/ 3327369 w 5227821"/>
              <a:gd name="connsiteY354" fmla="*/ 1234429 h 1257266"/>
              <a:gd name="connsiteX355" fmla="*/ 3410083 w 5227821"/>
              <a:gd name="connsiteY355" fmla="*/ 1215602 h 1257266"/>
              <a:gd name="connsiteX356" fmla="*/ 3410083 w 5227821"/>
              <a:gd name="connsiteY356" fmla="*/ 1208071 h 1257266"/>
              <a:gd name="connsiteX357" fmla="*/ 3996603 w 5227821"/>
              <a:gd name="connsiteY357" fmla="*/ 1147825 h 1257266"/>
              <a:gd name="connsiteX358" fmla="*/ 4056759 w 5227821"/>
              <a:gd name="connsiteY358" fmla="*/ 1136529 h 1257266"/>
              <a:gd name="connsiteX359" fmla="*/ 4037960 w 5227821"/>
              <a:gd name="connsiteY359" fmla="*/ 1132764 h 1257266"/>
              <a:gd name="connsiteX360" fmla="*/ 4064278 w 5227821"/>
              <a:gd name="connsiteY360" fmla="*/ 1132764 h 1257266"/>
              <a:gd name="connsiteX361" fmla="*/ 4068037 w 5227821"/>
              <a:gd name="connsiteY361" fmla="*/ 1132764 h 1257266"/>
              <a:gd name="connsiteX362" fmla="*/ 4105635 w 5227821"/>
              <a:gd name="connsiteY362" fmla="*/ 1121467 h 1257266"/>
              <a:gd name="connsiteX363" fmla="*/ 4064278 w 5227821"/>
              <a:gd name="connsiteY363" fmla="*/ 1121467 h 1257266"/>
              <a:gd name="connsiteX364" fmla="*/ 3985323 w 5227821"/>
              <a:gd name="connsiteY364" fmla="*/ 1121467 h 1257266"/>
              <a:gd name="connsiteX365" fmla="*/ 3631908 w 5227821"/>
              <a:gd name="connsiteY365" fmla="*/ 1132764 h 1257266"/>
              <a:gd name="connsiteX366" fmla="*/ 3470239 w 5227821"/>
              <a:gd name="connsiteY366" fmla="*/ 1140294 h 1257266"/>
              <a:gd name="connsiteX367" fmla="*/ 2981473 w 5227821"/>
              <a:gd name="connsiteY367" fmla="*/ 1170418 h 1257266"/>
              <a:gd name="connsiteX368" fmla="*/ 2789726 w 5227821"/>
              <a:gd name="connsiteY368" fmla="*/ 1166652 h 1257266"/>
              <a:gd name="connsiteX369" fmla="*/ 2519025 w 5227821"/>
              <a:gd name="connsiteY369" fmla="*/ 1159121 h 1257266"/>
              <a:gd name="connsiteX370" fmla="*/ 2511506 w 5227821"/>
              <a:gd name="connsiteY370" fmla="*/ 1162887 h 1257266"/>
              <a:gd name="connsiteX371" fmla="*/ 2488947 w 5227821"/>
              <a:gd name="connsiteY371" fmla="*/ 1166652 h 1257266"/>
              <a:gd name="connsiteX372" fmla="*/ 2368636 w 5227821"/>
              <a:gd name="connsiteY372" fmla="*/ 1177948 h 1257266"/>
              <a:gd name="connsiteX373" fmla="*/ 2225766 w 5227821"/>
              <a:gd name="connsiteY373" fmla="*/ 1196775 h 1257266"/>
              <a:gd name="connsiteX374" fmla="*/ 1466298 w 5227821"/>
              <a:gd name="connsiteY374" fmla="*/ 1189245 h 1257266"/>
              <a:gd name="connsiteX375" fmla="*/ 1259513 w 5227821"/>
              <a:gd name="connsiteY375" fmla="*/ 1177948 h 1257266"/>
              <a:gd name="connsiteX376" fmla="*/ 992571 w 5227821"/>
              <a:gd name="connsiteY376" fmla="*/ 1162887 h 1257266"/>
              <a:gd name="connsiteX377" fmla="*/ 891058 w 5227821"/>
              <a:gd name="connsiteY377" fmla="*/ 1155356 h 1257266"/>
              <a:gd name="connsiteX378" fmla="*/ 883995 w 5227821"/>
              <a:gd name="connsiteY378" fmla="*/ 1158893 h 1257266"/>
              <a:gd name="connsiteX379" fmla="*/ 876489 w 5227821"/>
              <a:gd name="connsiteY379" fmla="*/ 1158650 h 1257266"/>
              <a:gd name="connsiteX380" fmla="*/ 774506 w 5227821"/>
              <a:gd name="connsiteY380" fmla="*/ 1155356 h 1257266"/>
              <a:gd name="connsiteX381" fmla="*/ 710591 w 5227821"/>
              <a:gd name="connsiteY381" fmla="*/ 1166652 h 1257266"/>
              <a:gd name="connsiteX382" fmla="*/ 530123 w 5227821"/>
              <a:gd name="connsiteY382" fmla="*/ 1166652 h 1257266"/>
              <a:gd name="connsiteX383" fmla="*/ 511325 w 5227821"/>
              <a:gd name="connsiteY383" fmla="*/ 1170418 h 1257266"/>
              <a:gd name="connsiteX384" fmla="*/ 507565 w 5227821"/>
              <a:gd name="connsiteY384" fmla="*/ 1170418 h 1257266"/>
              <a:gd name="connsiteX385" fmla="*/ 488766 w 5227821"/>
              <a:gd name="connsiteY385" fmla="*/ 1174183 h 1257266"/>
              <a:gd name="connsiteX386" fmla="*/ 424851 w 5227821"/>
              <a:gd name="connsiteY386" fmla="*/ 1170418 h 1257266"/>
              <a:gd name="connsiteX387" fmla="*/ 421091 w 5227821"/>
              <a:gd name="connsiteY387" fmla="*/ 1162887 h 1257266"/>
              <a:gd name="connsiteX388" fmla="*/ 398533 w 5227821"/>
              <a:gd name="connsiteY388" fmla="*/ 1170418 h 1257266"/>
              <a:gd name="connsiteX389" fmla="*/ 357175 w 5227821"/>
              <a:gd name="connsiteY389" fmla="*/ 1159121 h 1257266"/>
              <a:gd name="connsiteX390" fmla="*/ 334617 w 5227821"/>
              <a:gd name="connsiteY390" fmla="*/ 1162887 h 1257266"/>
              <a:gd name="connsiteX391" fmla="*/ 338376 w 5227821"/>
              <a:gd name="connsiteY391" fmla="*/ 1155356 h 1257266"/>
              <a:gd name="connsiteX392" fmla="*/ 300779 w 5227821"/>
              <a:gd name="connsiteY392" fmla="*/ 1155356 h 1257266"/>
              <a:gd name="connsiteX393" fmla="*/ 233104 w 5227821"/>
              <a:gd name="connsiteY393" fmla="*/ 1140294 h 1257266"/>
              <a:gd name="connsiteX394" fmla="*/ 353415 w 5227821"/>
              <a:gd name="connsiteY394" fmla="*/ 1125233 h 1257266"/>
              <a:gd name="connsiteX395" fmla="*/ 315818 w 5227821"/>
              <a:gd name="connsiteY395" fmla="*/ 1125233 h 1257266"/>
              <a:gd name="connsiteX396" fmla="*/ 327097 w 5227821"/>
              <a:gd name="connsiteY396" fmla="*/ 1110171 h 1257266"/>
              <a:gd name="connsiteX397" fmla="*/ 274461 w 5227821"/>
              <a:gd name="connsiteY397" fmla="*/ 1102641 h 1257266"/>
              <a:gd name="connsiteX398" fmla="*/ 387253 w 5227821"/>
              <a:gd name="connsiteY398" fmla="*/ 1095110 h 1257266"/>
              <a:gd name="connsiteX399" fmla="*/ 334617 w 5227821"/>
              <a:gd name="connsiteY399" fmla="*/ 1095110 h 1257266"/>
              <a:gd name="connsiteX400" fmla="*/ 312058 w 5227821"/>
              <a:gd name="connsiteY400" fmla="*/ 1083814 h 1257266"/>
              <a:gd name="connsiteX401" fmla="*/ 338376 w 5227821"/>
              <a:gd name="connsiteY401" fmla="*/ 1072517 h 1257266"/>
              <a:gd name="connsiteX402" fmla="*/ 372214 w 5227821"/>
              <a:gd name="connsiteY402" fmla="*/ 1046160 h 1257266"/>
              <a:gd name="connsiteX403" fmla="*/ 293259 w 5227821"/>
              <a:gd name="connsiteY403" fmla="*/ 1064987 h 1257266"/>
              <a:gd name="connsiteX404" fmla="*/ 281980 w 5227821"/>
              <a:gd name="connsiteY404" fmla="*/ 1034863 h 1257266"/>
              <a:gd name="connsiteX405" fmla="*/ 308298 w 5227821"/>
              <a:gd name="connsiteY405" fmla="*/ 985913 h 1257266"/>
              <a:gd name="connsiteX406" fmla="*/ 323337 w 5227821"/>
              <a:gd name="connsiteY406" fmla="*/ 978383 h 1257266"/>
              <a:gd name="connsiteX407" fmla="*/ 263181 w 5227821"/>
              <a:gd name="connsiteY407" fmla="*/ 970852 h 1257266"/>
              <a:gd name="connsiteX408" fmla="*/ 300779 w 5227821"/>
              <a:gd name="connsiteY408" fmla="*/ 918136 h 1257266"/>
              <a:gd name="connsiteX409" fmla="*/ 330857 w 5227821"/>
              <a:gd name="connsiteY409" fmla="*/ 914371 h 1257266"/>
              <a:gd name="connsiteX410" fmla="*/ 67675 w 5227821"/>
              <a:gd name="connsiteY410" fmla="*/ 831532 h 1257266"/>
              <a:gd name="connsiteX411" fmla="*/ 11279 w 5227821"/>
              <a:gd name="connsiteY411" fmla="*/ 824001 h 1257266"/>
              <a:gd name="connsiteX412" fmla="*/ 0 w 5227821"/>
              <a:gd name="connsiteY412" fmla="*/ 820236 h 1257266"/>
              <a:gd name="connsiteX413" fmla="*/ 30078 w 5227821"/>
              <a:gd name="connsiteY413" fmla="*/ 820236 h 1257266"/>
              <a:gd name="connsiteX414" fmla="*/ 33837 w 5227821"/>
              <a:gd name="connsiteY414" fmla="*/ 824001 h 1257266"/>
              <a:gd name="connsiteX415" fmla="*/ 45117 w 5227821"/>
              <a:gd name="connsiteY415" fmla="*/ 820236 h 1257266"/>
              <a:gd name="connsiteX416" fmla="*/ 45117 w 5227821"/>
              <a:gd name="connsiteY416" fmla="*/ 812705 h 1257266"/>
              <a:gd name="connsiteX417" fmla="*/ 236863 w 5227821"/>
              <a:gd name="connsiteY417" fmla="*/ 865421 h 1257266"/>
              <a:gd name="connsiteX418" fmla="*/ 240623 w 5227821"/>
              <a:gd name="connsiteY418" fmla="*/ 861655 h 1257266"/>
              <a:gd name="connsiteX419" fmla="*/ 259422 w 5227821"/>
              <a:gd name="connsiteY419" fmla="*/ 869186 h 1257266"/>
              <a:gd name="connsiteX420" fmla="*/ 270701 w 5227821"/>
              <a:gd name="connsiteY420" fmla="*/ 861655 h 1257266"/>
              <a:gd name="connsiteX421" fmla="*/ 274461 w 5227821"/>
              <a:gd name="connsiteY421" fmla="*/ 865421 h 1257266"/>
              <a:gd name="connsiteX422" fmla="*/ 278220 w 5227821"/>
              <a:gd name="connsiteY422" fmla="*/ 861655 h 1257266"/>
              <a:gd name="connsiteX423" fmla="*/ 233104 w 5227821"/>
              <a:gd name="connsiteY423" fmla="*/ 857890 h 1257266"/>
              <a:gd name="connsiteX424" fmla="*/ 278220 w 5227821"/>
              <a:gd name="connsiteY424" fmla="*/ 842828 h 1257266"/>
              <a:gd name="connsiteX425" fmla="*/ 293259 w 5227821"/>
              <a:gd name="connsiteY425" fmla="*/ 842828 h 1257266"/>
              <a:gd name="connsiteX426" fmla="*/ 278220 w 5227821"/>
              <a:gd name="connsiteY426" fmla="*/ 854125 h 1257266"/>
              <a:gd name="connsiteX427" fmla="*/ 312058 w 5227821"/>
              <a:gd name="connsiteY427" fmla="*/ 857890 h 1257266"/>
              <a:gd name="connsiteX428" fmla="*/ 312058 w 5227821"/>
              <a:gd name="connsiteY428" fmla="*/ 842828 h 1257266"/>
              <a:gd name="connsiteX429" fmla="*/ 308298 w 5227821"/>
              <a:gd name="connsiteY429" fmla="*/ 839063 h 1257266"/>
              <a:gd name="connsiteX430" fmla="*/ 304539 w 5227821"/>
              <a:gd name="connsiteY430" fmla="*/ 839063 h 1257266"/>
              <a:gd name="connsiteX431" fmla="*/ 308298 w 5227821"/>
              <a:gd name="connsiteY431" fmla="*/ 835298 h 1257266"/>
              <a:gd name="connsiteX432" fmla="*/ 297019 w 5227821"/>
              <a:gd name="connsiteY432" fmla="*/ 831532 h 1257266"/>
              <a:gd name="connsiteX433" fmla="*/ 270701 w 5227821"/>
              <a:gd name="connsiteY433" fmla="*/ 835298 h 1257266"/>
              <a:gd name="connsiteX434" fmla="*/ 312058 w 5227821"/>
              <a:gd name="connsiteY434" fmla="*/ 820236 h 1257266"/>
              <a:gd name="connsiteX435" fmla="*/ 308298 w 5227821"/>
              <a:gd name="connsiteY435" fmla="*/ 816471 h 1257266"/>
              <a:gd name="connsiteX436" fmla="*/ 353415 w 5227821"/>
              <a:gd name="connsiteY436" fmla="*/ 793878 h 1257266"/>
              <a:gd name="connsiteX437" fmla="*/ 334617 w 5227821"/>
              <a:gd name="connsiteY437" fmla="*/ 790113 h 1257266"/>
              <a:gd name="connsiteX438" fmla="*/ 233104 w 5227821"/>
              <a:gd name="connsiteY438" fmla="*/ 824001 h 1257266"/>
              <a:gd name="connsiteX439" fmla="*/ 161669 w 5227821"/>
              <a:gd name="connsiteY439" fmla="*/ 839063 h 1257266"/>
              <a:gd name="connsiteX440" fmla="*/ 184227 w 5227821"/>
              <a:gd name="connsiteY440" fmla="*/ 827767 h 1257266"/>
              <a:gd name="connsiteX441" fmla="*/ 176707 w 5227821"/>
              <a:gd name="connsiteY441" fmla="*/ 827767 h 1257266"/>
              <a:gd name="connsiteX442" fmla="*/ 251902 w 5227821"/>
              <a:gd name="connsiteY442" fmla="*/ 805175 h 1257266"/>
              <a:gd name="connsiteX443" fmla="*/ 274461 w 5227821"/>
              <a:gd name="connsiteY443" fmla="*/ 797644 h 1257266"/>
              <a:gd name="connsiteX444" fmla="*/ 281980 w 5227821"/>
              <a:gd name="connsiteY444" fmla="*/ 797644 h 1257266"/>
              <a:gd name="connsiteX445" fmla="*/ 297019 w 5227821"/>
              <a:gd name="connsiteY445" fmla="*/ 790113 h 1257266"/>
              <a:gd name="connsiteX446" fmla="*/ 293259 w 5227821"/>
              <a:gd name="connsiteY446" fmla="*/ 786348 h 1257266"/>
              <a:gd name="connsiteX447" fmla="*/ 327097 w 5227821"/>
              <a:gd name="connsiteY447" fmla="*/ 763755 h 1257266"/>
              <a:gd name="connsiteX448" fmla="*/ 236863 w 5227821"/>
              <a:gd name="connsiteY448" fmla="*/ 786348 h 1257266"/>
              <a:gd name="connsiteX449" fmla="*/ 199266 w 5227821"/>
              <a:gd name="connsiteY449" fmla="*/ 790113 h 1257266"/>
              <a:gd name="connsiteX450" fmla="*/ 330857 w 5227821"/>
              <a:gd name="connsiteY450" fmla="*/ 726101 h 1257266"/>
              <a:gd name="connsiteX451" fmla="*/ 357175 w 5227821"/>
              <a:gd name="connsiteY451" fmla="*/ 699743 h 1257266"/>
              <a:gd name="connsiteX452" fmla="*/ 364695 w 5227821"/>
              <a:gd name="connsiteY452" fmla="*/ 699743 h 1257266"/>
              <a:gd name="connsiteX453" fmla="*/ 364695 w 5227821"/>
              <a:gd name="connsiteY453" fmla="*/ 688447 h 1257266"/>
              <a:gd name="connsiteX454" fmla="*/ 402292 w 5227821"/>
              <a:gd name="connsiteY454" fmla="*/ 650793 h 1257266"/>
              <a:gd name="connsiteX455" fmla="*/ 511325 w 5227821"/>
              <a:gd name="connsiteY455" fmla="*/ 579251 h 1257266"/>
              <a:gd name="connsiteX456" fmla="*/ 551742 w 5227821"/>
              <a:gd name="connsiteY456" fmla="*/ 534537 h 1257266"/>
              <a:gd name="connsiteX457" fmla="*/ 561872 w 5227821"/>
              <a:gd name="connsiteY457" fmla="*/ 527136 h 1257266"/>
              <a:gd name="connsiteX458" fmla="*/ 558113 w 5227821"/>
              <a:gd name="connsiteY458" fmla="*/ 526214 h 1257266"/>
              <a:gd name="connsiteX459" fmla="*/ 429342 w 5227821"/>
              <a:gd name="connsiteY459" fmla="*/ 481970 h 1257266"/>
              <a:gd name="connsiteX460" fmla="*/ 372945 w 5227821"/>
              <a:gd name="connsiteY460" fmla="*/ 474440 h 1257266"/>
              <a:gd name="connsiteX461" fmla="*/ 361666 w 5227821"/>
              <a:gd name="connsiteY461" fmla="*/ 470674 h 1257266"/>
              <a:gd name="connsiteX462" fmla="*/ 391744 w 5227821"/>
              <a:gd name="connsiteY462" fmla="*/ 470674 h 1257266"/>
              <a:gd name="connsiteX463" fmla="*/ 395504 w 5227821"/>
              <a:gd name="connsiteY463" fmla="*/ 474440 h 1257266"/>
              <a:gd name="connsiteX464" fmla="*/ 406783 w 5227821"/>
              <a:gd name="connsiteY464" fmla="*/ 470674 h 1257266"/>
              <a:gd name="connsiteX465" fmla="*/ 406783 w 5227821"/>
              <a:gd name="connsiteY465" fmla="*/ 463144 h 1257266"/>
              <a:gd name="connsiteX466" fmla="*/ 495607 w 5227821"/>
              <a:gd name="connsiteY466" fmla="*/ 493737 h 1257266"/>
              <a:gd name="connsiteX467" fmla="*/ 582131 w 5227821"/>
              <a:gd name="connsiteY467" fmla="*/ 512335 h 1257266"/>
              <a:gd name="connsiteX468" fmla="*/ 609078 w 5227821"/>
              <a:gd name="connsiteY468" fmla="*/ 492647 h 1257266"/>
              <a:gd name="connsiteX469" fmla="*/ 618947 w 5227821"/>
              <a:gd name="connsiteY469" fmla="*/ 494530 h 1257266"/>
              <a:gd name="connsiteX470" fmla="*/ 624178 w 5227821"/>
              <a:gd name="connsiteY470" fmla="*/ 495306 h 1257266"/>
              <a:gd name="connsiteX471" fmla="*/ 639060 w 5227821"/>
              <a:gd name="connsiteY471" fmla="*/ 493374 h 1257266"/>
              <a:gd name="connsiteX472" fmla="*/ 653196 w 5227821"/>
              <a:gd name="connsiteY472" fmla="*/ 487588 h 1257266"/>
              <a:gd name="connsiteX473" fmla="*/ 661962 w 5227821"/>
              <a:gd name="connsiteY473" fmla="*/ 483064 h 1257266"/>
              <a:gd name="connsiteX474" fmla="*/ 658686 w 5227821"/>
              <a:gd name="connsiteY474" fmla="*/ 481970 h 1257266"/>
              <a:gd name="connsiteX475" fmla="*/ 632367 w 5227821"/>
              <a:gd name="connsiteY475" fmla="*/ 485736 h 1257266"/>
              <a:gd name="connsiteX476" fmla="*/ 673725 w 5227821"/>
              <a:gd name="connsiteY476" fmla="*/ 470674 h 1257266"/>
              <a:gd name="connsiteX477" fmla="*/ 669965 w 5227821"/>
              <a:gd name="connsiteY477" fmla="*/ 466909 h 1257266"/>
              <a:gd name="connsiteX478" fmla="*/ 715082 w 5227821"/>
              <a:gd name="connsiteY478" fmla="*/ 444317 h 1257266"/>
              <a:gd name="connsiteX479" fmla="*/ 696283 w 5227821"/>
              <a:gd name="connsiteY479" fmla="*/ 440551 h 1257266"/>
              <a:gd name="connsiteX480" fmla="*/ 594770 w 5227821"/>
              <a:gd name="connsiteY480" fmla="*/ 474440 h 1257266"/>
              <a:gd name="connsiteX481" fmla="*/ 523335 w 5227821"/>
              <a:gd name="connsiteY481" fmla="*/ 489501 h 1257266"/>
              <a:gd name="connsiteX482" fmla="*/ 545893 w 5227821"/>
              <a:gd name="connsiteY482" fmla="*/ 478205 h 1257266"/>
              <a:gd name="connsiteX483" fmla="*/ 538374 w 5227821"/>
              <a:gd name="connsiteY483" fmla="*/ 478205 h 1257266"/>
              <a:gd name="connsiteX484" fmla="*/ 613569 w 5227821"/>
              <a:gd name="connsiteY484" fmla="*/ 455613 h 1257266"/>
              <a:gd name="connsiteX485" fmla="*/ 636127 w 5227821"/>
              <a:gd name="connsiteY485" fmla="*/ 448082 h 1257266"/>
              <a:gd name="connsiteX486" fmla="*/ 643647 w 5227821"/>
              <a:gd name="connsiteY486" fmla="*/ 448082 h 1257266"/>
              <a:gd name="connsiteX487" fmla="*/ 658686 w 5227821"/>
              <a:gd name="connsiteY487" fmla="*/ 440551 h 1257266"/>
              <a:gd name="connsiteX488" fmla="*/ 654926 w 5227821"/>
              <a:gd name="connsiteY488" fmla="*/ 436786 h 1257266"/>
              <a:gd name="connsiteX489" fmla="*/ 688764 w 5227821"/>
              <a:gd name="connsiteY489" fmla="*/ 414193 h 1257266"/>
              <a:gd name="connsiteX490" fmla="*/ 598530 w 5227821"/>
              <a:gd name="connsiteY490" fmla="*/ 436786 h 1257266"/>
              <a:gd name="connsiteX491" fmla="*/ 560932 w 5227821"/>
              <a:gd name="connsiteY491" fmla="*/ 440551 h 1257266"/>
              <a:gd name="connsiteX492" fmla="*/ 692523 w 5227821"/>
              <a:gd name="connsiteY492" fmla="*/ 376539 h 1257266"/>
              <a:gd name="connsiteX493" fmla="*/ 718841 w 5227821"/>
              <a:gd name="connsiteY493" fmla="*/ 350182 h 1257266"/>
              <a:gd name="connsiteX494" fmla="*/ 726361 w 5227821"/>
              <a:gd name="connsiteY494" fmla="*/ 350182 h 1257266"/>
              <a:gd name="connsiteX495" fmla="*/ 726361 w 5227821"/>
              <a:gd name="connsiteY495" fmla="*/ 338886 h 1257266"/>
              <a:gd name="connsiteX496" fmla="*/ 763958 w 5227821"/>
              <a:gd name="connsiteY496" fmla="*/ 301232 h 1257266"/>
              <a:gd name="connsiteX497" fmla="*/ 872991 w 5227821"/>
              <a:gd name="connsiteY497" fmla="*/ 229689 h 1257266"/>
              <a:gd name="connsiteX498" fmla="*/ 970744 w 5227821"/>
              <a:gd name="connsiteY498" fmla="*/ 143085 h 1257266"/>
              <a:gd name="connsiteX499" fmla="*/ 993302 w 5227821"/>
              <a:gd name="connsiteY499" fmla="*/ 146851 h 1257266"/>
              <a:gd name="connsiteX500" fmla="*/ 1087296 w 5227821"/>
              <a:gd name="connsiteY500" fmla="*/ 124258 h 1257266"/>
              <a:gd name="connsiteX501" fmla="*/ 1109854 w 5227821"/>
              <a:gd name="connsiteY501" fmla="*/ 120493 h 1257266"/>
              <a:gd name="connsiteX502" fmla="*/ 1109854 w 5227821"/>
              <a:gd name="connsiteY502" fmla="*/ 112962 h 1257266"/>
              <a:gd name="connsiteX503" fmla="*/ 1173770 w 5227821"/>
              <a:gd name="connsiteY503" fmla="*/ 120493 h 1257266"/>
              <a:gd name="connsiteX504" fmla="*/ 1166250 w 5227821"/>
              <a:gd name="connsiteY504" fmla="*/ 131789 h 1257266"/>
              <a:gd name="connsiteX505" fmla="*/ 1290322 w 5227821"/>
              <a:gd name="connsiteY505" fmla="*/ 154381 h 1257266"/>
              <a:gd name="connsiteX506" fmla="*/ 1286562 w 5227821"/>
              <a:gd name="connsiteY506" fmla="*/ 158147 h 1257266"/>
              <a:gd name="connsiteX507" fmla="*/ 1316640 w 5227821"/>
              <a:gd name="connsiteY507" fmla="*/ 161912 h 1257266"/>
              <a:gd name="connsiteX508" fmla="*/ 1399354 w 5227821"/>
              <a:gd name="connsiteY508" fmla="*/ 101666 h 1257266"/>
              <a:gd name="connsiteX509" fmla="*/ 1380555 w 5227821"/>
              <a:gd name="connsiteY509" fmla="*/ 82839 h 1257266"/>
              <a:gd name="connsiteX510" fmla="*/ 1369276 w 5227821"/>
              <a:gd name="connsiteY510" fmla="*/ 90370 h 1257266"/>
              <a:gd name="connsiteX511" fmla="*/ 1369276 w 5227821"/>
              <a:gd name="connsiteY511" fmla="*/ 86604 h 1257266"/>
              <a:gd name="connsiteX512" fmla="*/ 1275283 w 5227821"/>
              <a:gd name="connsiteY512" fmla="*/ 86604 h 1257266"/>
              <a:gd name="connsiteX513" fmla="*/ 1252724 w 5227821"/>
              <a:gd name="connsiteY513" fmla="*/ 97900 h 1257266"/>
              <a:gd name="connsiteX514" fmla="*/ 1282802 w 5227821"/>
              <a:gd name="connsiteY514" fmla="*/ 71543 h 1257266"/>
              <a:gd name="connsiteX515" fmla="*/ 1309120 w 5227821"/>
              <a:gd name="connsiteY515" fmla="*/ 67777 h 1257266"/>
              <a:gd name="connsiteX516" fmla="*/ 1399354 w 5227821"/>
              <a:gd name="connsiteY516" fmla="*/ 82839 h 1257266"/>
              <a:gd name="connsiteX517" fmla="*/ 1455750 w 5227821"/>
              <a:gd name="connsiteY517" fmla="*/ 56481 h 1257266"/>
              <a:gd name="connsiteX518" fmla="*/ 1440711 w 5227821"/>
              <a:gd name="connsiteY518" fmla="*/ 52716 h 1257266"/>
              <a:gd name="connsiteX519" fmla="*/ 1508387 w 5227821"/>
              <a:gd name="connsiteY519" fmla="*/ 22593 h 1257266"/>
              <a:gd name="connsiteX520" fmla="*/ 1474549 w 5227821"/>
              <a:gd name="connsiteY520" fmla="*/ 18827 h 1257266"/>
              <a:gd name="connsiteX521" fmla="*/ 1594861 w 5227821"/>
              <a:gd name="connsiteY521" fmla="*/ 0 h 1257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</a:cxnLst>
            <a:rect l="l" t="t" r="r" b="b"/>
            <a:pathLst>
              <a:path w="5227821" h="1257266">
                <a:moveTo>
                  <a:pt x="883995" y="1158893"/>
                </a:moveTo>
                <a:lnTo>
                  <a:pt x="891058" y="1159121"/>
                </a:lnTo>
                <a:cubicBezTo>
                  <a:pt x="883539" y="1159121"/>
                  <a:pt x="883539" y="1159121"/>
                  <a:pt x="883539" y="1159121"/>
                </a:cubicBezTo>
                <a:close/>
                <a:moveTo>
                  <a:pt x="4615788" y="826594"/>
                </a:moveTo>
                <a:lnTo>
                  <a:pt x="4616959" y="827767"/>
                </a:lnTo>
                <a:lnTo>
                  <a:pt x="4617450" y="827029"/>
                </a:lnTo>
                <a:close/>
                <a:moveTo>
                  <a:pt x="4610559" y="825984"/>
                </a:moveTo>
                <a:lnTo>
                  <a:pt x="4591373" y="828386"/>
                </a:lnTo>
                <a:lnTo>
                  <a:pt x="4584680" y="830752"/>
                </a:lnTo>
                <a:lnTo>
                  <a:pt x="4583122" y="831532"/>
                </a:lnTo>
                <a:cubicBezTo>
                  <a:pt x="4583122" y="835298"/>
                  <a:pt x="4590641" y="835298"/>
                  <a:pt x="4598161" y="835298"/>
                </a:cubicBezTo>
                <a:cubicBezTo>
                  <a:pt x="4598161" y="835298"/>
                  <a:pt x="4598161" y="835298"/>
                  <a:pt x="4600041" y="833886"/>
                </a:cubicBezTo>
                <a:close/>
                <a:moveTo>
                  <a:pt x="4763331" y="809097"/>
                </a:moveTo>
                <a:lnTo>
                  <a:pt x="4764025" y="815097"/>
                </a:lnTo>
                <a:lnTo>
                  <a:pt x="4768080" y="809559"/>
                </a:lnTo>
                <a:close/>
                <a:moveTo>
                  <a:pt x="4653526" y="808089"/>
                </a:moveTo>
                <a:cubicBezTo>
                  <a:pt x="4649178" y="809559"/>
                  <a:pt x="4645889" y="813325"/>
                  <a:pt x="4644009" y="820856"/>
                </a:cubicBezTo>
                <a:cubicBezTo>
                  <a:pt x="4647769" y="824621"/>
                  <a:pt x="4655288" y="824621"/>
                  <a:pt x="4659047" y="828386"/>
                </a:cubicBezTo>
                <a:lnTo>
                  <a:pt x="4642634" y="833009"/>
                </a:lnTo>
                <a:lnTo>
                  <a:pt x="4658317" y="846594"/>
                </a:lnTo>
                <a:cubicBezTo>
                  <a:pt x="4680875" y="839063"/>
                  <a:pt x="4677115" y="827767"/>
                  <a:pt x="4684635" y="816471"/>
                </a:cubicBezTo>
                <a:lnTo>
                  <a:pt x="4683861" y="813370"/>
                </a:lnTo>
                <a:lnTo>
                  <a:pt x="4669387" y="809089"/>
                </a:lnTo>
                <a:cubicBezTo>
                  <a:pt x="4663277" y="807441"/>
                  <a:pt x="4657873" y="806618"/>
                  <a:pt x="4653526" y="808089"/>
                </a:cubicBezTo>
                <a:close/>
                <a:moveTo>
                  <a:pt x="4720496" y="800558"/>
                </a:moveTo>
                <a:cubicBezTo>
                  <a:pt x="4715209" y="801322"/>
                  <a:pt x="4709804" y="803911"/>
                  <a:pt x="4704165" y="809559"/>
                </a:cubicBezTo>
                <a:cubicBezTo>
                  <a:pt x="4704165" y="809559"/>
                  <a:pt x="4704165" y="809559"/>
                  <a:pt x="4711684" y="817090"/>
                </a:cubicBezTo>
                <a:lnTo>
                  <a:pt x="4703433" y="816325"/>
                </a:lnTo>
                <a:lnTo>
                  <a:pt x="4703433" y="824001"/>
                </a:lnTo>
                <a:cubicBezTo>
                  <a:pt x="4703433" y="824001"/>
                  <a:pt x="4703433" y="824001"/>
                  <a:pt x="4718473" y="820236"/>
                </a:cubicBezTo>
                <a:cubicBezTo>
                  <a:pt x="4725992" y="827767"/>
                  <a:pt x="4729751" y="839063"/>
                  <a:pt x="4733511" y="846594"/>
                </a:cubicBezTo>
                <a:cubicBezTo>
                  <a:pt x="4725992" y="842828"/>
                  <a:pt x="4718473" y="842828"/>
                  <a:pt x="4710953" y="850359"/>
                </a:cubicBezTo>
                <a:cubicBezTo>
                  <a:pt x="4710953" y="850359"/>
                  <a:pt x="4710953" y="850359"/>
                  <a:pt x="4692155" y="842828"/>
                </a:cubicBezTo>
                <a:cubicBezTo>
                  <a:pt x="4680875" y="846594"/>
                  <a:pt x="4665836" y="846594"/>
                  <a:pt x="4658317" y="854125"/>
                </a:cubicBezTo>
                <a:cubicBezTo>
                  <a:pt x="4658317" y="854125"/>
                  <a:pt x="4658317" y="854125"/>
                  <a:pt x="4677115" y="854125"/>
                </a:cubicBezTo>
                <a:cubicBezTo>
                  <a:pt x="4677115" y="854125"/>
                  <a:pt x="4677115" y="854125"/>
                  <a:pt x="4673355" y="857890"/>
                </a:cubicBezTo>
                <a:cubicBezTo>
                  <a:pt x="4707193" y="854125"/>
                  <a:pt x="4722232" y="861655"/>
                  <a:pt x="4741031" y="857890"/>
                </a:cubicBezTo>
                <a:cubicBezTo>
                  <a:pt x="4744791" y="861655"/>
                  <a:pt x="4744791" y="861655"/>
                  <a:pt x="4748551" y="861655"/>
                </a:cubicBezTo>
                <a:cubicBezTo>
                  <a:pt x="4752310" y="861655"/>
                  <a:pt x="4752310" y="857890"/>
                  <a:pt x="4752310" y="857890"/>
                </a:cubicBezTo>
                <a:cubicBezTo>
                  <a:pt x="4756070" y="854125"/>
                  <a:pt x="4759829" y="854125"/>
                  <a:pt x="4763589" y="854125"/>
                </a:cubicBezTo>
                <a:cubicBezTo>
                  <a:pt x="4763589" y="850359"/>
                  <a:pt x="4759829" y="854125"/>
                  <a:pt x="4752310" y="854125"/>
                </a:cubicBezTo>
                <a:cubicBezTo>
                  <a:pt x="4752310" y="846594"/>
                  <a:pt x="4748551" y="842828"/>
                  <a:pt x="4756070" y="835298"/>
                </a:cubicBezTo>
                <a:cubicBezTo>
                  <a:pt x="4750430" y="829650"/>
                  <a:pt x="4745731" y="824001"/>
                  <a:pt x="4744321" y="817412"/>
                </a:cubicBezTo>
                <a:lnTo>
                  <a:pt x="4747974" y="806649"/>
                </a:lnTo>
                <a:lnTo>
                  <a:pt x="4736122" y="802499"/>
                </a:lnTo>
                <a:cubicBezTo>
                  <a:pt x="4730953" y="800852"/>
                  <a:pt x="4725783" y="799793"/>
                  <a:pt x="4720496" y="800558"/>
                </a:cubicBezTo>
                <a:close/>
                <a:moveTo>
                  <a:pt x="1676438" y="90716"/>
                </a:moveTo>
                <a:lnTo>
                  <a:pt x="1850993" y="94135"/>
                </a:lnTo>
                <a:cubicBezTo>
                  <a:pt x="1918198" y="94135"/>
                  <a:pt x="1985874" y="94135"/>
                  <a:pt x="2046029" y="97900"/>
                </a:cubicBezTo>
                <a:cubicBezTo>
                  <a:pt x="2046029" y="97900"/>
                  <a:pt x="2046029" y="97900"/>
                  <a:pt x="2057308" y="101666"/>
                </a:cubicBezTo>
                <a:cubicBezTo>
                  <a:pt x="1997153" y="97900"/>
                  <a:pt x="1910679" y="112962"/>
                  <a:pt x="1850523" y="97900"/>
                </a:cubicBezTo>
                <a:cubicBezTo>
                  <a:pt x="1797886" y="101666"/>
                  <a:pt x="1737731" y="94135"/>
                  <a:pt x="1692614" y="94135"/>
                </a:cubicBezTo>
                <a:close/>
                <a:moveTo>
                  <a:pt x="1675636" y="90546"/>
                </a:moveTo>
                <a:lnTo>
                  <a:pt x="1676438" y="90716"/>
                </a:lnTo>
                <a:lnTo>
                  <a:pt x="1674865" y="90685"/>
                </a:lnTo>
                <a:close/>
                <a:moveTo>
                  <a:pt x="2005634" y="36919"/>
                </a:moveTo>
                <a:lnTo>
                  <a:pt x="2008432" y="37654"/>
                </a:lnTo>
                <a:cubicBezTo>
                  <a:pt x="2000912" y="37654"/>
                  <a:pt x="2000912" y="37654"/>
                  <a:pt x="2000912" y="37654"/>
                </a:cubicBezTo>
                <a:close/>
                <a:moveTo>
                  <a:pt x="1594861" y="0"/>
                </a:moveTo>
                <a:cubicBezTo>
                  <a:pt x="1621179" y="0"/>
                  <a:pt x="1651257" y="0"/>
                  <a:pt x="1655016" y="11296"/>
                </a:cubicBezTo>
                <a:cubicBezTo>
                  <a:pt x="1658776" y="15062"/>
                  <a:pt x="1655016" y="15062"/>
                  <a:pt x="1651257" y="18827"/>
                </a:cubicBezTo>
                <a:cubicBezTo>
                  <a:pt x="1685094" y="22593"/>
                  <a:pt x="1730211" y="22593"/>
                  <a:pt x="1767809" y="22593"/>
                </a:cubicBezTo>
                <a:cubicBezTo>
                  <a:pt x="1925718" y="26358"/>
                  <a:pt x="2079867" y="30123"/>
                  <a:pt x="2230256" y="26358"/>
                </a:cubicBezTo>
                <a:cubicBezTo>
                  <a:pt x="2241536" y="30123"/>
                  <a:pt x="2256575" y="33889"/>
                  <a:pt x="2275373" y="30123"/>
                </a:cubicBezTo>
                <a:cubicBezTo>
                  <a:pt x="2218977" y="41420"/>
                  <a:pt x="2117464" y="33889"/>
                  <a:pt x="2046029" y="33889"/>
                </a:cubicBezTo>
                <a:cubicBezTo>
                  <a:pt x="2036630" y="32006"/>
                  <a:pt x="2029111" y="32947"/>
                  <a:pt x="2022061" y="34359"/>
                </a:cubicBezTo>
                <a:lnTo>
                  <a:pt x="2005634" y="36919"/>
                </a:lnTo>
                <a:lnTo>
                  <a:pt x="1983817" y="31183"/>
                </a:lnTo>
                <a:cubicBezTo>
                  <a:pt x="1955091" y="28711"/>
                  <a:pt x="1916318" y="35772"/>
                  <a:pt x="1888120" y="30123"/>
                </a:cubicBezTo>
                <a:cubicBezTo>
                  <a:pt x="1805406" y="30123"/>
                  <a:pt x="1749010" y="22593"/>
                  <a:pt x="1662536" y="26358"/>
                </a:cubicBezTo>
                <a:cubicBezTo>
                  <a:pt x="1655016" y="30123"/>
                  <a:pt x="1655016" y="33889"/>
                  <a:pt x="1655016" y="37654"/>
                </a:cubicBezTo>
                <a:cubicBezTo>
                  <a:pt x="1636218" y="37654"/>
                  <a:pt x="1617419" y="37654"/>
                  <a:pt x="1609900" y="30123"/>
                </a:cubicBezTo>
                <a:cubicBezTo>
                  <a:pt x="1591101" y="41420"/>
                  <a:pt x="1572302" y="41420"/>
                  <a:pt x="1553503" y="52716"/>
                </a:cubicBezTo>
                <a:cubicBezTo>
                  <a:pt x="1553503" y="52716"/>
                  <a:pt x="1553503" y="52716"/>
                  <a:pt x="1587341" y="56481"/>
                </a:cubicBezTo>
                <a:cubicBezTo>
                  <a:pt x="1579822" y="64012"/>
                  <a:pt x="1557263" y="64012"/>
                  <a:pt x="1542224" y="56481"/>
                </a:cubicBezTo>
                <a:cubicBezTo>
                  <a:pt x="1515906" y="56481"/>
                  <a:pt x="1549744" y="67777"/>
                  <a:pt x="1527185" y="71543"/>
                </a:cubicBezTo>
                <a:cubicBezTo>
                  <a:pt x="1527185" y="71543"/>
                  <a:pt x="1527185" y="71543"/>
                  <a:pt x="1478309" y="79073"/>
                </a:cubicBezTo>
                <a:cubicBezTo>
                  <a:pt x="1527185" y="90370"/>
                  <a:pt x="1609900" y="82839"/>
                  <a:pt x="1658776" y="90370"/>
                </a:cubicBezTo>
                <a:lnTo>
                  <a:pt x="1674865" y="90685"/>
                </a:lnTo>
                <a:lnTo>
                  <a:pt x="1658306" y="93664"/>
                </a:lnTo>
                <a:cubicBezTo>
                  <a:pt x="1646557" y="96959"/>
                  <a:pt x="1634338" y="101666"/>
                  <a:pt x="1621179" y="101666"/>
                </a:cubicBezTo>
                <a:cubicBezTo>
                  <a:pt x="1613659" y="109197"/>
                  <a:pt x="1598620" y="116727"/>
                  <a:pt x="1579822" y="128024"/>
                </a:cubicBezTo>
                <a:cubicBezTo>
                  <a:pt x="1579822" y="128024"/>
                  <a:pt x="1579822" y="128024"/>
                  <a:pt x="1576062" y="120493"/>
                </a:cubicBezTo>
                <a:cubicBezTo>
                  <a:pt x="1579822" y="112962"/>
                  <a:pt x="1598620" y="124258"/>
                  <a:pt x="1598620" y="112962"/>
                </a:cubicBezTo>
                <a:cubicBezTo>
                  <a:pt x="1598620" y="112962"/>
                  <a:pt x="1598620" y="112962"/>
                  <a:pt x="1587341" y="109197"/>
                </a:cubicBezTo>
                <a:cubicBezTo>
                  <a:pt x="1583581" y="112962"/>
                  <a:pt x="1572302" y="109197"/>
                  <a:pt x="1564783" y="109197"/>
                </a:cubicBezTo>
                <a:cubicBezTo>
                  <a:pt x="1564783" y="109197"/>
                  <a:pt x="1564783" y="109197"/>
                  <a:pt x="1553503" y="105431"/>
                </a:cubicBezTo>
                <a:cubicBezTo>
                  <a:pt x="1583581" y="101666"/>
                  <a:pt x="1609900" y="109197"/>
                  <a:pt x="1621179" y="94135"/>
                </a:cubicBezTo>
                <a:cubicBezTo>
                  <a:pt x="1564783" y="82839"/>
                  <a:pt x="1508387" y="94135"/>
                  <a:pt x="1448231" y="86604"/>
                </a:cubicBezTo>
                <a:cubicBezTo>
                  <a:pt x="1433192" y="82839"/>
                  <a:pt x="1425672" y="94135"/>
                  <a:pt x="1410633" y="97900"/>
                </a:cubicBezTo>
                <a:cubicBezTo>
                  <a:pt x="1410633" y="97900"/>
                  <a:pt x="1410633" y="97900"/>
                  <a:pt x="1444471" y="101666"/>
                </a:cubicBezTo>
                <a:cubicBezTo>
                  <a:pt x="1440711" y="109197"/>
                  <a:pt x="1384315" y="116727"/>
                  <a:pt x="1380555" y="131789"/>
                </a:cubicBezTo>
                <a:cubicBezTo>
                  <a:pt x="1373036" y="124258"/>
                  <a:pt x="1399354" y="120493"/>
                  <a:pt x="1380555" y="112962"/>
                </a:cubicBezTo>
                <a:cubicBezTo>
                  <a:pt x="1380555" y="120493"/>
                  <a:pt x="1350478" y="124258"/>
                  <a:pt x="1369276" y="131789"/>
                </a:cubicBezTo>
                <a:cubicBezTo>
                  <a:pt x="1365517" y="128024"/>
                  <a:pt x="1361757" y="131789"/>
                  <a:pt x="1357997" y="131789"/>
                </a:cubicBezTo>
                <a:cubicBezTo>
                  <a:pt x="1365517" y="146851"/>
                  <a:pt x="1361757" y="143085"/>
                  <a:pt x="1354237" y="146851"/>
                </a:cubicBezTo>
                <a:cubicBezTo>
                  <a:pt x="1357997" y="143085"/>
                  <a:pt x="1357997" y="143085"/>
                  <a:pt x="1350478" y="139320"/>
                </a:cubicBezTo>
                <a:cubicBezTo>
                  <a:pt x="1350478" y="139320"/>
                  <a:pt x="1350478" y="139320"/>
                  <a:pt x="1327919" y="161912"/>
                </a:cubicBezTo>
                <a:cubicBezTo>
                  <a:pt x="1365517" y="161912"/>
                  <a:pt x="1391835" y="184504"/>
                  <a:pt x="1436952" y="173208"/>
                </a:cubicBezTo>
                <a:cubicBezTo>
                  <a:pt x="1455750" y="173208"/>
                  <a:pt x="1451990" y="184504"/>
                  <a:pt x="1459510" y="192035"/>
                </a:cubicBezTo>
                <a:cubicBezTo>
                  <a:pt x="1440711" y="192035"/>
                  <a:pt x="1436952" y="199566"/>
                  <a:pt x="1421913" y="207097"/>
                </a:cubicBezTo>
                <a:cubicBezTo>
                  <a:pt x="1429432" y="210862"/>
                  <a:pt x="1440711" y="207097"/>
                  <a:pt x="1451990" y="207097"/>
                </a:cubicBezTo>
                <a:cubicBezTo>
                  <a:pt x="1451990" y="207097"/>
                  <a:pt x="1451990" y="207097"/>
                  <a:pt x="1451990" y="210862"/>
                </a:cubicBezTo>
                <a:cubicBezTo>
                  <a:pt x="1474549" y="214628"/>
                  <a:pt x="1485828" y="210862"/>
                  <a:pt x="1512146" y="210862"/>
                </a:cubicBezTo>
                <a:cubicBezTo>
                  <a:pt x="1512146" y="210862"/>
                  <a:pt x="1512146" y="210862"/>
                  <a:pt x="1512146" y="214628"/>
                </a:cubicBezTo>
                <a:cubicBezTo>
                  <a:pt x="1512146" y="214628"/>
                  <a:pt x="1512146" y="214628"/>
                  <a:pt x="1534705" y="214628"/>
                </a:cubicBezTo>
                <a:cubicBezTo>
                  <a:pt x="1534705" y="210862"/>
                  <a:pt x="1538464" y="210862"/>
                  <a:pt x="1538464" y="210862"/>
                </a:cubicBezTo>
                <a:cubicBezTo>
                  <a:pt x="1534705" y="214628"/>
                  <a:pt x="1530945" y="218393"/>
                  <a:pt x="1538464" y="218393"/>
                </a:cubicBezTo>
                <a:cubicBezTo>
                  <a:pt x="1530945" y="222158"/>
                  <a:pt x="1523426" y="222158"/>
                  <a:pt x="1515906" y="225924"/>
                </a:cubicBezTo>
                <a:cubicBezTo>
                  <a:pt x="1523426" y="229689"/>
                  <a:pt x="1538464" y="225924"/>
                  <a:pt x="1549744" y="229689"/>
                </a:cubicBezTo>
                <a:cubicBezTo>
                  <a:pt x="1549744" y="229689"/>
                  <a:pt x="1549744" y="233455"/>
                  <a:pt x="1542224" y="237220"/>
                </a:cubicBezTo>
                <a:cubicBezTo>
                  <a:pt x="1609900" y="252282"/>
                  <a:pt x="1651257" y="222158"/>
                  <a:pt x="1722692" y="225924"/>
                </a:cubicBezTo>
                <a:cubicBezTo>
                  <a:pt x="1730211" y="222158"/>
                  <a:pt x="1745250" y="214628"/>
                  <a:pt x="1764049" y="218393"/>
                </a:cubicBezTo>
                <a:cubicBezTo>
                  <a:pt x="1767809" y="225924"/>
                  <a:pt x="1790367" y="218393"/>
                  <a:pt x="1801646" y="218393"/>
                </a:cubicBezTo>
                <a:cubicBezTo>
                  <a:pt x="1801646" y="218393"/>
                  <a:pt x="1801646" y="218393"/>
                  <a:pt x="1809166" y="214628"/>
                </a:cubicBezTo>
                <a:cubicBezTo>
                  <a:pt x="1846763" y="225924"/>
                  <a:pt x="1899399" y="214628"/>
                  <a:pt x="1940757" y="214628"/>
                </a:cubicBezTo>
                <a:cubicBezTo>
                  <a:pt x="1985873" y="188270"/>
                  <a:pt x="2030990" y="225924"/>
                  <a:pt x="2083627" y="203331"/>
                </a:cubicBezTo>
                <a:cubicBezTo>
                  <a:pt x="2091146" y="207097"/>
                  <a:pt x="2109945" y="203331"/>
                  <a:pt x="2124984" y="203331"/>
                </a:cubicBezTo>
                <a:cubicBezTo>
                  <a:pt x="2124984" y="203331"/>
                  <a:pt x="2124984" y="203331"/>
                  <a:pt x="2128744" y="199566"/>
                </a:cubicBezTo>
                <a:cubicBezTo>
                  <a:pt x="2128744" y="199566"/>
                  <a:pt x="2128744" y="199566"/>
                  <a:pt x="2117464" y="195801"/>
                </a:cubicBezTo>
                <a:cubicBezTo>
                  <a:pt x="2124984" y="195801"/>
                  <a:pt x="2128744" y="195801"/>
                  <a:pt x="2128744" y="192035"/>
                </a:cubicBezTo>
                <a:cubicBezTo>
                  <a:pt x="2128744" y="192035"/>
                  <a:pt x="2128744" y="192035"/>
                  <a:pt x="2121224" y="188270"/>
                </a:cubicBezTo>
                <a:cubicBezTo>
                  <a:pt x="2143782" y="195801"/>
                  <a:pt x="2170101" y="176974"/>
                  <a:pt x="2192659" y="184504"/>
                </a:cubicBezTo>
                <a:cubicBezTo>
                  <a:pt x="2196419" y="188270"/>
                  <a:pt x="2185140" y="195801"/>
                  <a:pt x="2196419" y="199566"/>
                </a:cubicBezTo>
                <a:cubicBezTo>
                  <a:pt x="2203938" y="199566"/>
                  <a:pt x="2207698" y="199566"/>
                  <a:pt x="2215218" y="195801"/>
                </a:cubicBezTo>
                <a:cubicBezTo>
                  <a:pt x="2215218" y="195801"/>
                  <a:pt x="2215218" y="195801"/>
                  <a:pt x="2203938" y="188270"/>
                </a:cubicBezTo>
                <a:cubicBezTo>
                  <a:pt x="2218977" y="184504"/>
                  <a:pt x="2245295" y="192035"/>
                  <a:pt x="2271614" y="188270"/>
                </a:cubicBezTo>
                <a:cubicBezTo>
                  <a:pt x="2309211" y="188270"/>
                  <a:pt x="2354328" y="176974"/>
                  <a:pt x="2395685" y="184504"/>
                </a:cubicBezTo>
                <a:cubicBezTo>
                  <a:pt x="2391925" y="180739"/>
                  <a:pt x="2406964" y="169443"/>
                  <a:pt x="2422003" y="169443"/>
                </a:cubicBezTo>
                <a:cubicBezTo>
                  <a:pt x="2478399" y="176974"/>
                  <a:pt x="2534795" y="150616"/>
                  <a:pt x="2564873" y="180739"/>
                </a:cubicBezTo>
                <a:cubicBezTo>
                  <a:pt x="2628789" y="180739"/>
                  <a:pt x="2673906" y="184504"/>
                  <a:pt x="2737821" y="176974"/>
                </a:cubicBezTo>
                <a:cubicBezTo>
                  <a:pt x="2737821" y="176974"/>
                  <a:pt x="2737821" y="176974"/>
                  <a:pt x="2737821" y="169443"/>
                </a:cubicBezTo>
                <a:cubicBezTo>
                  <a:pt x="2756620" y="173208"/>
                  <a:pt x="2775419" y="173208"/>
                  <a:pt x="2794217" y="176974"/>
                </a:cubicBezTo>
                <a:cubicBezTo>
                  <a:pt x="2794217" y="176974"/>
                  <a:pt x="2794217" y="176974"/>
                  <a:pt x="2805496" y="169443"/>
                </a:cubicBezTo>
                <a:cubicBezTo>
                  <a:pt x="3076198" y="161912"/>
                  <a:pt x="3290503" y="158147"/>
                  <a:pt x="3568723" y="165678"/>
                </a:cubicBezTo>
                <a:cubicBezTo>
                  <a:pt x="3568723" y="165678"/>
                  <a:pt x="3568723" y="165678"/>
                  <a:pt x="3673996" y="158147"/>
                </a:cubicBezTo>
                <a:cubicBezTo>
                  <a:pt x="3673996" y="169443"/>
                  <a:pt x="3707834" y="158147"/>
                  <a:pt x="3719113" y="161912"/>
                </a:cubicBezTo>
                <a:cubicBezTo>
                  <a:pt x="3786788" y="154381"/>
                  <a:pt x="3828145" y="176974"/>
                  <a:pt x="3880782" y="150616"/>
                </a:cubicBezTo>
                <a:cubicBezTo>
                  <a:pt x="3880782" y="150616"/>
                  <a:pt x="3880782" y="150616"/>
                  <a:pt x="3869503" y="161912"/>
                </a:cubicBezTo>
                <a:cubicBezTo>
                  <a:pt x="3884541" y="169443"/>
                  <a:pt x="3914619" y="158147"/>
                  <a:pt x="3922139" y="169443"/>
                </a:cubicBezTo>
                <a:cubicBezTo>
                  <a:pt x="3959736" y="154381"/>
                  <a:pt x="4001093" y="169443"/>
                  <a:pt x="4046210" y="165678"/>
                </a:cubicBezTo>
                <a:cubicBezTo>
                  <a:pt x="4046210" y="165678"/>
                  <a:pt x="4046210" y="165678"/>
                  <a:pt x="4083807" y="165678"/>
                </a:cubicBezTo>
                <a:cubicBezTo>
                  <a:pt x="4083807" y="165678"/>
                  <a:pt x="4083807" y="165678"/>
                  <a:pt x="4083807" y="169443"/>
                </a:cubicBezTo>
                <a:cubicBezTo>
                  <a:pt x="4102606" y="176974"/>
                  <a:pt x="4162762" y="165678"/>
                  <a:pt x="4181561" y="173208"/>
                </a:cubicBezTo>
                <a:cubicBezTo>
                  <a:pt x="4211639" y="161912"/>
                  <a:pt x="4234197" y="184504"/>
                  <a:pt x="4264275" y="173208"/>
                </a:cubicBezTo>
                <a:cubicBezTo>
                  <a:pt x="4275554" y="184504"/>
                  <a:pt x="4298113" y="176974"/>
                  <a:pt x="4316911" y="184504"/>
                </a:cubicBezTo>
                <a:cubicBezTo>
                  <a:pt x="4350749" y="184504"/>
                  <a:pt x="4399626" y="195801"/>
                  <a:pt x="4440983" y="184504"/>
                </a:cubicBezTo>
                <a:cubicBezTo>
                  <a:pt x="4433463" y="184504"/>
                  <a:pt x="4433463" y="188270"/>
                  <a:pt x="4433463" y="192035"/>
                </a:cubicBezTo>
                <a:cubicBezTo>
                  <a:pt x="4467301" y="195801"/>
                  <a:pt x="4493619" y="192035"/>
                  <a:pt x="4512418" y="199566"/>
                </a:cubicBezTo>
                <a:cubicBezTo>
                  <a:pt x="4508658" y="214628"/>
                  <a:pt x="4534976" y="203331"/>
                  <a:pt x="4550015" y="203331"/>
                </a:cubicBezTo>
                <a:cubicBezTo>
                  <a:pt x="4550015" y="203331"/>
                  <a:pt x="4550015" y="203331"/>
                  <a:pt x="4557535" y="199566"/>
                </a:cubicBezTo>
                <a:cubicBezTo>
                  <a:pt x="4550015" y="210862"/>
                  <a:pt x="4595132" y="199566"/>
                  <a:pt x="4568814" y="207097"/>
                </a:cubicBezTo>
                <a:cubicBezTo>
                  <a:pt x="4583853" y="225924"/>
                  <a:pt x="4640249" y="210862"/>
                  <a:pt x="4644009" y="233455"/>
                </a:cubicBezTo>
                <a:cubicBezTo>
                  <a:pt x="4700405" y="218393"/>
                  <a:pt x="4722963" y="248516"/>
                  <a:pt x="4775599" y="237220"/>
                </a:cubicBezTo>
                <a:cubicBezTo>
                  <a:pt x="4794399" y="214628"/>
                  <a:pt x="4790639" y="214628"/>
                  <a:pt x="4828236" y="199566"/>
                </a:cubicBezTo>
                <a:cubicBezTo>
                  <a:pt x="4816957" y="192035"/>
                  <a:pt x="4771840" y="207097"/>
                  <a:pt x="4783119" y="188270"/>
                </a:cubicBezTo>
                <a:cubicBezTo>
                  <a:pt x="4801918" y="192035"/>
                  <a:pt x="4835755" y="173208"/>
                  <a:pt x="4828236" y="195801"/>
                </a:cubicBezTo>
                <a:cubicBezTo>
                  <a:pt x="4835755" y="188270"/>
                  <a:pt x="4854554" y="188270"/>
                  <a:pt x="4850795" y="180739"/>
                </a:cubicBezTo>
                <a:cubicBezTo>
                  <a:pt x="4824476" y="173208"/>
                  <a:pt x="4847035" y="143085"/>
                  <a:pt x="4794399" y="150616"/>
                </a:cubicBezTo>
                <a:cubicBezTo>
                  <a:pt x="4794399" y="150616"/>
                  <a:pt x="4794399" y="150616"/>
                  <a:pt x="4813197" y="143085"/>
                </a:cubicBezTo>
                <a:cubicBezTo>
                  <a:pt x="4805677" y="128024"/>
                  <a:pt x="4764321" y="139320"/>
                  <a:pt x="4738002" y="135554"/>
                </a:cubicBezTo>
                <a:cubicBezTo>
                  <a:pt x="4722963" y="146851"/>
                  <a:pt x="4696645" y="131789"/>
                  <a:pt x="4677847" y="139320"/>
                </a:cubicBezTo>
                <a:cubicBezTo>
                  <a:pt x="4689125" y="128024"/>
                  <a:pt x="4659047" y="124258"/>
                  <a:pt x="4644009" y="116727"/>
                </a:cubicBezTo>
                <a:cubicBezTo>
                  <a:pt x="4591373" y="128024"/>
                  <a:pt x="4565054" y="105431"/>
                  <a:pt x="4516177" y="109197"/>
                </a:cubicBezTo>
                <a:cubicBezTo>
                  <a:pt x="4508658" y="101666"/>
                  <a:pt x="4452262" y="112962"/>
                  <a:pt x="4444743" y="90370"/>
                </a:cubicBezTo>
                <a:cubicBezTo>
                  <a:pt x="4418425" y="90370"/>
                  <a:pt x="4403385" y="90370"/>
                  <a:pt x="4380827" y="82839"/>
                </a:cubicBezTo>
                <a:cubicBezTo>
                  <a:pt x="4380827" y="82839"/>
                  <a:pt x="4380827" y="82839"/>
                  <a:pt x="4365788" y="90370"/>
                </a:cubicBezTo>
                <a:cubicBezTo>
                  <a:pt x="4365788" y="90370"/>
                  <a:pt x="4362028" y="86604"/>
                  <a:pt x="4354509" y="86604"/>
                </a:cubicBezTo>
                <a:cubicBezTo>
                  <a:pt x="4346989" y="86604"/>
                  <a:pt x="4343229" y="79073"/>
                  <a:pt x="4331951" y="82839"/>
                </a:cubicBezTo>
                <a:cubicBezTo>
                  <a:pt x="4331951" y="82839"/>
                  <a:pt x="4331951" y="82839"/>
                  <a:pt x="4335710" y="67777"/>
                </a:cubicBezTo>
                <a:cubicBezTo>
                  <a:pt x="4380827" y="71543"/>
                  <a:pt x="4429703" y="75308"/>
                  <a:pt x="4474821" y="79073"/>
                </a:cubicBezTo>
                <a:cubicBezTo>
                  <a:pt x="4474821" y="101666"/>
                  <a:pt x="4531217" y="86604"/>
                  <a:pt x="4561295" y="90370"/>
                </a:cubicBezTo>
                <a:cubicBezTo>
                  <a:pt x="4602651" y="97900"/>
                  <a:pt x="4655288" y="82839"/>
                  <a:pt x="4681606" y="94135"/>
                </a:cubicBezTo>
                <a:cubicBezTo>
                  <a:pt x="4681606" y="94135"/>
                  <a:pt x="4681606" y="94135"/>
                  <a:pt x="4685366" y="97900"/>
                </a:cubicBezTo>
                <a:cubicBezTo>
                  <a:pt x="4719203" y="101666"/>
                  <a:pt x="4749281" y="120493"/>
                  <a:pt x="4801918" y="109197"/>
                </a:cubicBezTo>
                <a:cubicBezTo>
                  <a:pt x="4801918" y="109197"/>
                  <a:pt x="4801918" y="109197"/>
                  <a:pt x="4809437" y="112962"/>
                </a:cubicBezTo>
                <a:cubicBezTo>
                  <a:pt x="4809437" y="112962"/>
                  <a:pt x="4809437" y="112962"/>
                  <a:pt x="4824476" y="105431"/>
                </a:cubicBezTo>
                <a:cubicBezTo>
                  <a:pt x="4824476" y="105431"/>
                  <a:pt x="4824476" y="105431"/>
                  <a:pt x="4828236" y="109197"/>
                </a:cubicBezTo>
                <a:cubicBezTo>
                  <a:pt x="4824476" y="112962"/>
                  <a:pt x="4801918" y="116727"/>
                  <a:pt x="4805677" y="124258"/>
                </a:cubicBezTo>
                <a:cubicBezTo>
                  <a:pt x="4839515" y="128024"/>
                  <a:pt x="4865833" y="128024"/>
                  <a:pt x="4903431" y="124258"/>
                </a:cubicBezTo>
                <a:cubicBezTo>
                  <a:pt x="4888392" y="131789"/>
                  <a:pt x="4899671" y="150616"/>
                  <a:pt x="4925989" y="143085"/>
                </a:cubicBezTo>
                <a:cubicBezTo>
                  <a:pt x="4925989" y="143085"/>
                  <a:pt x="4925989" y="143085"/>
                  <a:pt x="4941028" y="143085"/>
                </a:cubicBezTo>
                <a:cubicBezTo>
                  <a:pt x="4971106" y="120493"/>
                  <a:pt x="4914710" y="128024"/>
                  <a:pt x="4922229" y="109197"/>
                </a:cubicBezTo>
                <a:cubicBezTo>
                  <a:pt x="4933509" y="105431"/>
                  <a:pt x="4948547" y="105431"/>
                  <a:pt x="4956067" y="97900"/>
                </a:cubicBezTo>
                <a:cubicBezTo>
                  <a:pt x="4956067" y="97900"/>
                  <a:pt x="4956067" y="97900"/>
                  <a:pt x="4959827" y="94135"/>
                </a:cubicBezTo>
                <a:cubicBezTo>
                  <a:pt x="4952307" y="86604"/>
                  <a:pt x="4937269" y="97900"/>
                  <a:pt x="4922229" y="97900"/>
                </a:cubicBezTo>
                <a:cubicBezTo>
                  <a:pt x="4922229" y="90370"/>
                  <a:pt x="4914710" y="86604"/>
                  <a:pt x="4903431" y="86604"/>
                </a:cubicBezTo>
                <a:cubicBezTo>
                  <a:pt x="4910950" y="82839"/>
                  <a:pt x="4922229" y="79073"/>
                  <a:pt x="4933509" y="75308"/>
                </a:cubicBezTo>
                <a:cubicBezTo>
                  <a:pt x="4937269" y="75308"/>
                  <a:pt x="4933509" y="71543"/>
                  <a:pt x="4929749" y="71543"/>
                </a:cubicBezTo>
                <a:cubicBezTo>
                  <a:pt x="4989905" y="67777"/>
                  <a:pt x="5004943" y="97900"/>
                  <a:pt x="5068859" y="79073"/>
                </a:cubicBezTo>
                <a:cubicBezTo>
                  <a:pt x="5068859" y="79073"/>
                  <a:pt x="5068859" y="79073"/>
                  <a:pt x="5061339" y="75308"/>
                </a:cubicBezTo>
                <a:cubicBezTo>
                  <a:pt x="5068859" y="75308"/>
                  <a:pt x="5117736" y="79073"/>
                  <a:pt x="5132775" y="75308"/>
                </a:cubicBezTo>
                <a:cubicBezTo>
                  <a:pt x="5132775" y="75308"/>
                  <a:pt x="5132775" y="75308"/>
                  <a:pt x="5136535" y="71543"/>
                </a:cubicBezTo>
                <a:cubicBezTo>
                  <a:pt x="5125255" y="67777"/>
                  <a:pt x="5102697" y="71543"/>
                  <a:pt x="5087658" y="71543"/>
                </a:cubicBezTo>
                <a:cubicBezTo>
                  <a:pt x="5125255" y="60247"/>
                  <a:pt x="5147813" y="60247"/>
                  <a:pt x="5189171" y="52716"/>
                </a:cubicBezTo>
                <a:cubicBezTo>
                  <a:pt x="5189171" y="52716"/>
                  <a:pt x="5189171" y="52716"/>
                  <a:pt x="5095177" y="101666"/>
                </a:cubicBezTo>
                <a:cubicBezTo>
                  <a:pt x="5129015" y="112962"/>
                  <a:pt x="5083898" y="120493"/>
                  <a:pt x="5065099" y="131789"/>
                </a:cubicBezTo>
                <a:cubicBezTo>
                  <a:pt x="5042541" y="150616"/>
                  <a:pt x="4997424" y="135554"/>
                  <a:pt x="4971106" y="161912"/>
                </a:cubicBezTo>
                <a:cubicBezTo>
                  <a:pt x="5001184" y="158147"/>
                  <a:pt x="5004943" y="158147"/>
                  <a:pt x="5035021" y="165678"/>
                </a:cubicBezTo>
                <a:cubicBezTo>
                  <a:pt x="5035021" y="165678"/>
                  <a:pt x="5035021" y="165678"/>
                  <a:pt x="5023743" y="184504"/>
                </a:cubicBezTo>
                <a:cubicBezTo>
                  <a:pt x="4971106" y="207097"/>
                  <a:pt x="4910950" y="237220"/>
                  <a:pt x="4869593" y="263578"/>
                </a:cubicBezTo>
                <a:cubicBezTo>
                  <a:pt x="4873353" y="267343"/>
                  <a:pt x="4880873" y="267343"/>
                  <a:pt x="4884632" y="267343"/>
                </a:cubicBezTo>
                <a:cubicBezTo>
                  <a:pt x="4843275" y="278639"/>
                  <a:pt x="4839515" y="304997"/>
                  <a:pt x="4798158" y="312528"/>
                </a:cubicBezTo>
                <a:cubicBezTo>
                  <a:pt x="4801918" y="316293"/>
                  <a:pt x="4801918" y="320059"/>
                  <a:pt x="4809437" y="316293"/>
                </a:cubicBezTo>
                <a:cubicBezTo>
                  <a:pt x="4813197" y="327589"/>
                  <a:pt x="4790639" y="320059"/>
                  <a:pt x="4783119" y="327589"/>
                </a:cubicBezTo>
                <a:cubicBezTo>
                  <a:pt x="4783119" y="320059"/>
                  <a:pt x="4798158" y="308762"/>
                  <a:pt x="4783119" y="304997"/>
                </a:cubicBezTo>
                <a:cubicBezTo>
                  <a:pt x="4760561" y="312528"/>
                  <a:pt x="4756801" y="327589"/>
                  <a:pt x="4760561" y="335120"/>
                </a:cubicBezTo>
                <a:cubicBezTo>
                  <a:pt x="4768080" y="346416"/>
                  <a:pt x="4783119" y="346416"/>
                  <a:pt x="4801918" y="342651"/>
                </a:cubicBezTo>
                <a:cubicBezTo>
                  <a:pt x="4798158" y="346416"/>
                  <a:pt x="4801918" y="346416"/>
                  <a:pt x="4801918" y="350182"/>
                </a:cubicBezTo>
                <a:cubicBezTo>
                  <a:pt x="4809437" y="350182"/>
                  <a:pt x="4816957" y="350182"/>
                  <a:pt x="4820717" y="346416"/>
                </a:cubicBezTo>
                <a:cubicBezTo>
                  <a:pt x="4820717" y="346416"/>
                  <a:pt x="4820717" y="346416"/>
                  <a:pt x="4816957" y="342651"/>
                </a:cubicBezTo>
                <a:cubicBezTo>
                  <a:pt x="4816957" y="342651"/>
                  <a:pt x="4816957" y="342651"/>
                  <a:pt x="4850795" y="342651"/>
                </a:cubicBezTo>
                <a:cubicBezTo>
                  <a:pt x="4862073" y="338886"/>
                  <a:pt x="4854554" y="335120"/>
                  <a:pt x="4850795" y="331355"/>
                </a:cubicBezTo>
                <a:cubicBezTo>
                  <a:pt x="4862073" y="327589"/>
                  <a:pt x="4892151" y="335120"/>
                  <a:pt x="4910950" y="323824"/>
                </a:cubicBezTo>
                <a:cubicBezTo>
                  <a:pt x="4877113" y="312528"/>
                  <a:pt x="4937269" y="304997"/>
                  <a:pt x="4918469" y="293701"/>
                </a:cubicBezTo>
                <a:cubicBezTo>
                  <a:pt x="4910950" y="293701"/>
                  <a:pt x="4937269" y="289935"/>
                  <a:pt x="4937269" y="278639"/>
                </a:cubicBezTo>
                <a:cubicBezTo>
                  <a:pt x="4937269" y="278639"/>
                  <a:pt x="4937269" y="278639"/>
                  <a:pt x="4941028" y="278639"/>
                </a:cubicBezTo>
                <a:cubicBezTo>
                  <a:pt x="4959827" y="263578"/>
                  <a:pt x="4989905" y="274874"/>
                  <a:pt x="4997424" y="256047"/>
                </a:cubicBezTo>
                <a:cubicBezTo>
                  <a:pt x="5050061" y="244751"/>
                  <a:pt x="4993665" y="271108"/>
                  <a:pt x="5042541" y="263578"/>
                </a:cubicBezTo>
                <a:cubicBezTo>
                  <a:pt x="5038781" y="271108"/>
                  <a:pt x="5027502" y="271108"/>
                  <a:pt x="5027502" y="278639"/>
                </a:cubicBezTo>
                <a:cubicBezTo>
                  <a:pt x="5027502" y="278639"/>
                  <a:pt x="5027502" y="278639"/>
                  <a:pt x="5061339" y="278639"/>
                </a:cubicBezTo>
                <a:cubicBezTo>
                  <a:pt x="5068859" y="301232"/>
                  <a:pt x="4986145" y="308762"/>
                  <a:pt x="5019983" y="323824"/>
                </a:cubicBezTo>
                <a:cubicBezTo>
                  <a:pt x="5019983" y="323824"/>
                  <a:pt x="5019983" y="323824"/>
                  <a:pt x="5012463" y="342651"/>
                </a:cubicBezTo>
                <a:cubicBezTo>
                  <a:pt x="4997424" y="346416"/>
                  <a:pt x="5004943" y="338886"/>
                  <a:pt x="5001184" y="335120"/>
                </a:cubicBezTo>
                <a:cubicBezTo>
                  <a:pt x="5001184" y="331355"/>
                  <a:pt x="5004943" y="327589"/>
                  <a:pt x="5001184" y="327589"/>
                </a:cubicBezTo>
                <a:cubicBezTo>
                  <a:pt x="4993665" y="327589"/>
                  <a:pt x="4982385" y="331355"/>
                  <a:pt x="4986145" y="335120"/>
                </a:cubicBezTo>
                <a:cubicBezTo>
                  <a:pt x="4986145" y="335120"/>
                  <a:pt x="4986145" y="335120"/>
                  <a:pt x="4978625" y="335120"/>
                </a:cubicBezTo>
                <a:cubicBezTo>
                  <a:pt x="4978625" y="335120"/>
                  <a:pt x="4978625" y="335120"/>
                  <a:pt x="4993665" y="301232"/>
                </a:cubicBezTo>
                <a:cubicBezTo>
                  <a:pt x="5001184" y="304997"/>
                  <a:pt x="5008703" y="301232"/>
                  <a:pt x="5008703" y="297466"/>
                </a:cubicBezTo>
                <a:cubicBezTo>
                  <a:pt x="5008703" y="297466"/>
                  <a:pt x="5008703" y="297466"/>
                  <a:pt x="5012463" y="286170"/>
                </a:cubicBezTo>
                <a:cubicBezTo>
                  <a:pt x="5019983" y="286170"/>
                  <a:pt x="5019983" y="286170"/>
                  <a:pt x="5027502" y="282405"/>
                </a:cubicBezTo>
                <a:cubicBezTo>
                  <a:pt x="5023743" y="271108"/>
                  <a:pt x="4989905" y="274874"/>
                  <a:pt x="4982385" y="286170"/>
                </a:cubicBezTo>
                <a:cubicBezTo>
                  <a:pt x="4963587" y="308762"/>
                  <a:pt x="4925989" y="335120"/>
                  <a:pt x="4888392" y="353947"/>
                </a:cubicBezTo>
                <a:cubicBezTo>
                  <a:pt x="4888392" y="353947"/>
                  <a:pt x="4888392" y="353947"/>
                  <a:pt x="4884632" y="365243"/>
                </a:cubicBezTo>
                <a:cubicBezTo>
                  <a:pt x="4877113" y="365243"/>
                  <a:pt x="4873353" y="365243"/>
                  <a:pt x="4869593" y="369009"/>
                </a:cubicBezTo>
                <a:cubicBezTo>
                  <a:pt x="4865833" y="376539"/>
                  <a:pt x="4880873" y="372774"/>
                  <a:pt x="4880873" y="380305"/>
                </a:cubicBezTo>
                <a:cubicBezTo>
                  <a:pt x="4877113" y="384070"/>
                  <a:pt x="4865833" y="384070"/>
                  <a:pt x="4865833" y="387836"/>
                </a:cubicBezTo>
                <a:cubicBezTo>
                  <a:pt x="4880873" y="395366"/>
                  <a:pt x="4888392" y="380305"/>
                  <a:pt x="4903431" y="391601"/>
                </a:cubicBezTo>
                <a:cubicBezTo>
                  <a:pt x="4910950" y="391601"/>
                  <a:pt x="4918469" y="387836"/>
                  <a:pt x="4929749" y="384070"/>
                </a:cubicBezTo>
                <a:cubicBezTo>
                  <a:pt x="4925989" y="387836"/>
                  <a:pt x="4925989" y="391601"/>
                  <a:pt x="4918469" y="395366"/>
                </a:cubicBezTo>
                <a:cubicBezTo>
                  <a:pt x="4918469" y="395366"/>
                  <a:pt x="4918469" y="395366"/>
                  <a:pt x="4925989" y="399132"/>
                </a:cubicBezTo>
                <a:cubicBezTo>
                  <a:pt x="4925989" y="399132"/>
                  <a:pt x="4925989" y="399132"/>
                  <a:pt x="4971106" y="380305"/>
                </a:cubicBezTo>
                <a:cubicBezTo>
                  <a:pt x="4982385" y="395366"/>
                  <a:pt x="4941028" y="421724"/>
                  <a:pt x="4967347" y="429255"/>
                </a:cubicBezTo>
                <a:cubicBezTo>
                  <a:pt x="4989905" y="414193"/>
                  <a:pt x="4982385" y="406663"/>
                  <a:pt x="5001184" y="391601"/>
                </a:cubicBezTo>
                <a:cubicBezTo>
                  <a:pt x="5001184" y="391601"/>
                  <a:pt x="5001184" y="391601"/>
                  <a:pt x="5012463" y="391601"/>
                </a:cubicBezTo>
                <a:cubicBezTo>
                  <a:pt x="4989905" y="414193"/>
                  <a:pt x="4974865" y="448082"/>
                  <a:pt x="4974865" y="466909"/>
                </a:cubicBezTo>
                <a:cubicBezTo>
                  <a:pt x="4974865" y="466909"/>
                  <a:pt x="4974865" y="466909"/>
                  <a:pt x="4971106" y="466909"/>
                </a:cubicBezTo>
                <a:cubicBezTo>
                  <a:pt x="4971106" y="466909"/>
                  <a:pt x="4971106" y="466909"/>
                  <a:pt x="4963587" y="470674"/>
                </a:cubicBezTo>
                <a:cubicBezTo>
                  <a:pt x="4959827" y="466909"/>
                  <a:pt x="4956067" y="470674"/>
                  <a:pt x="4952307" y="470674"/>
                </a:cubicBezTo>
                <a:cubicBezTo>
                  <a:pt x="4944788" y="470674"/>
                  <a:pt x="4937269" y="474440"/>
                  <a:pt x="4929749" y="474440"/>
                </a:cubicBezTo>
                <a:cubicBezTo>
                  <a:pt x="4952307" y="470674"/>
                  <a:pt x="4952307" y="470674"/>
                  <a:pt x="4952307" y="470674"/>
                </a:cubicBezTo>
                <a:cubicBezTo>
                  <a:pt x="4952307" y="470674"/>
                  <a:pt x="4952307" y="470674"/>
                  <a:pt x="4963587" y="470674"/>
                </a:cubicBezTo>
                <a:cubicBezTo>
                  <a:pt x="4963587" y="470674"/>
                  <a:pt x="4963587" y="470674"/>
                  <a:pt x="4967347" y="470674"/>
                </a:cubicBezTo>
                <a:cubicBezTo>
                  <a:pt x="4967347" y="470674"/>
                  <a:pt x="4967347" y="470674"/>
                  <a:pt x="4944788" y="481970"/>
                </a:cubicBezTo>
                <a:cubicBezTo>
                  <a:pt x="4944788" y="485736"/>
                  <a:pt x="4952307" y="485736"/>
                  <a:pt x="4959827" y="485736"/>
                </a:cubicBezTo>
                <a:cubicBezTo>
                  <a:pt x="4959827" y="485736"/>
                  <a:pt x="4959827" y="485736"/>
                  <a:pt x="4974865" y="474440"/>
                </a:cubicBezTo>
                <a:cubicBezTo>
                  <a:pt x="4974865" y="474440"/>
                  <a:pt x="4974865" y="474440"/>
                  <a:pt x="4978625" y="478205"/>
                </a:cubicBezTo>
                <a:cubicBezTo>
                  <a:pt x="4997424" y="470674"/>
                  <a:pt x="4974865" y="463144"/>
                  <a:pt x="4993665" y="455613"/>
                </a:cubicBezTo>
                <a:cubicBezTo>
                  <a:pt x="4993665" y="455613"/>
                  <a:pt x="4993665" y="455613"/>
                  <a:pt x="5004943" y="455613"/>
                </a:cubicBezTo>
                <a:cubicBezTo>
                  <a:pt x="5001184" y="474440"/>
                  <a:pt x="4997424" y="493267"/>
                  <a:pt x="5019983" y="497032"/>
                </a:cubicBezTo>
                <a:cubicBezTo>
                  <a:pt x="5042541" y="489501"/>
                  <a:pt x="5038781" y="478205"/>
                  <a:pt x="5046301" y="466909"/>
                </a:cubicBezTo>
                <a:cubicBezTo>
                  <a:pt x="5038781" y="463144"/>
                  <a:pt x="5038781" y="459378"/>
                  <a:pt x="5042541" y="451847"/>
                </a:cubicBezTo>
                <a:cubicBezTo>
                  <a:pt x="5053821" y="451847"/>
                  <a:pt x="5061339" y="455613"/>
                  <a:pt x="5065099" y="448082"/>
                </a:cubicBezTo>
                <a:cubicBezTo>
                  <a:pt x="5065099" y="448082"/>
                  <a:pt x="5065099" y="448082"/>
                  <a:pt x="5065099" y="474440"/>
                </a:cubicBezTo>
                <a:cubicBezTo>
                  <a:pt x="5065099" y="474440"/>
                  <a:pt x="5065099" y="474440"/>
                  <a:pt x="5080139" y="470674"/>
                </a:cubicBezTo>
                <a:cubicBezTo>
                  <a:pt x="5087658" y="478205"/>
                  <a:pt x="5091417" y="489501"/>
                  <a:pt x="5095177" y="497032"/>
                </a:cubicBezTo>
                <a:cubicBezTo>
                  <a:pt x="5087658" y="493267"/>
                  <a:pt x="5080139" y="493267"/>
                  <a:pt x="5072619" y="500797"/>
                </a:cubicBezTo>
                <a:cubicBezTo>
                  <a:pt x="5072619" y="500797"/>
                  <a:pt x="5072619" y="500797"/>
                  <a:pt x="5053821" y="493267"/>
                </a:cubicBezTo>
                <a:cubicBezTo>
                  <a:pt x="5042541" y="497032"/>
                  <a:pt x="5027502" y="497032"/>
                  <a:pt x="5019983" y="504563"/>
                </a:cubicBezTo>
                <a:cubicBezTo>
                  <a:pt x="5019983" y="504563"/>
                  <a:pt x="5019983" y="504563"/>
                  <a:pt x="5038781" y="504563"/>
                </a:cubicBezTo>
                <a:cubicBezTo>
                  <a:pt x="5038781" y="504563"/>
                  <a:pt x="5038781" y="504563"/>
                  <a:pt x="5035021" y="508328"/>
                </a:cubicBezTo>
                <a:cubicBezTo>
                  <a:pt x="5068859" y="504563"/>
                  <a:pt x="5083898" y="512094"/>
                  <a:pt x="5102697" y="508328"/>
                </a:cubicBezTo>
                <a:cubicBezTo>
                  <a:pt x="5106457" y="512094"/>
                  <a:pt x="5106457" y="512094"/>
                  <a:pt x="5110217" y="512094"/>
                </a:cubicBezTo>
                <a:cubicBezTo>
                  <a:pt x="5113976" y="512094"/>
                  <a:pt x="5113976" y="508328"/>
                  <a:pt x="5113976" y="508328"/>
                </a:cubicBezTo>
                <a:cubicBezTo>
                  <a:pt x="5117736" y="504563"/>
                  <a:pt x="5121495" y="504563"/>
                  <a:pt x="5125255" y="504563"/>
                </a:cubicBezTo>
                <a:cubicBezTo>
                  <a:pt x="5125255" y="500797"/>
                  <a:pt x="5121495" y="504563"/>
                  <a:pt x="5113976" y="504563"/>
                </a:cubicBezTo>
                <a:cubicBezTo>
                  <a:pt x="5113976" y="497032"/>
                  <a:pt x="5110217" y="493267"/>
                  <a:pt x="5117736" y="485736"/>
                </a:cubicBezTo>
                <a:cubicBezTo>
                  <a:pt x="5106457" y="474440"/>
                  <a:pt x="5098937" y="463144"/>
                  <a:pt x="5113976" y="444317"/>
                </a:cubicBezTo>
                <a:cubicBezTo>
                  <a:pt x="5140295" y="455613"/>
                  <a:pt x="5106457" y="497032"/>
                  <a:pt x="5159093" y="489501"/>
                </a:cubicBezTo>
                <a:cubicBezTo>
                  <a:pt x="5159093" y="489501"/>
                  <a:pt x="5159093" y="489501"/>
                  <a:pt x="5162853" y="485736"/>
                </a:cubicBezTo>
                <a:cubicBezTo>
                  <a:pt x="5162853" y="485736"/>
                  <a:pt x="5166613" y="489501"/>
                  <a:pt x="5170372" y="489501"/>
                </a:cubicBezTo>
                <a:cubicBezTo>
                  <a:pt x="5177891" y="497032"/>
                  <a:pt x="5181651" y="508328"/>
                  <a:pt x="5170372" y="519624"/>
                </a:cubicBezTo>
                <a:cubicBezTo>
                  <a:pt x="5170372" y="519624"/>
                  <a:pt x="5170372" y="519624"/>
                  <a:pt x="5162853" y="508328"/>
                </a:cubicBezTo>
                <a:cubicBezTo>
                  <a:pt x="5155333" y="519624"/>
                  <a:pt x="5132775" y="534686"/>
                  <a:pt x="5144054" y="549748"/>
                </a:cubicBezTo>
                <a:cubicBezTo>
                  <a:pt x="5136535" y="545982"/>
                  <a:pt x="5121495" y="557278"/>
                  <a:pt x="5110217" y="564809"/>
                </a:cubicBezTo>
                <a:cubicBezTo>
                  <a:pt x="5113976" y="579870"/>
                  <a:pt x="5113976" y="594932"/>
                  <a:pt x="5129015" y="606228"/>
                </a:cubicBezTo>
                <a:cubicBezTo>
                  <a:pt x="5129015" y="606228"/>
                  <a:pt x="5129015" y="606228"/>
                  <a:pt x="5159093" y="591167"/>
                </a:cubicBezTo>
                <a:cubicBezTo>
                  <a:pt x="5174132" y="602463"/>
                  <a:pt x="5129015" y="606228"/>
                  <a:pt x="5129015" y="617524"/>
                </a:cubicBezTo>
                <a:cubicBezTo>
                  <a:pt x="5129015" y="640117"/>
                  <a:pt x="5147813" y="662709"/>
                  <a:pt x="5136535" y="681536"/>
                </a:cubicBezTo>
                <a:cubicBezTo>
                  <a:pt x="5151573" y="685301"/>
                  <a:pt x="5147813" y="689067"/>
                  <a:pt x="5159093" y="692832"/>
                </a:cubicBezTo>
                <a:cubicBezTo>
                  <a:pt x="5159093" y="692832"/>
                  <a:pt x="5159093" y="692832"/>
                  <a:pt x="5207969" y="670240"/>
                </a:cubicBezTo>
                <a:cubicBezTo>
                  <a:pt x="5207969" y="670240"/>
                  <a:pt x="5207969" y="670240"/>
                  <a:pt x="5215489" y="674005"/>
                </a:cubicBezTo>
                <a:cubicBezTo>
                  <a:pt x="5215489" y="674005"/>
                  <a:pt x="5215489" y="674005"/>
                  <a:pt x="5223009" y="670240"/>
                </a:cubicBezTo>
                <a:cubicBezTo>
                  <a:pt x="5223009" y="681536"/>
                  <a:pt x="5230528" y="692832"/>
                  <a:pt x="5226769" y="704128"/>
                </a:cubicBezTo>
                <a:cubicBezTo>
                  <a:pt x="5200450" y="722955"/>
                  <a:pt x="5162853" y="730486"/>
                  <a:pt x="5129015" y="745548"/>
                </a:cubicBezTo>
                <a:cubicBezTo>
                  <a:pt x="5129015" y="745548"/>
                  <a:pt x="5129015" y="745548"/>
                  <a:pt x="5113976" y="745548"/>
                </a:cubicBezTo>
                <a:cubicBezTo>
                  <a:pt x="5113976" y="745548"/>
                  <a:pt x="5113976" y="745548"/>
                  <a:pt x="5117736" y="741782"/>
                </a:cubicBezTo>
                <a:cubicBezTo>
                  <a:pt x="5117736" y="734252"/>
                  <a:pt x="5102697" y="741782"/>
                  <a:pt x="5095177" y="741782"/>
                </a:cubicBezTo>
                <a:cubicBezTo>
                  <a:pt x="5095177" y="741782"/>
                  <a:pt x="5095177" y="741782"/>
                  <a:pt x="5038781" y="749313"/>
                </a:cubicBezTo>
                <a:cubicBezTo>
                  <a:pt x="5061339" y="756844"/>
                  <a:pt x="5102697" y="753079"/>
                  <a:pt x="5117736" y="756844"/>
                </a:cubicBezTo>
                <a:cubicBezTo>
                  <a:pt x="5087658" y="771905"/>
                  <a:pt x="5046301" y="756844"/>
                  <a:pt x="5016223" y="775671"/>
                </a:cubicBezTo>
                <a:cubicBezTo>
                  <a:pt x="5008703" y="760609"/>
                  <a:pt x="4959827" y="771905"/>
                  <a:pt x="4933509" y="768140"/>
                </a:cubicBezTo>
                <a:cubicBezTo>
                  <a:pt x="4918469" y="775671"/>
                  <a:pt x="4910950" y="786967"/>
                  <a:pt x="4892151" y="790732"/>
                </a:cubicBezTo>
                <a:cubicBezTo>
                  <a:pt x="4892151" y="790732"/>
                  <a:pt x="4892151" y="790732"/>
                  <a:pt x="4888392" y="786967"/>
                </a:cubicBezTo>
                <a:cubicBezTo>
                  <a:pt x="4873353" y="790732"/>
                  <a:pt x="4862073" y="805794"/>
                  <a:pt x="4869593" y="809559"/>
                </a:cubicBezTo>
                <a:cubicBezTo>
                  <a:pt x="4869593" y="809559"/>
                  <a:pt x="4869593" y="809559"/>
                  <a:pt x="4873353" y="813325"/>
                </a:cubicBezTo>
                <a:cubicBezTo>
                  <a:pt x="4858314" y="813325"/>
                  <a:pt x="4839515" y="813325"/>
                  <a:pt x="4831995" y="805794"/>
                </a:cubicBezTo>
                <a:cubicBezTo>
                  <a:pt x="4809437" y="809559"/>
                  <a:pt x="4786879" y="813325"/>
                  <a:pt x="4771840" y="820856"/>
                </a:cubicBezTo>
                <a:lnTo>
                  <a:pt x="4764275" y="817267"/>
                </a:lnTo>
                <a:lnTo>
                  <a:pt x="4765000" y="823531"/>
                </a:lnTo>
                <a:cubicBezTo>
                  <a:pt x="4766410" y="834357"/>
                  <a:pt x="4771109" y="842828"/>
                  <a:pt x="4797427" y="839063"/>
                </a:cubicBezTo>
                <a:cubicBezTo>
                  <a:pt x="4797427" y="839063"/>
                  <a:pt x="4797427" y="839063"/>
                  <a:pt x="4801187" y="835298"/>
                </a:cubicBezTo>
                <a:cubicBezTo>
                  <a:pt x="4801187" y="835298"/>
                  <a:pt x="4804947" y="839063"/>
                  <a:pt x="4808706" y="839063"/>
                </a:cubicBezTo>
                <a:cubicBezTo>
                  <a:pt x="4816225" y="846594"/>
                  <a:pt x="4819985" y="857890"/>
                  <a:pt x="4808706" y="869186"/>
                </a:cubicBezTo>
                <a:cubicBezTo>
                  <a:pt x="4808706" y="869186"/>
                  <a:pt x="4808706" y="869186"/>
                  <a:pt x="4801187" y="857890"/>
                </a:cubicBezTo>
                <a:cubicBezTo>
                  <a:pt x="4793667" y="869186"/>
                  <a:pt x="4771109" y="884248"/>
                  <a:pt x="4782388" y="899309"/>
                </a:cubicBezTo>
                <a:cubicBezTo>
                  <a:pt x="4774869" y="895544"/>
                  <a:pt x="4759829" y="906840"/>
                  <a:pt x="4748551" y="914371"/>
                </a:cubicBezTo>
                <a:cubicBezTo>
                  <a:pt x="4752310" y="929432"/>
                  <a:pt x="4752310" y="944494"/>
                  <a:pt x="4767349" y="955790"/>
                </a:cubicBezTo>
                <a:cubicBezTo>
                  <a:pt x="4767349" y="955790"/>
                  <a:pt x="4767349" y="955790"/>
                  <a:pt x="4797427" y="940729"/>
                </a:cubicBezTo>
                <a:cubicBezTo>
                  <a:pt x="4812466" y="952025"/>
                  <a:pt x="4767349" y="955790"/>
                  <a:pt x="4767349" y="967086"/>
                </a:cubicBezTo>
                <a:cubicBezTo>
                  <a:pt x="4767349" y="989679"/>
                  <a:pt x="4786147" y="1012271"/>
                  <a:pt x="4774869" y="1031098"/>
                </a:cubicBezTo>
                <a:cubicBezTo>
                  <a:pt x="4789907" y="1034863"/>
                  <a:pt x="4786147" y="1038629"/>
                  <a:pt x="4797427" y="1042394"/>
                </a:cubicBezTo>
                <a:cubicBezTo>
                  <a:pt x="4797427" y="1042394"/>
                  <a:pt x="4797427" y="1042394"/>
                  <a:pt x="4846303" y="1019802"/>
                </a:cubicBezTo>
                <a:cubicBezTo>
                  <a:pt x="4846303" y="1019802"/>
                  <a:pt x="4846303" y="1019802"/>
                  <a:pt x="4853823" y="1023567"/>
                </a:cubicBezTo>
                <a:cubicBezTo>
                  <a:pt x="4853823" y="1023567"/>
                  <a:pt x="4853823" y="1023567"/>
                  <a:pt x="4861343" y="1019802"/>
                </a:cubicBezTo>
                <a:cubicBezTo>
                  <a:pt x="4861343" y="1031098"/>
                  <a:pt x="4868862" y="1042394"/>
                  <a:pt x="4865103" y="1053690"/>
                </a:cubicBezTo>
                <a:cubicBezTo>
                  <a:pt x="4838784" y="1072517"/>
                  <a:pt x="4801187" y="1080048"/>
                  <a:pt x="4767349" y="1095110"/>
                </a:cubicBezTo>
                <a:cubicBezTo>
                  <a:pt x="4767349" y="1095110"/>
                  <a:pt x="4767349" y="1095110"/>
                  <a:pt x="4752310" y="1095110"/>
                </a:cubicBezTo>
                <a:cubicBezTo>
                  <a:pt x="4752310" y="1095110"/>
                  <a:pt x="4752310" y="1095110"/>
                  <a:pt x="4756070" y="1091344"/>
                </a:cubicBezTo>
                <a:cubicBezTo>
                  <a:pt x="4756070" y="1083814"/>
                  <a:pt x="4741031" y="1091344"/>
                  <a:pt x="4733511" y="1091344"/>
                </a:cubicBezTo>
                <a:cubicBezTo>
                  <a:pt x="4733511" y="1091344"/>
                  <a:pt x="4733511" y="1091344"/>
                  <a:pt x="4677115" y="1098875"/>
                </a:cubicBezTo>
                <a:cubicBezTo>
                  <a:pt x="4699673" y="1106406"/>
                  <a:pt x="4741031" y="1102641"/>
                  <a:pt x="4756070" y="1106406"/>
                </a:cubicBezTo>
                <a:cubicBezTo>
                  <a:pt x="4725992" y="1121467"/>
                  <a:pt x="4684635" y="1106406"/>
                  <a:pt x="4654557" y="1125233"/>
                </a:cubicBezTo>
                <a:cubicBezTo>
                  <a:pt x="4647037" y="1110171"/>
                  <a:pt x="4598161" y="1121467"/>
                  <a:pt x="4571843" y="1117702"/>
                </a:cubicBezTo>
                <a:cubicBezTo>
                  <a:pt x="4556803" y="1125233"/>
                  <a:pt x="4549284" y="1136529"/>
                  <a:pt x="4530485" y="1140294"/>
                </a:cubicBezTo>
                <a:cubicBezTo>
                  <a:pt x="4530485" y="1140294"/>
                  <a:pt x="4530485" y="1140294"/>
                  <a:pt x="4526726" y="1136529"/>
                </a:cubicBezTo>
                <a:cubicBezTo>
                  <a:pt x="4511687" y="1140294"/>
                  <a:pt x="4500407" y="1155356"/>
                  <a:pt x="4507927" y="1159121"/>
                </a:cubicBezTo>
                <a:cubicBezTo>
                  <a:pt x="4507927" y="1159121"/>
                  <a:pt x="4507927" y="1159121"/>
                  <a:pt x="4511687" y="1162887"/>
                </a:cubicBezTo>
                <a:cubicBezTo>
                  <a:pt x="4496648" y="1162887"/>
                  <a:pt x="4477849" y="1162887"/>
                  <a:pt x="4470329" y="1155356"/>
                </a:cubicBezTo>
                <a:cubicBezTo>
                  <a:pt x="4447771" y="1159121"/>
                  <a:pt x="4425213" y="1162887"/>
                  <a:pt x="4410174" y="1170418"/>
                </a:cubicBezTo>
                <a:cubicBezTo>
                  <a:pt x="4413933" y="1166652"/>
                  <a:pt x="4383855" y="1166652"/>
                  <a:pt x="4406414" y="1159121"/>
                </a:cubicBezTo>
                <a:cubicBezTo>
                  <a:pt x="4383855" y="1162887"/>
                  <a:pt x="4365057" y="1136529"/>
                  <a:pt x="4342499" y="1159121"/>
                </a:cubicBezTo>
                <a:cubicBezTo>
                  <a:pt x="4342499" y="1159121"/>
                  <a:pt x="4342499" y="1159121"/>
                  <a:pt x="4350018" y="1166652"/>
                </a:cubicBezTo>
                <a:cubicBezTo>
                  <a:pt x="4319940" y="1170418"/>
                  <a:pt x="4289862" y="1140294"/>
                  <a:pt x="4282343" y="1170418"/>
                </a:cubicBezTo>
                <a:cubicBezTo>
                  <a:pt x="4286103" y="1174183"/>
                  <a:pt x="4293622" y="1174183"/>
                  <a:pt x="4297381" y="1177948"/>
                </a:cubicBezTo>
                <a:cubicBezTo>
                  <a:pt x="4271063" y="1193010"/>
                  <a:pt x="4263544" y="1166652"/>
                  <a:pt x="4229707" y="1177948"/>
                </a:cubicBezTo>
                <a:cubicBezTo>
                  <a:pt x="4203388" y="1185479"/>
                  <a:pt x="4177070" y="1200541"/>
                  <a:pt x="4146992" y="1200541"/>
                </a:cubicBezTo>
                <a:cubicBezTo>
                  <a:pt x="4109395" y="1208071"/>
                  <a:pt x="4079317" y="1208071"/>
                  <a:pt x="4041719" y="1215602"/>
                </a:cubicBezTo>
                <a:cubicBezTo>
                  <a:pt x="3913888" y="1238195"/>
                  <a:pt x="3782297" y="1245725"/>
                  <a:pt x="3665745" y="1249491"/>
                </a:cubicBezTo>
                <a:cubicBezTo>
                  <a:pt x="3669505" y="1249491"/>
                  <a:pt x="3669505" y="1249491"/>
                  <a:pt x="3673265" y="1245725"/>
                </a:cubicBezTo>
                <a:cubicBezTo>
                  <a:pt x="3583031" y="1219368"/>
                  <a:pt x="3447681" y="1260787"/>
                  <a:pt x="3349927" y="1257022"/>
                </a:cubicBezTo>
                <a:cubicBezTo>
                  <a:pt x="3402564" y="1253256"/>
                  <a:pt x="3447681" y="1245725"/>
                  <a:pt x="3500317" y="1234429"/>
                </a:cubicBezTo>
                <a:cubicBezTo>
                  <a:pt x="3417603" y="1226898"/>
                  <a:pt x="3327369" y="1238195"/>
                  <a:pt x="3244655" y="1241960"/>
                </a:cubicBezTo>
                <a:cubicBezTo>
                  <a:pt x="3267213" y="1230664"/>
                  <a:pt x="3297291" y="1234429"/>
                  <a:pt x="3316090" y="1226898"/>
                </a:cubicBezTo>
                <a:cubicBezTo>
                  <a:pt x="3316090" y="1226898"/>
                  <a:pt x="3316090" y="1226898"/>
                  <a:pt x="3327369" y="1234429"/>
                </a:cubicBezTo>
                <a:cubicBezTo>
                  <a:pt x="3353687" y="1230664"/>
                  <a:pt x="3380005" y="1211837"/>
                  <a:pt x="3410083" y="1215602"/>
                </a:cubicBezTo>
                <a:cubicBezTo>
                  <a:pt x="3410083" y="1215602"/>
                  <a:pt x="3410083" y="1215602"/>
                  <a:pt x="3410083" y="1208071"/>
                </a:cubicBezTo>
                <a:cubicBezTo>
                  <a:pt x="3598070" y="1193010"/>
                  <a:pt x="3804856" y="1185479"/>
                  <a:pt x="3996603" y="1147825"/>
                </a:cubicBezTo>
                <a:cubicBezTo>
                  <a:pt x="4015401" y="1144060"/>
                  <a:pt x="4045479" y="1151591"/>
                  <a:pt x="4056759" y="1136529"/>
                </a:cubicBezTo>
                <a:cubicBezTo>
                  <a:pt x="4056759" y="1136529"/>
                  <a:pt x="4056759" y="1136529"/>
                  <a:pt x="4037960" y="1132764"/>
                </a:cubicBezTo>
                <a:cubicBezTo>
                  <a:pt x="4045479" y="1125233"/>
                  <a:pt x="4060518" y="1128998"/>
                  <a:pt x="4064278" y="1132764"/>
                </a:cubicBezTo>
                <a:cubicBezTo>
                  <a:pt x="4064278" y="1132764"/>
                  <a:pt x="4064278" y="1132764"/>
                  <a:pt x="4068037" y="1132764"/>
                </a:cubicBezTo>
                <a:cubicBezTo>
                  <a:pt x="4075557" y="1121467"/>
                  <a:pt x="4094356" y="1136529"/>
                  <a:pt x="4105635" y="1121467"/>
                </a:cubicBezTo>
                <a:cubicBezTo>
                  <a:pt x="4101875" y="1110171"/>
                  <a:pt x="4079317" y="1121467"/>
                  <a:pt x="4064278" y="1121467"/>
                </a:cubicBezTo>
                <a:cubicBezTo>
                  <a:pt x="4049239" y="1117702"/>
                  <a:pt x="4022921" y="1106406"/>
                  <a:pt x="3985323" y="1121467"/>
                </a:cubicBezTo>
                <a:cubicBezTo>
                  <a:pt x="3868771" y="1106406"/>
                  <a:pt x="3748460" y="1147825"/>
                  <a:pt x="3631908" y="1132764"/>
                </a:cubicBezTo>
                <a:cubicBezTo>
                  <a:pt x="3594311" y="1117702"/>
                  <a:pt x="3526635" y="1140294"/>
                  <a:pt x="3470239" y="1140294"/>
                </a:cubicBezTo>
                <a:cubicBezTo>
                  <a:pt x="3308570" y="1159121"/>
                  <a:pt x="3146901" y="1147825"/>
                  <a:pt x="2981473" y="1170418"/>
                </a:cubicBezTo>
                <a:cubicBezTo>
                  <a:pt x="2913798" y="1159121"/>
                  <a:pt x="2846123" y="1181714"/>
                  <a:pt x="2789726" y="1166652"/>
                </a:cubicBezTo>
                <a:cubicBezTo>
                  <a:pt x="2691973" y="1159121"/>
                  <a:pt x="2601740" y="1174183"/>
                  <a:pt x="2519025" y="1159121"/>
                </a:cubicBezTo>
                <a:cubicBezTo>
                  <a:pt x="2519025" y="1159121"/>
                  <a:pt x="2519025" y="1159121"/>
                  <a:pt x="2511506" y="1162887"/>
                </a:cubicBezTo>
                <a:cubicBezTo>
                  <a:pt x="2503986" y="1155356"/>
                  <a:pt x="2492707" y="1166652"/>
                  <a:pt x="2488947" y="1166652"/>
                </a:cubicBezTo>
                <a:cubicBezTo>
                  <a:pt x="2451350" y="1177948"/>
                  <a:pt x="2406233" y="1177948"/>
                  <a:pt x="2368636" y="1177948"/>
                </a:cubicBezTo>
                <a:cubicBezTo>
                  <a:pt x="2323519" y="1196775"/>
                  <a:pt x="2274642" y="1193010"/>
                  <a:pt x="2225766" y="1196775"/>
                </a:cubicBezTo>
                <a:cubicBezTo>
                  <a:pt x="2000181" y="1196775"/>
                  <a:pt x="1706922" y="1193010"/>
                  <a:pt x="1466298" y="1189245"/>
                </a:cubicBezTo>
                <a:cubicBezTo>
                  <a:pt x="1402383" y="1174183"/>
                  <a:pt x="1327188" y="1189245"/>
                  <a:pt x="1259513" y="1177948"/>
                </a:cubicBezTo>
                <a:cubicBezTo>
                  <a:pt x="1165519" y="1174183"/>
                  <a:pt x="1086565" y="1162887"/>
                  <a:pt x="992571" y="1162887"/>
                </a:cubicBezTo>
                <a:cubicBezTo>
                  <a:pt x="966253" y="1162887"/>
                  <a:pt x="917377" y="1162887"/>
                  <a:pt x="891058" y="1155356"/>
                </a:cubicBezTo>
                <a:lnTo>
                  <a:pt x="883995" y="1158893"/>
                </a:lnTo>
                <a:lnTo>
                  <a:pt x="876489" y="1158650"/>
                </a:lnTo>
                <a:cubicBezTo>
                  <a:pt x="861920" y="1158180"/>
                  <a:pt x="832782" y="1157239"/>
                  <a:pt x="774506" y="1155356"/>
                </a:cubicBezTo>
                <a:cubicBezTo>
                  <a:pt x="755708" y="1166652"/>
                  <a:pt x="733149" y="1155356"/>
                  <a:pt x="710591" y="1166652"/>
                </a:cubicBezTo>
                <a:cubicBezTo>
                  <a:pt x="661714" y="1162887"/>
                  <a:pt x="590279" y="1166652"/>
                  <a:pt x="530123" y="1166652"/>
                </a:cubicBezTo>
                <a:cubicBezTo>
                  <a:pt x="522604" y="1166652"/>
                  <a:pt x="522604" y="1174183"/>
                  <a:pt x="511325" y="1170418"/>
                </a:cubicBezTo>
                <a:cubicBezTo>
                  <a:pt x="511325" y="1170418"/>
                  <a:pt x="511325" y="1170418"/>
                  <a:pt x="507565" y="1170418"/>
                </a:cubicBezTo>
                <a:cubicBezTo>
                  <a:pt x="500046" y="1174183"/>
                  <a:pt x="496286" y="1177948"/>
                  <a:pt x="488766" y="1174183"/>
                </a:cubicBezTo>
                <a:cubicBezTo>
                  <a:pt x="469968" y="1170418"/>
                  <a:pt x="443649" y="1166652"/>
                  <a:pt x="424851" y="1170418"/>
                </a:cubicBezTo>
                <a:cubicBezTo>
                  <a:pt x="424851" y="1170418"/>
                  <a:pt x="424851" y="1170418"/>
                  <a:pt x="421091" y="1162887"/>
                </a:cubicBezTo>
                <a:cubicBezTo>
                  <a:pt x="413572" y="1166652"/>
                  <a:pt x="409812" y="1170418"/>
                  <a:pt x="398533" y="1170418"/>
                </a:cubicBezTo>
                <a:cubicBezTo>
                  <a:pt x="406052" y="1151591"/>
                  <a:pt x="368455" y="1166652"/>
                  <a:pt x="357175" y="1159121"/>
                </a:cubicBezTo>
                <a:cubicBezTo>
                  <a:pt x="349655" y="1162887"/>
                  <a:pt x="342136" y="1159121"/>
                  <a:pt x="334617" y="1162887"/>
                </a:cubicBezTo>
                <a:cubicBezTo>
                  <a:pt x="338376" y="1159121"/>
                  <a:pt x="334617" y="1159121"/>
                  <a:pt x="338376" y="1155356"/>
                </a:cubicBezTo>
                <a:cubicBezTo>
                  <a:pt x="323337" y="1155356"/>
                  <a:pt x="315818" y="1151591"/>
                  <a:pt x="300779" y="1155356"/>
                </a:cubicBezTo>
                <a:cubicBezTo>
                  <a:pt x="289500" y="1140294"/>
                  <a:pt x="263181" y="1140294"/>
                  <a:pt x="233104" y="1140294"/>
                </a:cubicBezTo>
                <a:cubicBezTo>
                  <a:pt x="266941" y="1136529"/>
                  <a:pt x="323337" y="1136529"/>
                  <a:pt x="353415" y="1125233"/>
                </a:cubicBezTo>
                <a:cubicBezTo>
                  <a:pt x="345896" y="1121467"/>
                  <a:pt x="330857" y="1125233"/>
                  <a:pt x="315818" y="1125233"/>
                </a:cubicBezTo>
                <a:cubicBezTo>
                  <a:pt x="312058" y="1117702"/>
                  <a:pt x="323337" y="1113937"/>
                  <a:pt x="327097" y="1110171"/>
                </a:cubicBezTo>
                <a:cubicBezTo>
                  <a:pt x="327097" y="1110171"/>
                  <a:pt x="327097" y="1110171"/>
                  <a:pt x="274461" y="1102641"/>
                </a:cubicBezTo>
                <a:cubicBezTo>
                  <a:pt x="297019" y="1102641"/>
                  <a:pt x="360935" y="1106406"/>
                  <a:pt x="387253" y="1095110"/>
                </a:cubicBezTo>
                <a:cubicBezTo>
                  <a:pt x="364695" y="1091344"/>
                  <a:pt x="349655" y="1095110"/>
                  <a:pt x="334617" y="1095110"/>
                </a:cubicBezTo>
                <a:cubicBezTo>
                  <a:pt x="338376" y="1087579"/>
                  <a:pt x="319578" y="1083814"/>
                  <a:pt x="312058" y="1083814"/>
                </a:cubicBezTo>
                <a:cubicBezTo>
                  <a:pt x="308298" y="1080048"/>
                  <a:pt x="353415" y="1083814"/>
                  <a:pt x="338376" y="1072517"/>
                </a:cubicBezTo>
                <a:cubicBezTo>
                  <a:pt x="360935" y="1068752"/>
                  <a:pt x="342136" y="1049925"/>
                  <a:pt x="372214" y="1046160"/>
                </a:cubicBezTo>
                <a:cubicBezTo>
                  <a:pt x="338376" y="1042394"/>
                  <a:pt x="323337" y="1080048"/>
                  <a:pt x="293259" y="1064987"/>
                </a:cubicBezTo>
                <a:cubicBezTo>
                  <a:pt x="281980" y="1057456"/>
                  <a:pt x="315818" y="1031098"/>
                  <a:pt x="281980" y="1034863"/>
                </a:cubicBezTo>
                <a:cubicBezTo>
                  <a:pt x="236863" y="1016037"/>
                  <a:pt x="334617" y="1012271"/>
                  <a:pt x="308298" y="985913"/>
                </a:cubicBezTo>
                <a:cubicBezTo>
                  <a:pt x="315818" y="982148"/>
                  <a:pt x="315818" y="978383"/>
                  <a:pt x="323337" y="978383"/>
                </a:cubicBezTo>
                <a:cubicBezTo>
                  <a:pt x="300779" y="978383"/>
                  <a:pt x="289500" y="963321"/>
                  <a:pt x="263181" y="970852"/>
                </a:cubicBezTo>
                <a:cubicBezTo>
                  <a:pt x="206785" y="948259"/>
                  <a:pt x="289500" y="940729"/>
                  <a:pt x="300779" y="918136"/>
                </a:cubicBezTo>
                <a:cubicBezTo>
                  <a:pt x="312058" y="918136"/>
                  <a:pt x="327097" y="918136"/>
                  <a:pt x="330857" y="914371"/>
                </a:cubicBezTo>
                <a:cubicBezTo>
                  <a:pt x="251902" y="880482"/>
                  <a:pt x="139110" y="872952"/>
                  <a:pt x="67675" y="831532"/>
                </a:cubicBezTo>
                <a:cubicBezTo>
                  <a:pt x="52636" y="827767"/>
                  <a:pt x="33837" y="824001"/>
                  <a:pt x="11279" y="824001"/>
                </a:cubicBezTo>
                <a:cubicBezTo>
                  <a:pt x="11279" y="824001"/>
                  <a:pt x="11279" y="824001"/>
                  <a:pt x="0" y="820236"/>
                </a:cubicBezTo>
                <a:cubicBezTo>
                  <a:pt x="0" y="820236"/>
                  <a:pt x="0" y="820236"/>
                  <a:pt x="30078" y="820236"/>
                </a:cubicBezTo>
                <a:cubicBezTo>
                  <a:pt x="26318" y="820236"/>
                  <a:pt x="33837" y="824001"/>
                  <a:pt x="33837" y="824001"/>
                </a:cubicBezTo>
                <a:cubicBezTo>
                  <a:pt x="41357" y="824001"/>
                  <a:pt x="41357" y="820236"/>
                  <a:pt x="45117" y="820236"/>
                </a:cubicBezTo>
                <a:cubicBezTo>
                  <a:pt x="45117" y="820236"/>
                  <a:pt x="45117" y="820236"/>
                  <a:pt x="45117" y="812705"/>
                </a:cubicBezTo>
                <a:cubicBezTo>
                  <a:pt x="101513" y="831532"/>
                  <a:pt x="161669" y="857890"/>
                  <a:pt x="236863" y="865421"/>
                </a:cubicBezTo>
                <a:cubicBezTo>
                  <a:pt x="236863" y="865421"/>
                  <a:pt x="236863" y="865421"/>
                  <a:pt x="240623" y="861655"/>
                </a:cubicBezTo>
                <a:cubicBezTo>
                  <a:pt x="236863" y="872952"/>
                  <a:pt x="251902" y="869186"/>
                  <a:pt x="259422" y="869186"/>
                </a:cubicBezTo>
                <a:cubicBezTo>
                  <a:pt x="259422" y="869186"/>
                  <a:pt x="259422" y="869186"/>
                  <a:pt x="270701" y="861655"/>
                </a:cubicBezTo>
                <a:cubicBezTo>
                  <a:pt x="270701" y="861655"/>
                  <a:pt x="270701" y="861655"/>
                  <a:pt x="274461" y="865421"/>
                </a:cubicBezTo>
                <a:cubicBezTo>
                  <a:pt x="274461" y="865421"/>
                  <a:pt x="274461" y="865421"/>
                  <a:pt x="278220" y="861655"/>
                </a:cubicBezTo>
                <a:cubicBezTo>
                  <a:pt x="274461" y="854125"/>
                  <a:pt x="251902" y="854125"/>
                  <a:pt x="233104" y="857890"/>
                </a:cubicBezTo>
                <a:cubicBezTo>
                  <a:pt x="233104" y="839063"/>
                  <a:pt x="270701" y="850359"/>
                  <a:pt x="278220" y="842828"/>
                </a:cubicBezTo>
                <a:cubicBezTo>
                  <a:pt x="278220" y="842828"/>
                  <a:pt x="278220" y="842828"/>
                  <a:pt x="293259" y="842828"/>
                </a:cubicBezTo>
                <a:cubicBezTo>
                  <a:pt x="297019" y="846594"/>
                  <a:pt x="281980" y="850359"/>
                  <a:pt x="278220" y="854125"/>
                </a:cubicBezTo>
                <a:cubicBezTo>
                  <a:pt x="289500" y="854125"/>
                  <a:pt x="300779" y="865421"/>
                  <a:pt x="312058" y="857890"/>
                </a:cubicBezTo>
                <a:cubicBezTo>
                  <a:pt x="297019" y="850359"/>
                  <a:pt x="315818" y="850359"/>
                  <a:pt x="312058" y="842828"/>
                </a:cubicBezTo>
                <a:cubicBezTo>
                  <a:pt x="312058" y="842828"/>
                  <a:pt x="312058" y="842828"/>
                  <a:pt x="308298" y="839063"/>
                </a:cubicBezTo>
                <a:cubicBezTo>
                  <a:pt x="308298" y="839063"/>
                  <a:pt x="308298" y="839063"/>
                  <a:pt x="304539" y="839063"/>
                </a:cubicBezTo>
                <a:cubicBezTo>
                  <a:pt x="308298" y="839063"/>
                  <a:pt x="308298" y="839063"/>
                  <a:pt x="308298" y="835298"/>
                </a:cubicBezTo>
                <a:cubicBezTo>
                  <a:pt x="308298" y="835298"/>
                  <a:pt x="308298" y="835298"/>
                  <a:pt x="297019" y="831532"/>
                </a:cubicBezTo>
                <a:cubicBezTo>
                  <a:pt x="289500" y="835298"/>
                  <a:pt x="278220" y="839063"/>
                  <a:pt x="270701" y="835298"/>
                </a:cubicBezTo>
                <a:cubicBezTo>
                  <a:pt x="274461" y="827767"/>
                  <a:pt x="300779" y="827767"/>
                  <a:pt x="312058" y="820236"/>
                </a:cubicBezTo>
                <a:cubicBezTo>
                  <a:pt x="312058" y="820236"/>
                  <a:pt x="312058" y="820236"/>
                  <a:pt x="308298" y="816471"/>
                </a:cubicBezTo>
                <a:cubicBezTo>
                  <a:pt x="319578" y="808940"/>
                  <a:pt x="383494" y="812705"/>
                  <a:pt x="353415" y="793878"/>
                </a:cubicBezTo>
                <a:cubicBezTo>
                  <a:pt x="349655" y="790113"/>
                  <a:pt x="342136" y="790113"/>
                  <a:pt x="334617" y="790113"/>
                </a:cubicBezTo>
                <a:cubicBezTo>
                  <a:pt x="304539" y="801409"/>
                  <a:pt x="270701" y="835298"/>
                  <a:pt x="233104" y="824001"/>
                </a:cubicBezTo>
                <a:cubicBezTo>
                  <a:pt x="210545" y="839063"/>
                  <a:pt x="191746" y="835298"/>
                  <a:pt x="161669" y="839063"/>
                </a:cubicBezTo>
                <a:cubicBezTo>
                  <a:pt x="161669" y="839063"/>
                  <a:pt x="161669" y="839063"/>
                  <a:pt x="184227" y="827767"/>
                </a:cubicBezTo>
                <a:cubicBezTo>
                  <a:pt x="184227" y="827767"/>
                  <a:pt x="184227" y="827767"/>
                  <a:pt x="176707" y="827767"/>
                </a:cubicBezTo>
                <a:cubicBezTo>
                  <a:pt x="199266" y="827767"/>
                  <a:pt x="214305" y="805175"/>
                  <a:pt x="251902" y="805175"/>
                </a:cubicBezTo>
                <a:cubicBezTo>
                  <a:pt x="259422" y="801409"/>
                  <a:pt x="259422" y="793878"/>
                  <a:pt x="274461" y="797644"/>
                </a:cubicBezTo>
                <a:cubicBezTo>
                  <a:pt x="274461" y="797644"/>
                  <a:pt x="274461" y="797644"/>
                  <a:pt x="281980" y="797644"/>
                </a:cubicBezTo>
                <a:cubicBezTo>
                  <a:pt x="281980" y="797644"/>
                  <a:pt x="281980" y="797644"/>
                  <a:pt x="297019" y="790113"/>
                </a:cubicBezTo>
                <a:cubicBezTo>
                  <a:pt x="297019" y="790113"/>
                  <a:pt x="297019" y="790113"/>
                  <a:pt x="293259" y="786348"/>
                </a:cubicBezTo>
                <a:cubicBezTo>
                  <a:pt x="281980" y="778817"/>
                  <a:pt x="372214" y="782582"/>
                  <a:pt x="327097" y="763755"/>
                </a:cubicBezTo>
                <a:cubicBezTo>
                  <a:pt x="300779" y="778817"/>
                  <a:pt x="255662" y="771286"/>
                  <a:pt x="236863" y="786348"/>
                </a:cubicBezTo>
                <a:cubicBezTo>
                  <a:pt x="236863" y="786348"/>
                  <a:pt x="236863" y="786348"/>
                  <a:pt x="199266" y="790113"/>
                </a:cubicBezTo>
                <a:cubicBezTo>
                  <a:pt x="244383" y="771286"/>
                  <a:pt x="330857" y="763755"/>
                  <a:pt x="330857" y="726101"/>
                </a:cubicBezTo>
                <a:cubicBezTo>
                  <a:pt x="345896" y="718570"/>
                  <a:pt x="353415" y="711040"/>
                  <a:pt x="357175" y="699743"/>
                </a:cubicBezTo>
                <a:cubicBezTo>
                  <a:pt x="360935" y="703509"/>
                  <a:pt x="360935" y="699743"/>
                  <a:pt x="364695" y="699743"/>
                </a:cubicBezTo>
                <a:cubicBezTo>
                  <a:pt x="364695" y="699743"/>
                  <a:pt x="364695" y="699743"/>
                  <a:pt x="364695" y="688447"/>
                </a:cubicBezTo>
                <a:cubicBezTo>
                  <a:pt x="387253" y="680917"/>
                  <a:pt x="398533" y="665855"/>
                  <a:pt x="402292" y="650793"/>
                </a:cubicBezTo>
                <a:cubicBezTo>
                  <a:pt x="439890" y="628201"/>
                  <a:pt x="417331" y="575486"/>
                  <a:pt x="511325" y="579251"/>
                </a:cubicBezTo>
                <a:cubicBezTo>
                  <a:pt x="526364" y="564190"/>
                  <a:pt x="537643" y="549128"/>
                  <a:pt x="551742" y="534537"/>
                </a:cubicBezTo>
                <a:lnTo>
                  <a:pt x="561872" y="527136"/>
                </a:lnTo>
                <a:lnTo>
                  <a:pt x="558113" y="526214"/>
                </a:lnTo>
                <a:cubicBezTo>
                  <a:pt x="511116" y="514918"/>
                  <a:pt x="465059" y="502680"/>
                  <a:pt x="429342" y="481970"/>
                </a:cubicBezTo>
                <a:cubicBezTo>
                  <a:pt x="414303" y="478205"/>
                  <a:pt x="395504" y="474440"/>
                  <a:pt x="372945" y="474440"/>
                </a:cubicBezTo>
                <a:cubicBezTo>
                  <a:pt x="372945" y="474440"/>
                  <a:pt x="372945" y="474440"/>
                  <a:pt x="361666" y="470674"/>
                </a:cubicBezTo>
                <a:cubicBezTo>
                  <a:pt x="361666" y="470674"/>
                  <a:pt x="361666" y="470674"/>
                  <a:pt x="391744" y="470674"/>
                </a:cubicBezTo>
                <a:cubicBezTo>
                  <a:pt x="387984" y="470674"/>
                  <a:pt x="395504" y="474440"/>
                  <a:pt x="395504" y="474440"/>
                </a:cubicBezTo>
                <a:cubicBezTo>
                  <a:pt x="403023" y="474440"/>
                  <a:pt x="403023" y="470674"/>
                  <a:pt x="406783" y="470674"/>
                </a:cubicBezTo>
                <a:cubicBezTo>
                  <a:pt x="406783" y="470674"/>
                  <a:pt x="406783" y="470674"/>
                  <a:pt x="406783" y="463144"/>
                </a:cubicBezTo>
                <a:cubicBezTo>
                  <a:pt x="434981" y="472557"/>
                  <a:pt x="464119" y="483853"/>
                  <a:pt x="495607" y="493737"/>
                </a:cubicBezTo>
                <a:lnTo>
                  <a:pt x="582131" y="512335"/>
                </a:lnTo>
                <a:lnTo>
                  <a:pt x="609078" y="492647"/>
                </a:lnTo>
                <a:cubicBezTo>
                  <a:pt x="610958" y="494530"/>
                  <a:pt x="614718" y="494530"/>
                  <a:pt x="618947" y="494530"/>
                </a:cubicBezTo>
                <a:lnTo>
                  <a:pt x="624178" y="495306"/>
                </a:lnTo>
                <a:lnTo>
                  <a:pt x="639060" y="493374"/>
                </a:lnTo>
                <a:lnTo>
                  <a:pt x="653196" y="487588"/>
                </a:lnTo>
                <a:lnTo>
                  <a:pt x="661962" y="483064"/>
                </a:lnTo>
                <a:lnTo>
                  <a:pt x="658686" y="481970"/>
                </a:lnTo>
                <a:cubicBezTo>
                  <a:pt x="651166" y="485736"/>
                  <a:pt x="639887" y="489501"/>
                  <a:pt x="632367" y="485736"/>
                </a:cubicBezTo>
                <a:cubicBezTo>
                  <a:pt x="636127" y="478205"/>
                  <a:pt x="662445" y="478205"/>
                  <a:pt x="673725" y="470674"/>
                </a:cubicBezTo>
                <a:cubicBezTo>
                  <a:pt x="673725" y="470674"/>
                  <a:pt x="673725" y="470674"/>
                  <a:pt x="669965" y="466909"/>
                </a:cubicBezTo>
                <a:cubicBezTo>
                  <a:pt x="681244" y="459378"/>
                  <a:pt x="745160" y="463144"/>
                  <a:pt x="715082" y="444317"/>
                </a:cubicBezTo>
                <a:cubicBezTo>
                  <a:pt x="711322" y="440551"/>
                  <a:pt x="703802" y="440551"/>
                  <a:pt x="696283" y="440551"/>
                </a:cubicBezTo>
                <a:cubicBezTo>
                  <a:pt x="666205" y="451847"/>
                  <a:pt x="632367" y="485736"/>
                  <a:pt x="594770" y="474440"/>
                </a:cubicBezTo>
                <a:cubicBezTo>
                  <a:pt x="572212" y="489501"/>
                  <a:pt x="553413" y="485736"/>
                  <a:pt x="523335" y="489501"/>
                </a:cubicBezTo>
                <a:cubicBezTo>
                  <a:pt x="523335" y="489501"/>
                  <a:pt x="523335" y="489501"/>
                  <a:pt x="545893" y="478205"/>
                </a:cubicBezTo>
                <a:cubicBezTo>
                  <a:pt x="545893" y="478205"/>
                  <a:pt x="545893" y="478205"/>
                  <a:pt x="538374" y="478205"/>
                </a:cubicBezTo>
                <a:cubicBezTo>
                  <a:pt x="560932" y="478205"/>
                  <a:pt x="575971" y="455613"/>
                  <a:pt x="613569" y="455613"/>
                </a:cubicBezTo>
                <a:cubicBezTo>
                  <a:pt x="621088" y="451847"/>
                  <a:pt x="621088" y="444317"/>
                  <a:pt x="636127" y="448082"/>
                </a:cubicBezTo>
                <a:cubicBezTo>
                  <a:pt x="636127" y="448082"/>
                  <a:pt x="636127" y="448082"/>
                  <a:pt x="643647" y="448082"/>
                </a:cubicBezTo>
                <a:cubicBezTo>
                  <a:pt x="643647" y="448082"/>
                  <a:pt x="643647" y="448082"/>
                  <a:pt x="658686" y="440551"/>
                </a:cubicBezTo>
                <a:cubicBezTo>
                  <a:pt x="658686" y="440551"/>
                  <a:pt x="658686" y="440551"/>
                  <a:pt x="654926" y="436786"/>
                </a:cubicBezTo>
                <a:cubicBezTo>
                  <a:pt x="643647" y="429255"/>
                  <a:pt x="733880" y="433020"/>
                  <a:pt x="688764" y="414193"/>
                </a:cubicBezTo>
                <a:cubicBezTo>
                  <a:pt x="662445" y="429255"/>
                  <a:pt x="617328" y="421724"/>
                  <a:pt x="598530" y="436786"/>
                </a:cubicBezTo>
                <a:cubicBezTo>
                  <a:pt x="598530" y="436786"/>
                  <a:pt x="598530" y="436786"/>
                  <a:pt x="560932" y="440551"/>
                </a:cubicBezTo>
                <a:cubicBezTo>
                  <a:pt x="606049" y="421724"/>
                  <a:pt x="692523" y="414193"/>
                  <a:pt x="692523" y="376539"/>
                </a:cubicBezTo>
                <a:cubicBezTo>
                  <a:pt x="707562" y="369009"/>
                  <a:pt x="715082" y="361478"/>
                  <a:pt x="718841" y="350182"/>
                </a:cubicBezTo>
                <a:cubicBezTo>
                  <a:pt x="722601" y="353947"/>
                  <a:pt x="722601" y="350182"/>
                  <a:pt x="726361" y="350182"/>
                </a:cubicBezTo>
                <a:cubicBezTo>
                  <a:pt x="726361" y="350182"/>
                  <a:pt x="726361" y="350182"/>
                  <a:pt x="726361" y="338886"/>
                </a:cubicBezTo>
                <a:cubicBezTo>
                  <a:pt x="748919" y="331355"/>
                  <a:pt x="760199" y="316293"/>
                  <a:pt x="763958" y="301232"/>
                </a:cubicBezTo>
                <a:cubicBezTo>
                  <a:pt x="801556" y="278639"/>
                  <a:pt x="778997" y="225924"/>
                  <a:pt x="872991" y="229689"/>
                </a:cubicBezTo>
                <a:cubicBezTo>
                  <a:pt x="903069" y="199566"/>
                  <a:pt x="918108" y="169443"/>
                  <a:pt x="970744" y="143085"/>
                </a:cubicBezTo>
                <a:cubicBezTo>
                  <a:pt x="974504" y="146851"/>
                  <a:pt x="985783" y="143085"/>
                  <a:pt x="993302" y="146851"/>
                </a:cubicBezTo>
                <a:cubicBezTo>
                  <a:pt x="1023380" y="139320"/>
                  <a:pt x="1045939" y="109197"/>
                  <a:pt x="1087296" y="124258"/>
                </a:cubicBezTo>
                <a:cubicBezTo>
                  <a:pt x="1098575" y="128024"/>
                  <a:pt x="1102335" y="124258"/>
                  <a:pt x="1109854" y="120493"/>
                </a:cubicBezTo>
                <a:cubicBezTo>
                  <a:pt x="1109854" y="120493"/>
                  <a:pt x="1109854" y="120493"/>
                  <a:pt x="1109854" y="112962"/>
                </a:cubicBezTo>
                <a:cubicBezTo>
                  <a:pt x="1113614" y="128024"/>
                  <a:pt x="1154971" y="124258"/>
                  <a:pt x="1173770" y="120493"/>
                </a:cubicBezTo>
                <a:cubicBezTo>
                  <a:pt x="1170010" y="124258"/>
                  <a:pt x="1177530" y="128024"/>
                  <a:pt x="1166250" y="131789"/>
                </a:cubicBezTo>
                <a:cubicBezTo>
                  <a:pt x="1211367" y="139320"/>
                  <a:pt x="1233926" y="161912"/>
                  <a:pt x="1290322" y="154381"/>
                </a:cubicBezTo>
                <a:cubicBezTo>
                  <a:pt x="1290322" y="154381"/>
                  <a:pt x="1290322" y="154381"/>
                  <a:pt x="1286562" y="158147"/>
                </a:cubicBezTo>
                <a:cubicBezTo>
                  <a:pt x="1297841" y="158147"/>
                  <a:pt x="1301601" y="165678"/>
                  <a:pt x="1316640" y="161912"/>
                </a:cubicBezTo>
                <a:cubicBezTo>
                  <a:pt x="1350478" y="143085"/>
                  <a:pt x="1339198" y="109197"/>
                  <a:pt x="1399354" y="101666"/>
                </a:cubicBezTo>
                <a:cubicBezTo>
                  <a:pt x="1399354" y="94135"/>
                  <a:pt x="1406874" y="79073"/>
                  <a:pt x="1380555" y="82839"/>
                </a:cubicBezTo>
                <a:cubicBezTo>
                  <a:pt x="1376796" y="82839"/>
                  <a:pt x="1369276" y="86604"/>
                  <a:pt x="1369276" y="90370"/>
                </a:cubicBezTo>
                <a:cubicBezTo>
                  <a:pt x="1369276" y="86604"/>
                  <a:pt x="1369276" y="86604"/>
                  <a:pt x="1369276" y="86604"/>
                </a:cubicBezTo>
                <a:cubicBezTo>
                  <a:pt x="1339198" y="79073"/>
                  <a:pt x="1309120" y="79073"/>
                  <a:pt x="1275283" y="86604"/>
                </a:cubicBezTo>
                <a:cubicBezTo>
                  <a:pt x="1275283" y="86604"/>
                  <a:pt x="1275283" y="86604"/>
                  <a:pt x="1252724" y="97900"/>
                </a:cubicBezTo>
                <a:cubicBezTo>
                  <a:pt x="1248965" y="86604"/>
                  <a:pt x="1301601" y="86604"/>
                  <a:pt x="1282802" y="71543"/>
                </a:cubicBezTo>
                <a:cubicBezTo>
                  <a:pt x="1282802" y="71543"/>
                  <a:pt x="1282802" y="71543"/>
                  <a:pt x="1309120" y="67777"/>
                </a:cubicBezTo>
                <a:cubicBezTo>
                  <a:pt x="1327919" y="79073"/>
                  <a:pt x="1373036" y="79073"/>
                  <a:pt x="1399354" y="82839"/>
                </a:cubicBezTo>
                <a:cubicBezTo>
                  <a:pt x="1425672" y="82839"/>
                  <a:pt x="1433192" y="60247"/>
                  <a:pt x="1455750" y="56481"/>
                </a:cubicBezTo>
                <a:cubicBezTo>
                  <a:pt x="1455750" y="52716"/>
                  <a:pt x="1448231" y="52716"/>
                  <a:pt x="1440711" y="52716"/>
                </a:cubicBezTo>
                <a:cubicBezTo>
                  <a:pt x="1444471" y="33889"/>
                  <a:pt x="1485828" y="33889"/>
                  <a:pt x="1508387" y="22593"/>
                </a:cubicBezTo>
                <a:cubicBezTo>
                  <a:pt x="1497107" y="18827"/>
                  <a:pt x="1485828" y="15062"/>
                  <a:pt x="1474549" y="18827"/>
                </a:cubicBezTo>
                <a:cubicBezTo>
                  <a:pt x="1512146" y="7531"/>
                  <a:pt x="1557263" y="18827"/>
                  <a:pt x="1594861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                   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sz="2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             </a:t>
            </a:r>
            <a:r>
              <a:rPr lang="zh-CN" altLang="en-US" sz="2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学以致用</a:t>
            </a:r>
            <a:r>
              <a:rPr lang="en-US" altLang="zh-CN" sz="2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——</a:t>
            </a:r>
            <a:r>
              <a:rPr lang="zh-CN" altLang="en-US" sz="2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请你来当小老师</a:t>
            </a:r>
          </a:p>
          <a:p>
            <a:endParaRPr lang="en-US" altLang="zh-CN" sz="1800" b="1" dirty="0">
              <a:solidFill>
                <a:srgbClr val="C00000"/>
              </a:solidFill>
              <a:latin typeface="汉仪雁翎体简" panose="02010609000101010101" pitchFamily="49" charset="-122"/>
              <a:ea typeface="汉仪雁翎体简" panose="02010609000101010101" pitchFamily="49" charset="-122"/>
            </a:endParaRPr>
          </a:p>
          <a:p>
            <a:endParaRPr lang="zh-CN" altLang="en-US" sz="2800" b="1" dirty="0">
              <a:solidFill>
                <a:srgbClr val="C00000"/>
              </a:solidFill>
              <a:latin typeface="汉仪雁翎体简" panose="02010609000101010101" pitchFamily="49" charset="-122"/>
              <a:ea typeface="汉仪雁翎体简" panose="02010609000101010101" pitchFamily="49" charset="-122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ED1AF39B-4AC1-4CBE-B39D-7F31B18BCD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830" y="1799006"/>
            <a:ext cx="10589049" cy="4436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9661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F1D6FB-D0AC-B761-4662-E664B6B9A1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514AC5AE-BE59-9540-4195-BC020EAD6A75}"/>
              </a:ext>
            </a:extLst>
          </p:cNvPr>
          <p:cNvSpPr txBox="1"/>
          <p:nvPr/>
        </p:nvSpPr>
        <p:spPr>
          <a:xfrm>
            <a:off x="79171" y="690950"/>
            <a:ext cx="11208042" cy="8583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latin typeface="宋体" panose="02010600030101010101" pitchFamily="2" charset="-122"/>
                <a:ea typeface="宋体" panose="02010600030101010101" pitchFamily="2" charset="-122"/>
              </a:rPr>
              <a:t>选择上述思维导图中相互关联的事件，结合所学自定一个你想论述的观点，加以阐述或说明。（要求：观点正确，史论结合，条理清楚）</a:t>
            </a: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4EE38432-43F5-D569-12E1-40AB378FE08C}"/>
              </a:ext>
            </a:extLst>
          </p:cNvPr>
          <p:cNvSpPr>
            <a:spLocks/>
          </p:cNvSpPr>
          <p:nvPr/>
        </p:nvSpPr>
        <p:spPr bwMode="auto">
          <a:xfrm>
            <a:off x="-1418011" y="-159425"/>
            <a:ext cx="6060959" cy="921505"/>
          </a:xfrm>
          <a:custGeom>
            <a:avLst/>
            <a:gdLst>
              <a:gd name="connsiteX0" fmla="*/ 883995 w 5227821"/>
              <a:gd name="connsiteY0" fmla="*/ 1158893 h 1257266"/>
              <a:gd name="connsiteX1" fmla="*/ 891058 w 5227821"/>
              <a:gd name="connsiteY1" fmla="*/ 1159121 h 1257266"/>
              <a:gd name="connsiteX2" fmla="*/ 883539 w 5227821"/>
              <a:gd name="connsiteY2" fmla="*/ 1159121 h 1257266"/>
              <a:gd name="connsiteX3" fmla="*/ 4615788 w 5227821"/>
              <a:gd name="connsiteY3" fmla="*/ 826594 h 1257266"/>
              <a:gd name="connsiteX4" fmla="*/ 4616959 w 5227821"/>
              <a:gd name="connsiteY4" fmla="*/ 827767 h 1257266"/>
              <a:gd name="connsiteX5" fmla="*/ 4617450 w 5227821"/>
              <a:gd name="connsiteY5" fmla="*/ 827029 h 1257266"/>
              <a:gd name="connsiteX6" fmla="*/ 4610559 w 5227821"/>
              <a:gd name="connsiteY6" fmla="*/ 825984 h 1257266"/>
              <a:gd name="connsiteX7" fmla="*/ 4591373 w 5227821"/>
              <a:gd name="connsiteY7" fmla="*/ 828386 h 1257266"/>
              <a:gd name="connsiteX8" fmla="*/ 4584680 w 5227821"/>
              <a:gd name="connsiteY8" fmla="*/ 830752 h 1257266"/>
              <a:gd name="connsiteX9" fmla="*/ 4583122 w 5227821"/>
              <a:gd name="connsiteY9" fmla="*/ 831532 h 1257266"/>
              <a:gd name="connsiteX10" fmla="*/ 4598161 w 5227821"/>
              <a:gd name="connsiteY10" fmla="*/ 835298 h 1257266"/>
              <a:gd name="connsiteX11" fmla="*/ 4600041 w 5227821"/>
              <a:gd name="connsiteY11" fmla="*/ 833886 h 1257266"/>
              <a:gd name="connsiteX12" fmla="*/ 4763331 w 5227821"/>
              <a:gd name="connsiteY12" fmla="*/ 809097 h 1257266"/>
              <a:gd name="connsiteX13" fmla="*/ 4764025 w 5227821"/>
              <a:gd name="connsiteY13" fmla="*/ 815097 h 1257266"/>
              <a:gd name="connsiteX14" fmla="*/ 4768080 w 5227821"/>
              <a:gd name="connsiteY14" fmla="*/ 809559 h 1257266"/>
              <a:gd name="connsiteX15" fmla="*/ 4653526 w 5227821"/>
              <a:gd name="connsiteY15" fmla="*/ 808089 h 1257266"/>
              <a:gd name="connsiteX16" fmla="*/ 4644009 w 5227821"/>
              <a:gd name="connsiteY16" fmla="*/ 820856 h 1257266"/>
              <a:gd name="connsiteX17" fmla="*/ 4659047 w 5227821"/>
              <a:gd name="connsiteY17" fmla="*/ 828386 h 1257266"/>
              <a:gd name="connsiteX18" fmla="*/ 4642634 w 5227821"/>
              <a:gd name="connsiteY18" fmla="*/ 833009 h 1257266"/>
              <a:gd name="connsiteX19" fmla="*/ 4658317 w 5227821"/>
              <a:gd name="connsiteY19" fmla="*/ 846594 h 1257266"/>
              <a:gd name="connsiteX20" fmla="*/ 4684635 w 5227821"/>
              <a:gd name="connsiteY20" fmla="*/ 816471 h 1257266"/>
              <a:gd name="connsiteX21" fmla="*/ 4683861 w 5227821"/>
              <a:gd name="connsiteY21" fmla="*/ 813370 h 1257266"/>
              <a:gd name="connsiteX22" fmla="*/ 4669387 w 5227821"/>
              <a:gd name="connsiteY22" fmla="*/ 809089 h 1257266"/>
              <a:gd name="connsiteX23" fmla="*/ 4653526 w 5227821"/>
              <a:gd name="connsiteY23" fmla="*/ 808089 h 1257266"/>
              <a:gd name="connsiteX24" fmla="*/ 4720496 w 5227821"/>
              <a:gd name="connsiteY24" fmla="*/ 800558 h 1257266"/>
              <a:gd name="connsiteX25" fmla="*/ 4704165 w 5227821"/>
              <a:gd name="connsiteY25" fmla="*/ 809559 h 1257266"/>
              <a:gd name="connsiteX26" fmla="*/ 4711684 w 5227821"/>
              <a:gd name="connsiteY26" fmla="*/ 817090 h 1257266"/>
              <a:gd name="connsiteX27" fmla="*/ 4703433 w 5227821"/>
              <a:gd name="connsiteY27" fmla="*/ 816325 h 1257266"/>
              <a:gd name="connsiteX28" fmla="*/ 4703433 w 5227821"/>
              <a:gd name="connsiteY28" fmla="*/ 824001 h 1257266"/>
              <a:gd name="connsiteX29" fmla="*/ 4718473 w 5227821"/>
              <a:gd name="connsiteY29" fmla="*/ 820236 h 1257266"/>
              <a:gd name="connsiteX30" fmla="*/ 4733511 w 5227821"/>
              <a:gd name="connsiteY30" fmla="*/ 846594 h 1257266"/>
              <a:gd name="connsiteX31" fmla="*/ 4710953 w 5227821"/>
              <a:gd name="connsiteY31" fmla="*/ 850359 h 1257266"/>
              <a:gd name="connsiteX32" fmla="*/ 4692155 w 5227821"/>
              <a:gd name="connsiteY32" fmla="*/ 842828 h 1257266"/>
              <a:gd name="connsiteX33" fmla="*/ 4658317 w 5227821"/>
              <a:gd name="connsiteY33" fmla="*/ 854125 h 1257266"/>
              <a:gd name="connsiteX34" fmla="*/ 4677115 w 5227821"/>
              <a:gd name="connsiteY34" fmla="*/ 854125 h 1257266"/>
              <a:gd name="connsiteX35" fmla="*/ 4673355 w 5227821"/>
              <a:gd name="connsiteY35" fmla="*/ 857890 h 1257266"/>
              <a:gd name="connsiteX36" fmla="*/ 4741031 w 5227821"/>
              <a:gd name="connsiteY36" fmla="*/ 857890 h 1257266"/>
              <a:gd name="connsiteX37" fmla="*/ 4748551 w 5227821"/>
              <a:gd name="connsiteY37" fmla="*/ 861655 h 1257266"/>
              <a:gd name="connsiteX38" fmla="*/ 4752310 w 5227821"/>
              <a:gd name="connsiteY38" fmla="*/ 857890 h 1257266"/>
              <a:gd name="connsiteX39" fmla="*/ 4763589 w 5227821"/>
              <a:gd name="connsiteY39" fmla="*/ 854125 h 1257266"/>
              <a:gd name="connsiteX40" fmla="*/ 4752310 w 5227821"/>
              <a:gd name="connsiteY40" fmla="*/ 854125 h 1257266"/>
              <a:gd name="connsiteX41" fmla="*/ 4756070 w 5227821"/>
              <a:gd name="connsiteY41" fmla="*/ 835298 h 1257266"/>
              <a:gd name="connsiteX42" fmla="*/ 4744321 w 5227821"/>
              <a:gd name="connsiteY42" fmla="*/ 817412 h 1257266"/>
              <a:gd name="connsiteX43" fmla="*/ 4747974 w 5227821"/>
              <a:gd name="connsiteY43" fmla="*/ 806649 h 1257266"/>
              <a:gd name="connsiteX44" fmla="*/ 4736122 w 5227821"/>
              <a:gd name="connsiteY44" fmla="*/ 802499 h 1257266"/>
              <a:gd name="connsiteX45" fmla="*/ 4720496 w 5227821"/>
              <a:gd name="connsiteY45" fmla="*/ 800558 h 1257266"/>
              <a:gd name="connsiteX46" fmla="*/ 1676438 w 5227821"/>
              <a:gd name="connsiteY46" fmla="*/ 90716 h 1257266"/>
              <a:gd name="connsiteX47" fmla="*/ 1850993 w 5227821"/>
              <a:gd name="connsiteY47" fmla="*/ 94135 h 1257266"/>
              <a:gd name="connsiteX48" fmla="*/ 2046029 w 5227821"/>
              <a:gd name="connsiteY48" fmla="*/ 97900 h 1257266"/>
              <a:gd name="connsiteX49" fmla="*/ 2057308 w 5227821"/>
              <a:gd name="connsiteY49" fmla="*/ 101666 h 1257266"/>
              <a:gd name="connsiteX50" fmla="*/ 1850523 w 5227821"/>
              <a:gd name="connsiteY50" fmla="*/ 97900 h 1257266"/>
              <a:gd name="connsiteX51" fmla="*/ 1692614 w 5227821"/>
              <a:gd name="connsiteY51" fmla="*/ 94135 h 1257266"/>
              <a:gd name="connsiteX52" fmla="*/ 1675636 w 5227821"/>
              <a:gd name="connsiteY52" fmla="*/ 90546 h 1257266"/>
              <a:gd name="connsiteX53" fmla="*/ 1676438 w 5227821"/>
              <a:gd name="connsiteY53" fmla="*/ 90716 h 1257266"/>
              <a:gd name="connsiteX54" fmla="*/ 1674865 w 5227821"/>
              <a:gd name="connsiteY54" fmla="*/ 90685 h 1257266"/>
              <a:gd name="connsiteX55" fmla="*/ 2005634 w 5227821"/>
              <a:gd name="connsiteY55" fmla="*/ 36919 h 1257266"/>
              <a:gd name="connsiteX56" fmla="*/ 2008432 w 5227821"/>
              <a:gd name="connsiteY56" fmla="*/ 37654 h 1257266"/>
              <a:gd name="connsiteX57" fmla="*/ 2000912 w 5227821"/>
              <a:gd name="connsiteY57" fmla="*/ 37654 h 1257266"/>
              <a:gd name="connsiteX58" fmla="*/ 1594861 w 5227821"/>
              <a:gd name="connsiteY58" fmla="*/ 0 h 1257266"/>
              <a:gd name="connsiteX59" fmla="*/ 1655016 w 5227821"/>
              <a:gd name="connsiteY59" fmla="*/ 11296 h 1257266"/>
              <a:gd name="connsiteX60" fmla="*/ 1651257 w 5227821"/>
              <a:gd name="connsiteY60" fmla="*/ 18827 h 1257266"/>
              <a:gd name="connsiteX61" fmla="*/ 1767809 w 5227821"/>
              <a:gd name="connsiteY61" fmla="*/ 22593 h 1257266"/>
              <a:gd name="connsiteX62" fmla="*/ 2230256 w 5227821"/>
              <a:gd name="connsiteY62" fmla="*/ 26358 h 1257266"/>
              <a:gd name="connsiteX63" fmla="*/ 2275373 w 5227821"/>
              <a:gd name="connsiteY63" fmla="*/ 30123 h 1257266"/>
              <a:gd name="connsiteX64" fmla="*/ 2046029 w 5227821"/>
              <a:gd name="connsiteY64" fmla="*/ 33889 h 1257266"/>
              <a:gd name="connsiteX65" fmla="*/ 2022061 w 5227821"/>
              <a:gd name="connsiteY65" fmla="*/ 34359 h 1257266"/>
              <a:gd name="connsiteX66" fmla="*/ 2005634 w 5227821"/>
              <a:gd name="connsiteY66" fmla="*/ 36919 h 1257266"/>
              <a:gd name="connsiteX67" fmla="*/ 1983817 w 5227821"/>
              <a:gd name="connsiteY67" fmla="*/ 31183 h 1257266"/>
              <a:gd name="connsiteX68" fmla="*/ 1888120 w 5227821"/>
              <a:gd name="connsiteY68" fmla="*/ 30123 h 1257266"/>
              <a:gd name="connsiteX69" fmla="*/ 1662536 w 5227821"/>
              <a:gd name="connsiteY69" fmla="*/ 26358 h 1257266"/>
              <a:gd name="connsiteX70" fmla="*/ 1655016 w 5227821"/>
              <a:gd name="connsiteY70" fmla="*/ 37654 h 1257266"/>
              <a:gd name="connsiteX71" fmla="*/ 1609900 w 5227821"/>
              <a:gd name="connsiteY71" fmla="*/ 30123 h 1257266"/>
              <a:gd name="connsiteX72" fmla="*/ 1553503 w 5227821"/>
              <a:gd name="connsiteY72" fmla="*/ 52716 h 1257266"/>
              <a:gd name="connsiteX73" fmla="*/ 1587341 w 5227821"/>
              <a:gd name="connsiteY73" fmla="*/ 56481 h 1257266"/>
              <a:gd name="connsiteX74" fmla="*/ 1542224 w 5227821"/>
              <a:gd name="connsiteY74" fmla="*/ 56481 h 1257266"/>
              <a:gd name="connsiteX75" fmla="*/ 1527185 w 5227821"/>
              <a:gd name="connsiteY75" fmla="*/ 71543 h 1257266"/>
              <a:gd name="connsiteX76" fmla="*/ 1478309 w 5227821"/>
              <a:gd name="connsiteY76" fmla="*/ 79073 h 1257266"/>
              <a:gd name="connsiteX77" fmla="*/ 1658776 w 5227821"/>
              <a:gd name="connsiteY77" fmla="*/ 90370 h 1257266"/>
              <a:gd name="connsiteX78" fmla="*/ 1674865 w 5227821"/>
              <a:gd name="connsiteY78" fmla="*/ 90685 h 1257266"/>
              <a:gd name="connsiteX79" fmla="*/ 1658306 w 5227821"/>
              <a:gd name="connsiteY79" fmla="*/ 93664 h 1257266"/>
              <a:gd name="connsiteX80" fmla="*/ 1621179 w 5227821"/>
              <a:gd name="connsiteY80" fmla="*/ 101666 h 1257266"/>
              <a:gd name="connsiteX81" fmla="*/ 1579822 w 5227821"/>
              <a:gd name="connsiteY81" fmla="*/ 128024 h 1257266"/>
              <a:gd name="connsiteX82" fmla="*/ 1576062 w 5227821"/>
              <a:gd name="connsiteY82" fmla="*/ 120493 h 1257266"/>
              <a:gd name="connsiteX83" fmla="*/ 1598620 w 5227821"/>
              <a:gd name="connsiteY83" fmla="*/ 112962 h 1257266"/>
              <a:gd name="connsiteX84" fmla="*/ 1587341 w 5227821"/>
              <a:gd name="connsiteY84" fmla="*/ 109197 h 1257266"/>
              <a:gd name="connsiteX85" fmla="*/ 1564783 w 5227821"/>
              <a:gd name="connsiteY85" fmla="*/ 109197 h 1257266"/>
              <a:gd name="connsiteX86" fmla="*/ 1553503 w 5227821"/>
              <a:gd name="connsiteY86" fmla="*/ 105431 h 1257266"/>
              <a:gd name="connsiteX87" fmla="*/ 1621179 w 5227821"/>
              <a:gd name="connsiteY87" fmla="*/ 94135 h 1257266"/>
              <a:gd name="connsiteX88" fmla="*/ 1448231 w 5227821"/>
              <a:gd name="connsiteY88" fmla="*/ 86604 h 1257266"/>
              <a:gd name="connsiteX89" fmla="*/ 1410633 w 5227821"/>
              <a:gd name="connsiteY89" fmla="*/ 97900 h 1257266"/>
              <a:gd name="connsiteX90" fmla="*/ 1444471 w 5227821"/>
              <a:gd name="connsiteY90" fmla="*/ 101666 h 1257266"/>
              <a:gd name="connsiteX91" fmla="*/ 1380555 w 5227821"/>
              <a:gd name="connsiteY91" fmla="*/ 131789 h 1257266"/>
              <a:gd name="connsiteX92" fmla="*/ 1380555 w 5227821"/>
              <a:gd name="connsiteY92" fmla="*/ 112962 h 1257266"/>
              <a:gd name="connsiteX93" fmla="*/ 1369276 w 5227821"/>
              <a:gd name="connsiteY93" fmla="*/ 131789 h 1257266"/>
              <a:gd name="connsiteX94" fmla="*/ 1357997 w 5227821"/>
              <a:gd name="connsiteY94" fmla="*/ 131789 h 1257266"/>
              <a:gd name="connsiteX95" fmla="*/ 1354237 w 5227821"/>
              <a:gd name="connsiteY95" fmla="*/ 146851 h 1257266"/>
              <a:gd name="connsiteX96" fmla="*/ 1350478 w 5227821"/>
              <a:gd name="connsiteY96" fmla="*/ 139320 h 1257266"/>
              <a:gd name="connsiteX97" fmla="*/ 1327919 w 5227821"/>
              <a:gd name="connsiteY97" fmla="*/ 161912 h 1257266"/>
              <a:gd name="connsiteX98" fmla="*/ 1436952 w 5227821"/>
              <a:gd name="connsiteY98" fmla="*/ 173208 h 1257266"/>
              <a:gd name="connsiteX99" fmla="*/ 1459510 w 5227821"/>
              <a:gd name="connsiteY99" fmla="*/ 192035 h 1257266"/>
              <a:gd name="connsiteX100" fmla="*/ 1421913 w 5227821"/>
              <a:gd name="connsiteY100" fmla="*/ 207097 h 1257266"/>
              <a:gd name="connsiteX101" fmla="*/ 1451990 w 5227821"/>
              <a:gd name="connsiteY101" fmla="*/ 207097 h 1257266"/>
              <a:gd name="connsiteX102" fmla="*/ 1451990 w 5227821"/>
              <a:gd name="connsiteY102" fmla="*/ 210862 h 1257266"/>
              <a:gd name="connsiteX103" fmla="*/ 1512146 w 5227821"/>
              <a:gd name="connsiteY103" fmla="*/ 210862 h 1257266"/>
              <a:gd name="connsiteX104" fmla="*/ 1512146 w 5227821"/>
              <a:gd name="connsiteY104" fmla="*/ 214628 h 1257266"/>
              <a:gd name="connsiteX105" fmla="*/ 1534705 w 5227821"/>
              <a:gd name="connsiteY105" fmla="*/ 214628 h 1257266"/>
              <a:gd name="connsiteX106" fmla="*/ 1538464 w 5227821"/>
              <a:gd name="connsiteY106" fmla="*/ 210862 h 1257266"/>
              <a:gd name="connsiteX107" fmla="*/ 1538464 w 5227821"/>
              <a:gd name="connsiteY107" fmla="*/ 218393 h 1257266"/>
              <a:gd name="connsiteX108" fmla="*/ 1515906 w 5227821"/>
              <a:gd name="connsiteY108" fmla="*/ 225924 h 1257266"/>
              <a:gd name="connsiteX109" fmla="*/ 1549744 w 5227821"/>
              <a:gd name="connsiteY109" fmla="*/ 229689 h 1257266"/>
              <a:gd name="connsiteX110" fmla="*/ 1542224 w 5227821"/>
              <a:gd name="connsiteY110" fmla="*/ 237220 h 1257266"/>
              <a:gd name="connsiteX111" fmla="*/ 1722692 w 5227821"/>
              <a:gd name="connsiteY111" fmla="*/ 225924 h 1257266"/>
              <a:gd name="connsiteX112" fmla="*/ 1764049 w 5227821"/>
              <a:gd name="connsiteY112" fmla="*/ 218393 h 1257266"/>
              <a:gd name="connsiteX113" fmla="*/ 1801646 w 5227821"/>
              <a:gd name="connsiteY113" fmla="*/ 218393 h 1257266"/>
              <a:gd name="connsiteX114" fmla="*/ 1809166 w 5227821"/>
              <a:gd name="connsiteY114" fmla="*/ 214628 h 1257266"/>
              <a:gd name="connsiteX115" fmla="*/ 1940757 w 5227821"/>
              <a:gd name="connsiteY115" fmla="*/ 214628 h 1257266"/>
              <a:gd name="connsiteX116" fmla="*/ 2083627 w 5227821"/>
              <a:gd name="connsiteY116" fmla="*/ 203331 h 1257266"/>
              <a:gd name="connsiteX117" fmla="*/ 2124984 w 5227821"/>
              <a:gd name="connsiteY117" fmla="*/ 203331 h 1257266"/>
              <a:gd name="connsiteX118" fmla="*/ 2128744 w 5227821"/>
              <a:gd name="connsiteY118" fmla="*/ 199566 h 1257266"/>
              <a:gd name="connsiteX119" fmla="*/ 2117464 w 5227821"/>
              <a:gd name="connsiteY119" fmla="*/ 195801 h 1257266"/>
              <a:gd name="connsiteX120" fmla="*/ 2128744 w 5227821"/>
              <a:gd name="connsiteY120" fmla="*/ 192035 h 1257266"/>
              <a:gd name="connsiteX121" fmla="*/ 2121224 w 5227821"/>
              <a:gd name="connsiteY121" fmla="*/ 188270 h 1257266"/>
              <a:gd name="connsiteX122" fmla="*/ 2192659 w 5227821"/>
              <a:gd name="connsiteY122" fmla="*/ 184504 h 1257266"/>
              <a:gd name="connsiteX123" fmla="*/ 2196419 w 5227821"/>
              <a:gd name="connsiteY123" fmla="*/ 199566 h 1257266"/>
              <a:gd name="connsiteX124" fmla="*/ 2215218 w 5227821"/>
              <a:gd name="connsiteY124" fmla="*/ 195801 h 1257266"/>
              <a:gd name="connsiteX125" fmla="*/ 2203938 w 5227821"/>
              <a:gd name="connsiteY125" fmla="*/ 188270 h 1257266"/>
              <a:gd name="connsiteX126" fmla="*/ 2271614 w 5227821"/>
              <a:gd name="connsiteY126" fmla="*/ 188270 h 1257266"/>
              <a:gd name="connsiteX127" fmla="*/ 2395685 w 5227821"/>
              <a:gd name="connsiteY127" fmla="*/ 184504 h 1257266"/>
              <a:gd name="connsiteX128" fmla="*/ 2422003 w 5227821"/>
              <a:gd name="connsiteY128" fmla="*/ 169443 h 1257266"/>
              <a:gd name="connsiteX129" fmla="*/ 2564873 w 5227821"/>
              <a:gd name="connsiteY129" fmla="*/ 180739 h 1257266"/>
              <a:gd name="connsiteX130" fmla="*/ 2737821 w 5227821"/>
              <a:gd name="connsiteY130" fmla="*/ 176974 h 1257266"/>
              <a:gd name="connsiteX131" fmla="*/ 2737821 w 5227821"/>
              <a:gd name="connsiteY131" fmla="*/ 169443 h 1257266"/>
              <a:gd name="connsiteX132" fmla="*/ 2794217 w 5227821"/>
              <a:gd name="connsiteY132" fmla="*/ 176974 h 1257266"/>
              <a:gd name="connsiteX133" fmla="*/ 2805496 w 5227821"/>
              <a:gd name="connsiteY133" fmla="*/ 169443 h 1257266"/>
              <a:gd name="connsiteX134" fmla="*/ 3568723 w 5227821"/>
              <a:gd name="connsiteY134" fmla="*/ 165678 h 1257266"/>
              <a:gd name="connsiteX135" fmla="*/ 3673996 w 5227821"/>
              <a:gd name="connsiteY135" fmla="*/ 158147 h 1257266"/>
              <a:gd name="connsiteX136" fmla="*/ 3719113 w 5227821"/>
              <a:gd name="connsiteY136" fmla="*/ 161912 h 1257266"/>
              <a:gd name="connsiteX137" fmla="*/ 3880782 w 5227821"/>
              <a:gd name="connsiteY137" fmla="*/ 150616 h 1257266"/>
              <a:gd name="connsiteX138" fmla="*/ 3869503 w 5227821"/>
              <a:gd name="connsiteY138" fmla="*/ 161912 h 1257266"/>
              <a:gd name="connsiteX139" fmla="*/ 3922139 w 5227821"/>
              <a:gd name="connsiteY139" fmla="*/ 169443 h 1257266"/>
              <a:gd name="connsiteX140" fmla="*/ 4046210 w 5227821"/>
              <a:gd name="connsiteY140" fmla="*/ 165678 h 1257266"/>
              <a:gd name="connsiteX141" fmla="*/ 4083807 w 5227821"/>
              <a:gd name="connsiteY141" fmla="*/ 165678 h 1257266"/>
              <a:gd name="connsiteX142" fmla="*/ 4083807 w 5227821"/>
              <a:gd name="connsiteY142" fmla="*/ 169443 h 1257266"/>
              <a:gd name="connsiteX143" fmla="*/ 4181561 w 5227821"/>
              <a:gd name="connsiteY143" fmla="*/ 173208 h 1257266"/>
              <a:gd name="connsiteX144" fmla="*/ 4264275 w 5227821"/>
              <a:gd name="connsiteY144" fmla="*/ 173208 h 1257266"/>
              <a:gd name="connsiteX145" fmla="*/ 4316911 w 5227821"/>
              <a:gd name="connsiteY145" fmla="*/ 184504 h 1257266"/>
              <a:gd name="connsiteX146" fmla="*/ 4440983 w 5227821"/>
              <a:gd name="connsiteY146" fmla="*/ 184504 h 1257266"/>
              <a:gd name="connsiteX147" fmla="*/ 4433463 w 5227821"/>
              <a:gd name="connsiteY147" fmla="*/ 192035 h 1257266"/>
              <a:gd name="connsiteX148" fmla="*/ 4512418 w 5227821"/>
              <a:gd name="connsiteY148" fmla="*/ 199566 h 1257266"/>
              <a:gd name="connsiteX149" fmla="*/ 4550015 w 5227821"/>
              <a:gd name="connsiteY149" fmla="*/ 203331 h 1257266"/>
              <a:gd name="connsiteX150" fmla="*/ 4557535 w 5227821"/>
              <a:gd name="connsiteY150" fmla="*/ 199566 h 1257266"/>
              <a:gd name="connsiteX151" fmla="*/ 4568814 w 5227821"/>
              <a:gd name="connsiteY151" fmla="*/ 207097 h 1257266"/>
              <a:gd name="connsiteX152" fmla="*/ 4644009 w 5227821"/>
              <a:gd name="connsiteY152" fmla="*/ 233455 h 1257266"/>
              <a:gd name="connsiteX153" fmla="*/ 4775599 w 5227821"/>
              <a:gd name="connsiteY153" fmla="*/ 237220 h 1257266"/>
              <a:gd name="connsiteX154" fmla="*/ 4828236 w 5227821"/>
              <a:gd name="connsiteY154" fmla="*/ 199566 h 1257266"/>
              <a:gd name="connsiteX155" fmla="*/ 4783119 w 5227821"/>
              <a:gd name="connsiteY155" fmla="*/ 188270 h 1257266"/>
              <a:gd name="connsiteX156" fmla="*/ 4828236 w 5227821"/>
              <a:gd name="connsiteY156" fmla="*/ 195801 h 1257266"/>
              <a:gd name="connsiteX157" fmla="*/ 4850795 w 5227821"/>
              <a:gd name="connsiteY157" fmla="*/ 180739 h 1257266"/>
              <a:gd name="connsiteX158" fmla="*/ 4794399 w 5227821"/>
              <a:gd name="connsiteY158" fmla="*/ 150616 h 1257266"/>
              <a:gd name="connsiteX159" fmla="*/ 4813197 w 5227821"/>
              <a:gd name="connsiteY159" fmla="*/ 143085 h 1257266"/>
              <a:gd name="connsiteX160" fmla="*/ 4738002 w 5227821"/>
              <a:gd name="connsiteY160" fmla="*/ 135554 h 1257266"/>
              <a:gd name="connsiteX161" fmla="*/ 4677847 w 5227821"/>
              <a:gd name="connsiteY161" fmla="*/ 139320 h 1257266"/>
              <a:gd name="connsiteX162" fmla="*/ 4644009 w 5227821"/>
              <a:gd name="connsiteY162" fmla="*/ 116727 h 1257266"/>
              <a:gd name="connsiteX163" fmla="*/ 4516177 w 5227821"/>
              <a:gd name="connsiteY163" fmla="*/ 109197 h 1257266"/>
              <a:gd name="connsiteX164" fmla="*/ 4444743 w 5227821"/>
              <a:gd name="connsiteY164" fmla="*/ 90370 h 1257266"/>
              <a:gd name="connsiteX165" fmla="*/ 4380827 w 5227821"/>
              <a:gd name="connsiteY165" fmla="*/ 82839 h 1257266"/>
              <a:gd name="connsiteX166" fmla="*/ 4365788 w 5227821"/>
              <a:gd name="connsiteY166" fmla="*/ 90370 h 1257266"/>
              <a:gd name="connsiteX167" fmla="*/ 4354509 w 5227821"/>
              <a:gd name="connsiteY167" fmla="*/ 86604 h 1257266"/>
              <a:gd name="connsiteX168" fmla="*/ 4331951 w 5227821"/>
              <a:gd name="connsiteY168" fmla="*/ 82839 h 1257266"/>
              <a:gd name="connsiteX169" fmla="*/ 4335710 w 5227821"/>
              <a:gd name="connsiteY169" fmla="*/ 67777 h 1257266"/>
              <a:gd name="connsiteX170" fmla="*/ 4474821 w 5227821"/>
              <a:gd name="connsiteY170" fmla="*/ 79073 h 1257266"/>
              <a:gd name="connsiteX171" fmla="*/ 4561295 w 5227821"/>
              <a:gd name="connsiteY171" fmla="*/ 90370 h 1257266"/>
              <a:gd name="connsiteX172" fmla="*/ 4681606 w 5227821"/>
              <a:gd name="connsiteY172" fmla="*/ 94135 h 1257266"/>
              <a:gd name="connsiteX173" fmla="*/ 4685366 w 5227821"/>
              <a:gd name="connsiteY173" fmla="*/ 97900 h 1257266"/>
              <a:gd name="connsiteX174" fmla="*/ 4801918 w 5227821"/>
              <a:gd name="connsiteY174" fmla="*/ 109197 h 1257266"/>
              <a:gd name="connsiteX175" fmla="*/ 4809437 w 5227821"/>
              <a:gd name="connsiteY175" fmla="*/ 112962 h 1257266"/>
              <a:gd name="connsiteX176" fmla="*/ 4824476 w 5227821"/>
              <a:gd name="connsiteY176" fmla="*/ 105431 h 1257266"/>
              <a:gd name="connsiteX177" fmla="*/ 4828236 w 5227821"/>
              <a:gd name="connsiteY177" fmla="*/ 109197 h 1257266"/>
              <a:gd name="connsiteX178" fmla="*/ 4805677 w 5227821"/>
              <a:gd name="connsiteY178" fmla="*/ 124258 h 1257266"/>
              <a:gd name="connsiteX179" fmla="*/ 4903431 w 5227821"/>
              <a:gd name="connsiteY179" fmla="*/ 124258 h 1257266"/>
              <a:gd name="connsiteX180" fmla="*/ 4925989 w 5227821"/>
              <a:gd name="connsiteY180" fmla="*/ 143085 h 1257266"/>
              <a:gd name="connsiteX181" fmla="*/ 4941028 w 5227821"/>
              <a:gd name="connsiteY181" fmla="*/ 143085 h 1257266"/>
              <a:gd name="connsiteX182" fmla="*/ 4922229 w 5227821"/>
              <a:gd name="connsiteY182" fmla="*/ 109197 h 1257266"/>
              <a:gd name="connsiteX183" fmla="*/ 4956067 w 5227821"/>
              <a:gd name="connsiteY183" fmla="*/ 97900 h 1257266"/>
              <a:gd name="connsiteX184" fmla="*/ 4959827 w 5227821"/>
              <a:gd name="connsiteY184" fmla="*/ 94135 h 1257266"/>
              <a:gd name="connsiteX185" fmla="*/ 4922229 w 5227821"/>
              <a:gd name="connsiteY185" fmla="*/ 97900 h 1257266"/>
              <a:gd name="connsiteX186" fmla="*/ 4903431 w 5227821"/>
              <a:gd name="connsiteY186" fmla="*/ 86604 h 1257266"/>
              <a:gd name="connsiteX187" fmla="*/ 4933509 w 5227821"/>
              <a:gd name="connsiteY187" fmla="*/ 75308 h 1257266"/>
              <a:gd name="connsiteX188" fmla="*/ 4929749 w 5227821"/>
              <a:gd name="connsiteY188" fmla="*/ 71543 h 1257266"/>
              <a:gd name="connsiteX189" fmla="*/ 5068859 w 5227821"/>
              <a:gd name="connsiteY189" fmla="*/ 79073 h 1257266"/>
              <a:gd name="connsiteX190" fmla="*/ 5061339 w 5227821"/>
              <a:gd name="connsiteY190" fmla="*/ 75308 h 1257266"/>
              <a:gd name="connsiteX191" fmla="*/ 5132775 w 5227821"/>
              <a:gd name="connsiteY191" fmla="*/ 75308 h 1257266"/>
              <a:gd name="connsiteX192" fmla="*/ 5136535 w 5227821"/>
              <a:gd name="connsiteY192" fmla="*/ 71543 h 1257266"/>
              <a:gd name="connsiteX193" fmla="*/ 5087658 w 5227821"/>
              <a:gd name="connsiteY193" fmla="*/ 71543 h 1257266"/>
              <a:gd name="connsiteX194" fmla="*/ 5189171 w 5227821"/>
              <a:gd name="connsiteY194" fmla="*/ 52716 h 1257266"/>
              <a:gd name="connsiteX195" fmla="*/ 5095177 w 5227821"/>
              <a:gd name="connsiteY195" fmla="*/ 101666 h 1257266"/>
              <a:gd name="connsiteX196" fmla="*/ 5065099 w 5227821"/>
              <a:gd name="connsiteY196" fmla="*/ 131789 h 1257266"/>
              <a:gd name="connsiteX197" fmla="*/ 4971106 w 5227821"/>
              <a:gd name="connsiteY197" fmla="*/ 161912 h 1257266"/>
              <a:gd name="connsiteX198" fmla="*/ 5035021 w 5227821"/>
              <a:gd name="connsiteY198" fmla="*/ 165678 h 1257266"/>
              <a:gd name="connsiteX199" fmla="*/ 5023743 w 5227821"/>
              <a:gd name="connsiteY199" fmla="*/ 184504 h 1257266"/>
              <a:gd name="connsiteX200" fmla="*/ 4869593 w 5227821"/>
              <a:gd name="connsiteY200" fmla="*/ 263578 h 1257266"/>
              <a:gd name="connsiteX201" fmla="*/ 4884632 w 5227821"/>
              <a:gd name="connsiteY201" fmla="*/ 267343 h 1257266"/>
              <a:gd name="connsiteX202" fmla="*/ 4798158 w 5227821"/>
              <a:gd name="connsiteY202" fmla="*/ 312528 h 1257266"/>
              <a:gd name="connsiteX203" fmla="*/ 4809437 w 5227821"/>
              <a:gd name="connsiteY203" fmla="*/ 316293 h 1257266"/>
              <a:gd name="connsiteX204" fmla="*/ 4783119 w 5227821"/>
              <a:gd name="connsiteY204" fmla="*/ 327589 h 1257266"/>
              <a:gd name="connsiteX205" fmla="*/ 4783119 w 5227821"/>
              <a:gd name="connsiteY205" fmla="*/ 304997 h 1257266"/>
              <a:gd name="connsiteX206" fmla="*/ 4760561 w 5227821"/>
              <a:gd name="connsiteY206" fmla="*/ 335120 h 1257266"/>
              <a:gd name="connsiteX207" fmla="*/ 4801918 w 5227821"/>
              <a:gd name="connsiteY207" fmla="*/ 342651 h 1257266"/>
              <a:gd name="connsiteX208" fmla="*/ 4801918 w 5227821"/>
              <a:gd name="connsiteY208" fmla="*/ 350182 h 1257266"/>
              <a:gd name="connsiteX209" fmla="*/ 4820717 w 5227821"/>
              <a:gd name="connsiteY209" fmla="*/ 346416 h 1257266"/>
              <a:gd name="connsiteX210" fmla="*/ 4816957 w 5227821"/>
              <a:gd name="connsiteY210" fmla="*/ 342651 h 1257266"/>
              <a:gd name="connsiteX211" fmla="*/ 4850795 w 5227821"/>
              <a:gd name="connsiteY211" fmla="*/ 342651 h 1257266"/>
              <a:gd name="connsiteX212" fmla="*/ 4850795 w 5227821"/>
              <a:gd name="connsiteY212" fmla="*/ 331355 h 1257266"/>
              <a:gd name="connsiteX213" fmla="*/ 4910950 w 5227821"/>
              <a:gd name="connsiteY213" fmla="*/ 323824 h 1257266"/>
              <a:gd name="connsiteX214" fmla="*/ 4918469 w 5227821"/>
              <a:gd name="connsiteY214" fmla="*/ 293701 h 1257266"/>
              <a:gd name="connsiteX215" fmla="*/ 4937269 w 5227821"/>
              <a:gd name="connsiteY215" fmla="*/ 278639 h 1257266"/>
              <a:gd name="connsiteX216" fmla="*/ 4941028 w 5227821"/>
              <a:gd name="connsiteY216" fmla="*/ 278639 h 1257266"/>
              <a:gd name="connsiteX217" fmla="*/ 4997424 w 5227821"/>
              <a:gd name="connsiteY217" fmla="*/ 256047 h 1257266"/>
              <a:gd name="connsiteX218" fmla="*/ 5042541 w 5227821"/>
              <a:gd name="connsiteY218" fmla="*/ 263578 h 1257266"/>
              <a:gd name="connsiteX219" fmla="*/ 5027502 w 5227821"/>
              <a:gd name="connsiteY219" fmla="*/ 278639 h 1257266"/>
              <a:gd name="connsiteX220" fmla="*/ 5061339 w 5227821"/>
              <a:gd name="connsiteY220" fmla="*/ 278639 h 1257266"/>
              <a:gd name="connsiteX221" fmla="*/ 5019983 w 5227821"/>
              <a:gd name="connsiteY221" fmla="*/ 323824 h 1257266"/>
              <a:gd name="connsiteX222" fmla="*/ 5012463 w 5227821"/>
              <a:gd name="connsiteY222" fmla="*/ 342651 h 1257266"/>
              <a:gd name="connsiteX223" fmla="*/ 5001184 w 5227821"/>
              <a:gd name="connsiteY223" fmla="*/ 335120 h 1257266"/>
              <a:gd name="connsiteX224" fmla="*/ 5001184 w 5227821"/>
              <a:gd name="connsiteY224" fmla="*/ 327589 h 1257266"/>
              <a:gd name="connsiteX225" fmla="*/ 4986145 w 5227821"/>
              <a:gd name="connsiteY225" fmla="*/ 335120 h 1257266"/>
              <a:gd name="connsiteX226" fmla="*/ 4978625 w 5227821"/>
              <a:gd name="connsiteY226" fmla="*/ 335120 h 1257266"/>
              <a:gd name="connsiteX227" fmla="*/ 4993665 w 5227821"/>
              <a:gd name="connsiteY227" fmla="*/ 301232 h 1257266"/>
              <a:gd name="connsiteX228" fmla="*/ 5008703 w 5227821"/>
              <a:gd name="connsiteY228" fmla="*/ 297466 h 1257266"/>
              <a:gd name="connsiteX229" fmla="*/ 5012463 w 5227821"/>
              <a:gd name="connsiteY229" fmla="*/ 286170 h 1257266"/>
              <a:gd name="connsiteX230" fmla="*/ 5027502 w 5227821"/>
              <a:gd name="connsiteY230" fmla="*/ 282405 h 1257266"/>
              <a:gd name="connsiteX231" fmla="*/ 4982385 w 5227821"/>
              <a:gd name="connsiteY231" fmla="*/ 286170 h 1257266"/>
              <a:gd name="connsiteX232" fmla="*/ 4888392 w 5227821"/>
              <a:gd name="connsiteY232" fmla="*/ 353947 h 1257266"/>
              <a:gd name="connsiteX233" fmla="*/ 4884632 w 5227821"/>
              <a:gd name="connsiteY233" fmla="*/ 365243 h 1257266"/>
              <a:gd name="connsiteX234" fmla="*/ 4869593 w 5227821"/>
              <a:gd name="connsiteY234" fmla="*/ 369009 h 1257266"/>
              <a:gd name="connsiteX235" fmla="*/ 4880873 w 5227821"/>
              <a:gd name="connsiteY235" fmla="*/ 380305 h 1257266"/>
              <a:gd name="connsiteX236" fmla="*/ 4865833 w 5227821"/>
              <a:gd name="connsiteY236" fmla="*/ 387836 h 1257266"/>
              <a:gd name="connsiteX237" fmla="*/ 4903431 w 5227821"/>
              <a:gd name="connsiteY237" fmla="*/ 391601 h 1257266"/>
              <a:gd name="connsiteX238" fmla="*/ 4929749 w 5227821"/>
              <a:gd name="connsiteY238" fmla="*/ 384070 h 1257266"/>
              <a:gd name="connsiteX239" fmla="*/ 4918469 w 5227821"/>
              <a:gd name="connsiteY239" fmla="*/ 395366 h 1257266"/>
              <a:gd name="connsiteX240" fmla="*/ 4925989 w 5227821"/>
              <a:gd name="connsiteY240" fmla="*/ 399132 h 1257266"/>
              <a:gd name="connsiteX241" fmla="*/ 4971106 w 5227821"/>
              <a:gd name="connsiteY241" fmla="*/ 380305 h 1257266"/>
              <a:gd name="connsiteX242" fmla="*/ 4967347 w 5227821"/>
              <a:gd name="connsiteY242" fmla="*/ 429255 h 1257266"/>
              <a:gd name="connsiteX243" fmla="*/ 5001184 w 5227821"/>
              <a:gd name="connsiteY243" fmla="*/ 391601 h 1257266"/>
              <a:gd name="connsiteX244" fmla="*/ 5012463 w 5227821"/>
              <a:gd name="connsiteY244" fmla="*/ 391601 h 1257266"/>
              <a:gd name="connsiteX245" fmla="*/ 4974865 w 5227821"/>
              <a:gd name="connsiteY245" fmla="*/ 466909 h 1257266"/>
              <a:gd name="connsiteX246" fmla="*/ 4971106 w 5227821"/>
              <a:gd name="connsiteY246" fmla="*/ 466909 h 1257266"/>
              <a:gd name="connsiteX247" fmla="*/ 4963587 w 5227821"/>
              <a:gd name="connsiteY247" fmla="*/ 470674 h 1257266"/>
              <a:gd name="connsiteX248" fmla="*/ 4952307 w 5227821"/>
              <a:gd name="connsiteY248" fmla="*/ 470674 h 1257266"/>
              <a:gd name="connsiteX249" fmla="*/ 4929749 w 5227821"/>
              <a:gd name="connsiteY249" fmla="*/ 474440 h 1257266"/>
              <a:gd name="connsiteX250" fmla="*/ 4952307 w 5227821"/>
              <a:gd name="connsiteY250" fmla="*/ 470674 h 1257266"/>
              <a:gd name="connsiteX251" fmla="*/ 4963587 w 5227821"/>
              <a:gd name="connsiteY251" fmla="*/ 470674 h 1257266"/>
              <a:gd name="connsiteX252" fmla="*/ 4967347 w 5227821"/>
              <a:gd name="connsiteY252" fmla="*/ 470674 h 1257266"/>
              <a:gd name="connsiteX253" fmla="*/ 4944788 w 5227821"/>
              <a:gd name="connsiteY253" fmla="*/ 481970 h 1257266"/>
              <a:gd name="connsiteX254" fmla="*/ 4959827 w 5227821"/>
              <a:gd name="connsiteY254" fmla="*/ 485736 h 1257266"/>
              <a:gd name="connsiteX255" fmla="*/ 4974865 w 5227821"/>
              <a:gd name="connsiteY255" fmla="*/ 474440 h 1257266"/>
              <a:gd name="connsiteX256" fmla="*/ 4978625 w 5227821"/>
              <a:gd name="connsiteY256" fmla="*/ 478205 h 1257266"/>
              <a:gd name="connsiteX257" fmla="*/ 4993665 w 5227821"/>
              <a:gd name="connsiteY257" fmla="*/ 455613 h 1257266"/>
              <a:gd name="connsiteX258" fmla="*/ 5004943 w 5227821"/>
              <a:gd name="connsiteY258" fmla="*/ 455613 h 1257266"/>
              <a:gd name="connsiteX259" fmla="*/ 5019983 w 5227821"/>
              <a:gd name="connsiteY259" fmla="*/ 497032 h 1257266"/>
              <a:gd name="connsiteX260" fmla="*/ 5046301 w 5227821"/>
              <a:gd name="connsiteY260" fmla="*/ 466909 h 1257266"/>
              <a:gd name="connsiteX261" fmla="*/ 5042541 w 5227821"/>
              <a:gd name="connsiteY261" fmla="*/ 451847 h 1257266"/>
              <a:gd name="connsiteX262" fmla="*/ 5065099 w 5227821"/>
              <a:gd name="connsiteY262" fmla="*/ 448082 h 1257266"/>
              <a:gd name="connsiteX263" fmla="*/ 5065099 w 5227821"/>
              <a:gd name="connsiteY263" fmla="*/ 474440 h 1257266"/>
              <a:gd name="connsiteX264" fmla="*/ 5080139 w 5227821"/>
              <a:gd name="connsiteY264" fmla="*/ 470674 h 1257266"/>
              <a:gd name="connsiteX265" fmla="*/ 5095177 w 5227821"/>
              <a:gd name="connsiteY265" fmla="*/ 497032 h 1257266"/>
              <a:gd name="connsiteX266" fmla="*/ 5072619 w 5227821"/>
              <a:gd name="connsiteY266" fmla="*/ 500797 h 1257266"/>
              <a:gd name="connsiteX267" fmla="*/ 5053821 w 5227821"/>
              <a:gd name="connsiteY267" fmla="*/ 493267 h 1257266"/>
              <a:gd name="connsiteX268" fmla="*/ 5019983 w 5227821"/>
              <a:gd name="connsiteY268" fmla="*/ 504563 h 1257266"/>
              <a:gd name="connsiteX269" fmla="*/ 5038781 w 5227821"/>
              <a:gd name="connsiteY269" fmla="*/ 504563 h 1257266"/>
              <a:gd name="connsiteX270" fmla="*/ 5035021 w 5227821"/>
              <a:gd name="connsiteY270" fmla="*/ 508328 h 1257266"/>
              <a:gd name="connsiteX271" fmla="*/ 5102697 w 5227821"/>
              <a:gd name="connsiteY271" fmla="*/ 508328 h 1257266"/>
              <a:gd name="connsiteX272" fmla="*/ 5110217 w 5227821"/>
              <a:gd name="connsiteY272" fmla="*/ 512094 h 1257266"/>
              <a:gd name="connsiteX273" fmla="*/ 5113976 w 5227821"/>
              <a:gd name="connsiteY273" fmla="*/ 508328 h 1257266"/>
              <a:gd name="connsiteX274" fmla="*/ 5125255 w 5227821"/>
              <a:gd name="connsiteY274" fmla="*/ 504563 h 1257266"/>
              <a:gd name="connsiteX275" fmla="*/ 5113976 w 5227821"/>
              <a:gd name="connsiteY275" fmla="*/ 504563 h 1257266"/>
              <a:gd name="connsiteX276" fmla="*/ 5117736 w 5227821"/>
              <a:gd name="connsiteY276" fmla="*/ 485736 h 1257266"/>
              <a:gd name="connsiteX277" fmla="*/ 5113976 w 5227821"/>
              <a:gd name="connsiteY277" fmla="*/ 444317 h 1257266"/>
              <a:gd name="connsiteX278" fmla="*/ 5159093 w 5227821"/>
              <a:gd name="connsiteY278" fmla="*/ 489501 h 1257266"/>
              <a:gd name="connsiteX279" fmla="*/ 5162853 w 5227821"/>
              <a:gd name="connsiteY279" fmla="*/ 485736 h 1257266"/>
              <a:gd name="connsiteX280" fmla="*/ 5170372 w 5227821"/>
              <a:gd name="connsiteY280" fmla="*/ 489501 h 1257266"/>
              <a:gd name="connsiteX281" fmla="*/ 5170372 w 5227821"/>
              <a:gd name="connsiteY281" fmla="*/ 519624 h 1257266"/>
              <a:gd name="connsiteX282" fmla="*/ 5162853 w 5227821"/>
              <a:gd name="connsiteY282" fmla="*/ 508328 h 1257266"/>
              <a:gd name="connsiteX283" fmla="*/ 5144054 w 5227821"/>
              <a:gd name="connsiteY283" fmla="*/ 549748 h 1257266"/>
              <a:gd name="connsiteX284" fmla="*/ 5110217 w 5227821"/>
              <a:gd name="connsiteY284" fmla="*/ 564809 h 1257266"/>
              <a:gd name="connsiteX285" fmla="*/ 5129015 w 5227821"/>
              <a:gd name="connsiteY285" fmla="*/ 606228 h 1257266"/>
              <a:gd name="connsiteX286" fmla="*/ 5159093 w 5227821"/>
              <a:gd name="connsiteY286" fmla="*/ 591167 h 1257266"/>
              <a:gd name="connsiteX287" fmla="*/ 5129015 w 5227821"/>
              <a:gd name="connsiteY287" fmla="*/ 617524 h 1257266"/>
              <a:gd name="connsiteX288" fmla="*/ 5136535 w 5227821"/>
              <a:gd name="connsiteY288" fmla="*/ 681536 h 1257266"/>
              <a:gd name="connsiteX289" fmla="*/ 5159093 w 5227821"/>
              <a:gd name="connsiteY289" fmla="*/ 692832 h 1257266"/>
              <a:gd name="connsiteX290" fmla="*/ 5207969 w 5227821"/>
              <a:gd name="connsiteY290" fmla="*/ 670240 h 1257266"/>
              <a:gd name="connsiteX291" fmla="*/ 5215489 w 5227821"/>
              <a:gd name="connsiteY291" fmla="*/ 674005 h 1257266"/>
              <a:gd name="connsiteX292" fmla="*/ 5223009 w 5227821"/>
              <a:gd name="connsiteY292" fmla="*/ 670240 h 1257266"/>
              <a:gd name="connsiteX293" fmla="*/ 5226769 w 5227821"/>
              <a:gd name="connsiteY293" fmla="*/ 704128 h 1257266"/>
              <a:gd name="connsiteX294" fmla="*/ 5129015 w 5227821"/>
              <a:gd name="connsiteY294" fmla="*/ 745548 h 1257266"/>
              <a:gd name="connsiteX295" fmla="*/ 5113976 w 5227821"/>
              <a:gd name="connsiteY295" fmla="*/ 745548 h 1257266"/>
              <a:gd name="connsiteX296" fmla="*/ 5117736 w 5227821"/>
              <a:gd name="connsiteY296" fmla="*/ 741782 h 1257266"/>
              <a:gd name="connsiteX297" fmla="*/ 5095177 w 5227821"/>
              <a:gd name="connsiteY297" fmla="*/ 741782 h 1257266"/>
              <a:gd name="connsiteX298" fmla="*/ 5038781 w 5227821"/>
              <a:gd name="connsiteY298" fmla="*/ 749313 h 1257266"/>
              <a:gd name="connsiteX299" fmla="*/ 5117736 w 5227821"/>
              <a:gd name="connsiteY299" fmla="*/ 756844 h 1257266"/>
              <a:gd name="connsiteX300" fmla="*/ 5016223 w 5227821"/>
              <a:gd name="connsiteY300" fmla="*/ 775671 h 1257266"/>
              <a:gd name="connsiteX301" fmla="*/ 4933509 w 5227821"/>
              <a:gd name="connsiteY301" fmla="*/ 768140 h 1257266"/>
              <a:gd name="connsiteX302" fmla="*/ 4892151 w 5227821"/>
              <a:gd name="connsiteY302" fmla="*/ 790732 h 1257266"/>
              <a:gd name="connsiteX303" fmla="*/ 4888392 w 5227821"/>
              <a:gd name="connsiteY303" fmla="*/ 786967 h 1257266"/>
              <a:gd name="connsiteX304" fmla="*/ 4869593 w 5227821"/>
              <a:gd name="connsiteY304" fmla="*/ 809559 h 1257266"/>
              <a:gd name="connsiteX305" fmla="*/ 4873353 w 5227821"/>
              <a:gd name="connsiteY305" fmla="*/ 813325 h 1257266"/>
              <a:gd name="connsiteX306" fmla="*/ 4831995 w 5227821"/>
              <a:gd name="connsiteY306" fmla="*/ 805794 h 1257266"/>
              <a:gd name="connsiteX307" fmla="*/ 4771840 w 5227821"/>
              <a:gd name="connsiteY307" fmla="*/ 820856 h 1257266"/>
              <a:gd name="connsiteX308" fmla="*/ 4764275 w 5227821"/>
              <a:gd name="connsiteY308" fmla="*/ 817267 h 1257266"/>
              <a:gd name="connsiteX309" fmla="*/ 4765000 w 5227821"/>
              <a:gd name="connsiteY309" fmla="*/ 823531 h 1257266"/>
              <a:gd name="connsiteX310" fmla="*/ 4797427 w 5227821"/>
              <a:gd name="connsiteY310" fmla="*/ 839063 h 1257266"/>
              <a:gd name="connsiteX311" fmla="*/ 4801187 w 5227821"/>
              <a:gd name="connsiteY311" fmla="*/ 835298 h 1257266"/>
              <a:gd name="connsiteX312" fmla="*/ 4808706 w 5227821"/>
              <a:gd name="connsiteY312" fmla="*/ 839063 h 1257266"/>
              <a:gd name="connsiteX313" fmla="*/ 4808706 w 5227821"/>
              <a:gd name="connsiteY313" fmla="*/ 869186 h 1257266"/>
              <a:gd name="connsiteX314" fmla="*/ 4801187 w 5227821"/>
              <a:gd name="connsiteY314" fmla="*/ 857890 h 1257266"/>
              <a:gd name="connsiteX315" fmla="*/ 4782388 w 5227821"/>
              <a:gd name="connsiteY315" fmla="*/ 899309 h 1257266"/>
              <a:gd name="connsiteX316" fmla="*/ 4748551 w 5227821"/>
              <a:gd name="connsiteY316" fmla="*/ 914371 h 1257266"/>
              <a:gd name="connsiteX317" fmla="*/ 4767349 w 5227821"/>
              <a:gd name="connsiteY317" fmla="*/ 955790 h 1257266"/>
              <a:gd name="connsiteX318" fmla="*/ 4797427 w 5227821"/>
              <a:gd name="connsiteY318" fmla="*/ 940729 h 1257266"/>
              <a:gd name="connsiteX319" fmla="*/ 4767349 w 5227821"/>
              <a:gd name="connsiteY319" fmla="*/ 967086 h 1257266"/>
              <a:gd name="connsiteX320" fmla="*/ 4774869 w 5227821"/>
              <a:gd name="connsiteY320" fmla="*/ 1031098 h 1257266"/>
              <a:gd name="connsiteX321" fmla="*/ 4797427 w 5227821"/>
              <a:gd name="connsiteY321" fmla="*/ 1042394 h 1257266"/>
              <a:gd name="connsiteX322" fmla="*/ 4846303 w 5227821"/>
              <a:gd name="connsiteY322" fmla="*/ 1019802 h 1257266"/>
              <a:gd name="connsiteX323" fmla="*/ 4853823 w 5227821"/>
              <a:gd name="connsiteY323" fmla="*/ 1023567 h 1257266"/>
              <a:gd name="connsiteX324" fmla="*/ 4861343 w 5227821"/>
              <a:gd name="connsiteY324" fmla="*/ 1019802 h 1257266"/>
              <a:gd name="connsiteX325" fmla="*/ 4865103 w 5227821"/>
              <a:gd name="connsiteY325" fmla="*/ 1053690 h 1257266"/>
              <a:gd name="connsiteX326" fmla="*/ 4767349 w 5227821"/>
              <a:gd name="connsiteY326" fmla="*/ 1095110 h 1257266"/>
              <a:gd name="connsiteX327" fmla="*/ 4752310 w 5227821"/>
              <a:gd name="connsiteY327" fmla="*/ 1095110 h 1257266"/>
              <a:gd name="connsiteX328" fmla="*/ 4756070 w 5227821"/>
              <a:gd name="connsiteY328" fmla="*/ 1091344 h 1257266"/>
              <a:gd name="connsiteX329" fmla="*/ 4733511 w 5227821"/>
              <a:gd name="connsiteY329" fmla="*/ 1091344 h 1257266"/>
              <a:gd name="connsiteX330" fmla="*/ 4677115 w 5227821"/>
              <a:gd name="connsiteY330" fmla="*/ 1098875 h 1257266"/>
              <a:gd name="connsiteX331" fmla="*/ 4756070 w 5227821"/>
              <a:gd name="connsiteY331" fmla="*/ 1106406 h 1257266"/>
              <a:gd name="connsiteX332" fmla="*/ 4654557 w 5227821"/>
              <a:gd name="connsiteY332" fmla="*/ 1125233 h 1257266"/>
              <a:gd name="connsiteX333" fmla="*/ 4571843 w 5227821"/>
              <a:gd name="connsiteY333" fmla="*/ 1117702 h 1257266"/>
              <a:gd name="connsiteX334" fmla="*/ 4530485 w 5227821"/>
              <a:gd name="connsiteY334" fmla="*/ 1140294 h 1257266"/>
              <a:gd name="connsiteX335" fmla="*/ 4526726 w 5227821"/>
              <a:gd name="connsiteY335" fmla="*/ 1136529 h 1257266"/>
              <a:gd name="connsiteX336" fmla="*/ 4507927 w 5227821"/>
              <a:gd name="connsiteY336" fmla="*/ 1159121 h 1257266"/>
              <a:gd name="connsiteX337" fmla="*/ 4511687 w 5227821"/>
              <a:gd name="connsiteY337" fmla="*/ 1162887 h 1257266"/>
              <a:gd name="connsiteX338" fmla="*/ 4470329 w 5227821"/>
              <a:gd name="connsiteY338" fmla="*/ 1155356 h 1257266"/>
              <a:gd name="connsiteX339" fmla="*/ 4410174 w 5227821"/>
              <a:gd name="connsiteY339" fmla="*/ 1170418 h 1257266"/>
              <a:gd name="connsiteX340" fmla="*/ 4406414 w 5227821"/>
              <a:gd name="connsiteY340" fmla="*/ 1159121 h 1257266"/>
              <a:gd name="connsiteX341" fmla="*/ 4342499 w 5227821"/>
              <a:gd name="connsiteY341" fmla="*/ 1159121 h 1257266"/>
              <a:gd name="connsiteX342" fmla="*/ 4350018 w 5227821"/>
              <a:gd name="connsiteY342" fmla="*/ 1166652 h 1257266"/>
              <a:gd name="connsiteX343" fmla="*/ 4282343 w 5227821"/>
              <a:gd name="connsiteY343" fmla="*/ 1170418 h 1257266"/>
              <a:gd name="connsiteX344" fmla="*/ 4297381 w 5227821"/>
              <a:gd name="connsiteY344" fmla="*/ 1177948 h 1257266"/>
              <a:gd name="connsiteX345" fmla="*/ 4229707 w 5227821"/>
              <a:gd name="connsiteY345" fmla="*/ 1177948 h 1257266"/>
              <a:gd name="connsiteX346" fmla="*/ 4146992 w 5227821"/>
              <a:gd name="connsiteY346" fmla="*/ 1200541 h 1257266"/>
              <a:gd name="connsiteX347" fmla="*/ 4041719 w 5227821"/>
              <a:gd name="connsiteY347" fmla="*/ 1215602 h 1257266"/>
              <a:gd name="connsiteX348" fmla="*/ 3665745 w 5227821"/>
              <a:gd name="connsiteY348" fmla="*/ 1249491 h 1257266"/>
              <a:gd name="connsiteX349" fmla="*/ 3673265 w 5227821"/>
              <a:gd name="connsiteY349" fmla="*/ 1245725 h 1257266"/>
              <a:gd name="connsiteX350" fmla="*/ 3349927 w 5227821"/>
              <a:gd name="connsiteY350" fmla="*/ 1257022 h 1257266"/>
              <a:gd name="connsiteX351" fmla="*/ 3500317 w 5227821"/>
              <a:gd name="connsiteY351" fmla="*/ 1234429 h 1257266"/>
              <a:gd name="connsiteX352" fmla="*/ 3244655 w 5227821"/>
              <a:gd name="connsiteY352" fmla="*/ 1241960 h 1257266"/>
              <a:gd name="connsiteX353" fmla="*/ 3316090 w 5227821"/>
              <a:gd name="connsiteY353" fmla="*/ 1226898 h 1257266"/>
              <a:gd name="connsiteX354" fmla="*/ 3327369 w 5227821"/>
              <a:gd name="connsiteY354" fmla="*/ 1234429 h 1257266"/>
              <a:gd name="connsiteX355" fmla="*/ 3410083 w 5227821"/>
              <a:gd name="connsiteY355" fmla="*/ 1215602 h 1257266"/>
              <a:gd name="connsiteX356" fmla="*/ 3410083 w 5227821"/>
              <a:gd name="connsiteY356" fmla="*/ 1208071 h 1257266"/>
              <a:gd name="connsiteX357" fmla="*/ 3996603 w 5227821"/>
              <a:gd name="connsiteY357" fmla="*/ 1147825 h 1257266"/>
              <a:gd name="connsiteX358" fmla="*/ 4056759 w 5227821"/>
              <a:gd name="connsiteY358" fmla="*/ 1136529 h 1257266"/>
              <a:gd name="connsiteX359" fmla="*/ 4037960 w 5227821"/>
              <a:gd name="connsiteY359" fmla="*/ 1132764 h 1257266"/>
              <a:gd name="connsiteX360" fmla="*/ 4064278 w 5227821"/>
              <a:gd name="connsiteY360" fmla="*/ 1132764 h 1257266"/>
              <a:gd name="connsiteX361" fmla="*/ 4068037 w 5227821"/>
              <a:gd name="connsiteY361" fmla="*/ 1132764 h 1257266"/>
              <a:gd name="connsiteX362" fmla="*/ 4105635 w 5227821"/>
              <a:gd name="connsiteY362" fmla="*/ 1121467 h 1257266"/>
              <a:gd name="connsiteX363" fmla="*/ 4064278 w 5227821"/>
              <a:gd name="connsiteY363" fmla="*/ 1121467 h 1257266"/>
              <a:gd name="connsiteX364" fmla="*/ 3985323 w 5227821"/>
              <a:gd name="connsiteY364" fmla="*/ 1121467 h 1257266"/>
              <a:gd name="connsiteX365" fmla="*/ 3631908 w 5227821"/>
              <a:gd name="connsiteY365" fmla="*/ 1132764 h 1257266"/>
              <a:gd name="connsiteX366" fmla="*/ 3470239 w 5227821"/>
              <a:gd name="connsiteY366" fmla="*/ 1140294 h 1257266"/>
              <a:gd name="connsiteX367" fmla="*/ 2981473 w 5227821"/>
              <a:gd name="connsiteY367" fmla="*/ 1170418 h 1257266"/>
              <a:gd name="connsiteX368" fmla="*/ 2789726 w 5227821"/>
              <a:gd name="connsiteY368" fmla="*/ 1166652 h 1257266"/>
              <a:gd name="connsiteX369" fmla="*/ 2519025 w 5227821"/>
              <a:gd name="connsiteY369" fmla="*/ 1159121 h 1257266"/>
              <a:gd name="connsiteX370" fmla="*/ 2511506 w 5227821"/>
              <a:gd name="connsiteY370" fmla="*/ 1162887 h 1257266"/>
              <a:gd name="connsiteX371" fmla="*/ 2488947 w 5227821"/>
              <a:gd name="connsiteY371" fmla="*/ 1166652 h 1257266"/>
              <a:gd name="connsiteX372" fmla="*/ 2368636 w 5227821"/>
              <a:gd name="connsiteY372" fmla="*/ 1177948 h 1257266"/>
              <a:gd name="connsiteX373" fmla="*/ 2225766 w 5227821"/>
              <a:gd name="connsiteY373" fmla="*/ 1196775 h 1257266"/>
              <a:gd name="connsiteX374" fmla="*/ 1466298 w 5227821"/>
              <a:gd name="connsiteY374" fmla="*/ 1189245 h 1257266"/>
              <a:gd name="connsiteX375" fmla="*/ 1259513 w 5227821"/>
              <a:gd name="connsiteY375" fmla="*/ 1177948 h 1257266"/>
              <a:gd name="connsiteX376" fmla="*/ 992571 w 5227821"/>
              <a:gd name="connsiteY376" fmla="*/ 1162887 h 1257266"/>
              <a:gd name="connsiteX377" fmla="*/ 891058 w 5227821"/>
              <a:gd name="connsiteY377" fmla="*/ 1155356 h 1257266"/>
              <a:gd name="connsiteX378" fmla="*/ 883995 w 5227821"/>
              <a:gd name="connsiteY378" fmla="*/ 1158893 h 1257266"/>
              <a:gd name="connsiteX379" fmla="*/ 876489 w 5227821"/>
              <a:gd name="connsiteY379" fmla="*/ 1158650 h 1257266"/>
              <a:gd name="connsiteX380" fmla="*/ 774506 w 5227821"/>
              <a:gd name="connsiteY380" fmla="*/ 1155356 h 1257266"/>
              <a:gd name="connsiteX381" fmla="*/ 710591 w 5227821"/>
              <a:gd name="connsiteY381" fmla="*/ 1166652 h 1257266"/>
              <a:gd name="connsiteX382" fmla="*/ 530123 w 5227821"/>
              <a:gd name="connsiteY382" fmla="*/ 1166652 h 1257266"/>
              <a:gd name="connsiteX383" fmla="*/ 511325 w 5227821"/>
              <a:gd name="connsiteY383" fmla="*/ 1170418 h 1257266"/>
              <a:gd name="connsiteX384" fmla="*/ 507565 w 5227821"/>
              <a:gd name="connsiteY384" fmla="*/ 1170418 h 1257266"/>
              <a:gd name="connsiteX385" fmla="*/ 488766 w 5227821"/>
              <a:gd name="connsiteY385" fmla="*/ 1174183 h 1257266"/>
              <a:gd name="connsiteX386" fmla="*/ 424851 w 5227821"/>
              <a:gd name="connsiteY386" fmla="*/ 1170418 h 1257266"/>
              <a:gd name="connsiteX387" fmla="*/ 421091 w 5227821"/>
              <a:gd name="connsiteY387" fmla="*/ 1162887 h 1257266"/>
              <a:gd name="connsiteX388" fmla="*/ 398533 w 5227821"/>
              <a:gd name="connsiteY388" fmla="*/ 1170418 h 1257266"/>
              <a:gd name="connsiteX389" fmla="*/ 357175 w 5227821"/>
              <a:gd name="connsiteY389" fmla="*/ 1159121 h 1257266"/>
              <a:gd name="connsiteX390" fmla="*/ 334617 w 5227821"/>
              <a:gd name="connsiteY390" fmla="*/ 1162887 h 1257266"/>
              <a:gd name="connsiteX391" fmla="*/ 338376 w 5227821"/>
              <a:gd name="connsiteY391" fmla="*/ 1155356 h 1257266"/>
              <a:gd name="connsiteX392" fmla="*/ 300779 w 5227821"/>
              <a:gd name="connsiteY392" fmla="*/ 1155356 h 1257266"/>
              <a:gd name="connsiteX393" fmla="*/ 233104 w 5227821"/>
              <a:gd name="connsiteY393" fmla="*/ 1140294 h 1257266"/>
              <a:gd name="connsiteX394" fmla="*/ 353415 w 5227821"/>
              <a:gd name="connsiteY394" fmla="*/ 1125233 h 1257266"/>
              <a:gd name="connsiteX395" fmla="*/ 315818 w 5227821"/>
              <a:gd name="connsiteY395" fmla="*/ 1125233 h 1257266"/>
              <a:gd name="connsiteX396" fmla="*/ 327097 w 5227821"/>
              <a:gd name="connsiteY396" fmla="*/ 1110171 h 1257266"/>
              <a:gd name="connsiteX397" fmla="*/ 274461 w 5227821"/>
              <a:gd name="connsiteY397" fmla="*/ 1102641 h 1257266"/>
              <a:gd name="connsiteX398" fmla="*/ 387253 w 5227821"/>
              <a:gd name="connsiteY398" fmla="*/ 1095110 h 1257266"/>
              <a:gd name="connsiteX399" fmla="*/ 334617 w 5227821"/>
              <a:gd name="connsiteY399" fmla="*/ 1095110 h 1257266"/>
              <a:gd name="connsiteX400" fmla="*/ 312058 w 5227821"/>
              <a:gd name="connsiteY400" fmla="*/ 1083814 h 1257266"/>
              <a:gd name="connsiteX401" fmla="*/ 338376 w 5227821"/>
              <a:gd name="connsiteY401" fmla="*/ 1072517 h 1257266"/>
              <a:gd name="connsiteX402" fmla="*/ 372214 w 5227821"/>
              <a:gd name="connsiteY402" fmla="*/ 1046160 h 1257266"/>
              <a:gd name="connsiteX403" fmla="*/ 293259 w 5227821"/>
              <a:gd name="connsiteY403" fmla="*/ 1064987 h 1257266"/>
              <a:gd name="connsiteX404" fmla="*/ 281980 w 5227821"/>
              <a:gd name="connsiteY404" fmla="*/ 1034863 h 1257266"/>
              <a:gd name="connsiteX405" fmla="*/ 308298 w 5227821"/>
              <a:gd name="connsiteY405" fmla="*/ 985913 h 1257266"/>
              <a:gd name="connsiteX406" fmla="*/ 323337 w 5227821"/>
              <a:gd name="connsiteY406" fmla="*/ 978383 h 1257266"/>
              <a:gd name="connsiteX407" fmla="*/ 263181 w 5227821"/>
              <a:gd name="connsiteY407" fmla="*/ 970852 h 1257266"/>
              <a:gd name="connsiteX408" fmla="*/ 300779 w 5227821"/>
              <a:gd name="connsiteY408" fmla="*/ 918136 h 1257266"/>
              <a:gd name="connsiteX409" fmla="*/ 330857 w 5227821"/>
              <a:gd name="connsiteY409" fmla="*/ 914371 h 1257266"/>
              <a:gd name="connsiteX410" fmla="*/ 67675 w 5227821"/>
              <a:gd name="connsiteY410" fmla="*/ 831532 h 1257266"/>
              <a:gd name="connsiteX411" fmla="*/ 11279 w 5227821"/>
              <a:gd name="connsiteY411" fmla="*/ 824001 h 1257266"/>
              <a:gd name="connsiteX412" fmla="*/ 0 w 5227821"/>
              <a:gd name="connsiteY412" fmla="*/ 820236 h 1257266"/>
              <a:gd name="connsiteX413" fmla="*/ 30078 w 5227821"/>
              <a:gd name="connsiteY413" fmla="*/ 820236 h 1257266"/>
              <a:gd name="connsiteX414" fmla="*/ 33837 w 5227821"/>
              <a:gd name="connsiteY414" fmla="*/ 824001 h 1257266"/>
              <a:gd name="connsiteX415" fmla="*/ 45117 w 5227821"/>
              <a:gd name="connsiteY415" fmla="*/ 820236 h 1257266"/>
              <a:gd name="connsiteX416" fmla="*/ 45117 w 5227821"/>
              <a:gd name="connsiteY416" fmla="*/ 812705 h 1257266"/>
              <a:gd name="connsiteX417" fmla="*/ 236863 w 5227821"/>
              <a:gd name="connsiteY417" fmla="*/ 865421 h 1257266"/>
              <a:gd name="connsiteX418" fmla="*/ 240623 w 5227821"/>
              <a:gd name="connsiteY418" fmla="*/ 861655 h 1257266"/>
              <a:gd name="connsiteX419" fmla="*/ 259422 w 5227821"/>
              <a:gd name="connsiteY419" fmla="*/ 869186 h 1257266"/>
              <a:gd name="connsiteX420" fmla="*/ 270701 w 5227821"/>
              <a:gd name="connsiteY420" fmla="*/ 861655 h 1257266"/>
              <a:gd name="connsiteX421" fmla="*/ 274461 w 5227821"/>
              <a:gd name="connsiteY421" fmla="*/ 865421 h 1257266"/>
              <a:gd name="connsiteX422" fmla="*/ 278220 w 5227821"/>
              <a:gd name="connsiteY422" fmla="*/ 861655 h 1257266"/>
              <a:gd name="connsiteX423" fmla="*/ 233104 w 5227821"/>
              <a:gd name="connsiteY423" fmla="*/ 857890 h 1257266"/>
              <a:gd name="connsiteX424" fmla="*/ 278220 w 5227821"/>
              <a:gd name="connsiteY424" fmla="*/ 842828 h 1257266"/>
              <a:gd name="connsiteX425" fmla="*/ 293259 w 5227821"/>
              <a:gd name="connsiteY425" fmla="*/ 842828 h 1257266"/>
              <a:gd name="connsiteX426" fmla="*/ 278220 w 5227821"/>
              <a:gd name="connsiteY426" fmla="*/ 854125 h 1257266"/>
              <a:gd name="connsiteX427" fmla="*/ 312058 w 5227821"/>
              <a:gd name="connsiteY427" fmla="*/ 857890 h 1257266"/>
              <a:gd name="connsiteX428" fmla="*/ 312058 w 5227821"/>
              <a:gd name="connsiteY428" fmla="*/ 842828 h 1257266"/>
              <a:gd name="connsiteX429" fmla="*/ 308298 w 5227821"/>
              <a:gd name="connsiteY429" fmla="*/ 839063 h 1257266"/>
              <a:gd name="connsiteX430" fmla="*/ 304539 w 5227821"/>
              <a:gd name="connsiteY430" fmla="*/ 839063 h 1257266"/>
              <a:gd name="connsiteX431" fmla="*/ 308298 w 5227821"/>
              <a:gd name="connsiteY431" fmla="*/ 835298 h 1257266"/>
              <a:gd name="connsiteX432" fmla="*/ 297019 w 5227821"/>
              <a:gd name="connsiteY432" fmla="*/ 831532 h 1257266"/>
              <a:gd name="connsiteX433" fmla="*/ 270701 w 5227821"/>
              <a:gd name="connsiteY433" fmla="*/ 835298 h 1257266"/>
              <a:gd name="connsiteX434" fmla="*/ 312058 w 5227821"/>
              <a:gd name="connsiteY434" fmla="*/ 820236 h 1257266"/>
              <a:gd name="connsiteX435" fmla="*/ 308298 w 5227821"/>
              <a:gd name="connsiteY435" fmla="*/ 816471 h 1257266"/>
              <a:gd name="connsiteX436" fmla="*/ 353415 w 5227821"/>
              <a:gd name="connsiteY436" fmla="*/ 793878 h 1257266"/>
              <a:gd name="connsiteX437" fmla="*/ 334617 w 5227821"/>
              <a:gd name="connsiteY437" fmla="*/ 790113 h 1257266"/>
              <a:gd name="connsiteX438" fmla="*/ 233104 w 5227821"/>
              <a:gd name="connsiteY438" fmla="*/ 824001 h 1257266"/>
              <a:gd name="connsiteX439" fmla="*/ 161669 w 5227821"/>
              <a:gd name="connsiteY439" fmla="*/ 839063 h 1257266"/>
              <a:gd name="connsiteX440" fmla="*/ 184227 w 5227821"/>
              <a:gd name="connsiteY440" fmla="*/ 827767 h 1257266"/>
              <a:gd name="connsiteX441" fmla="*/ 176707 w 5227821"/>
              <a:gd name="connsiteY441" fmla="*/ 827767 h 1257266"/>
              <a:gd name="connsiteX442" fmla="*/ 251902 w 5227821"/>
              <a:gd name="connsiteY442" fmla="*/ 805175 h 1257266"/>
              <a:gd name="connsiteX443" fmla="*/ 274461 w 5227821"/>
              <a:gd name="connsiteY443" fmla="*/ 797644 h 1257266"/>
              <a:gd name="connsiteX444" fmla="*/ 281980 w 5227821"/>
              <a:gd name="connsiteY444" fmla="*/ 797644 h 1257266"/>
              <a:gd name="connsiteX445" fmla="*/ 297019 w 5227821"/>
              <a:gd name="connsiteY445" fmla="*/ 790113 h 1257266"/>
              <a:gd name="connsiteX446" fmla="*/ 293259 w 5227821"/>
              <a:gd name="connsiteY446" fmla="*/ 786348 h 1257266"/>
              <a:gd name="connsiteX447" fmla="*/ 327097 w 5227821"/>
              <a:gd name="connsiteY447" fmla="*/ 763755 h 1257266"/>
              <a:gd name="connsiteX448" fmla="*/ 236863 w 5227821"/>
              <a:gd name="connsiteY448" fmla="*/ 786348 h 1257266"/>
              <a:gd name="connsiteX449" fmla="*/ 199266 w 5227821"/>
              <a:gd name="connsiteY449" fmla="*/ 790113 h 1257266"/>
              <a:gd name="connsiteX450" fmla="*/ 330857 w 5227821"/>
              <a:gd name="connsiteY450" fmla="*/ 726101 h 1257266"/>
              <a:gd name="connsiteX451" fmla="*/ 357175 w 5227821"/>
              <a:gd name="connsiteY451" fmla="*/ 699743 h 1257266"/>
              <a:gd name="connsiteX452" fmla="*/ 364695 w 5227821"/>
              <a:gd name="connsiteY452" fmla="*/ 699743 h 1257266"/>
              <a:gd name="connsiteX453" fmla="*/ 364695 w 5227821"/>
              <a:gd name="connsiteY453" fmla="*/ 688447 h 1257266"/>
              <a:gd name="connsiteX454" fmla="*/ 402292 w 5227821"/>
              <a:gd name="connsiteY454" fmla="*/ 650793 h 1257266"/>
              <a:gd name="connsiteX455" fmla="*/ 511325 w 5227821"/>
              <a:gd name="connsiteY455" fmla="*/ 579251 h 1257266"/>
              <a:gd name="connsiteX456" fmla="*/ 551742 w 5227821"/>
              <a:gd name="connsiteY456" fmla="*/ 534537 h 1257266"/>
              <a:gd name="connsiteX457" fmla="*/ 561872 w 5227821"/>
              <a:gd name="connsiteY457" fmla="*/ 527136 h 1257266"/>
              <a:gd name="connsiteX458" fmla="*/ 558113 w 5227821"/>
              <a:gd name="connsiteY458" fmla="*/ 526214 h 1257266"/>
              <a:gd name="connsiteX459" fmla="*/ 429342 w 5227821"/>
              <a:gd name="connsiteY459" fmla="*/ 481970 h 1257266"/>
              <a:gd name="connsiteX460" fmla="*/ 372945 w 5227821"/>
              <a:gd name="connsiteY460" fmla="*/ 474440 h 1257266"/>
              <a:gd name="connsiteX461" fmla="*/ 361666 w 5227821"/>
              <a:gd name="connsiteY461" fmla="*/ 470674 h 1257266"/>
              <a:gd name="connsiteX462" fmla="*/ 391744 w 5227821"/>
              <a:gd name="connsiteY462" fmla="*/ 470674 h 1257266"/>
              <a:gd name="connsiteX463" fmla="*/ 395504 w 5227821"/>
              <a:gd name="connsiteY463" fmla="*/ 474440 h 1257266"/>
              <a:gd name="connsiteX464" fmla="*/ 406783 w 5227821"/>
              <a:gd name="connsiteY464" fmla="*/ 470674 h 1257266"/>
              <a:gd name="connsiteX465" fmla="*/ 406783 w 5227821"/>
              <a:gd name="connsiteY465" fmla="*/ 463144 h 1257266"/>
              <a:gd name="connsiteX466" fmla="*/ 495607 w 5227821"/>
              <a:gd name="connsiteY466" fmla="*/ 493737 h 1257266"/>
              <a:gd name="connsiteX467" fmla="*/ 582131 w 5227821"/>
              <a:gd name="connsiteY467" fmla="*/ 512335 h 1257266"/>
              <a:gd name="connsiteX468" fmla="*/ 609078 w 5227821"/>
              <a:gd name="connsiteY468" fmla="*/ 492647 h 1257266"/>
              <a:gd name="connsiteX469" fmla="*/ 618947 w 5227821"/>
              <a:gd name="connsiteY469" fmla="*/ 494530 h 1257266"/>
              <a:gd name="connsiteX470" fmla="*/ 624178 w 5227821"/>
              <a:gd name="connsiteY470" fmla="*/ 495306 h 1257266"/>
              <a:gd name="connsiteX471" fmla="*/ 639060 w 5227821"/>
              <a:gd name="connsiteY471" fmla="*/ 493374 h 1257266"/>
              <a:gd name="connsiteX472" fmla="*/ 653196 w 5227821"/>
              <a:gd name="connsiteY472" fmla="*/ 487588 h 1257266"/>
              <a:gd name="connsiteX473" fmla="*/ 661962 w 5227821"/>
              <a:gd name="connsiteY473" fmla="*/ 483064 h 1257266"/>
              <a:gd name="connsiteX474" fmla="*/ 658686 w 5227821"/>
              <a:gd name="connsiteY474" fmla="*/ 481970 h 1257266"/>
              <a:gd name="connsiteX475" fmla="*/ 632367 w 5227821"/>
              <a:gd name="connsiteY475" fmla="*/ 485736 h 1257266"/>
              <a:gd name="connsiteX476" fmla="*/ 673725 w 5227821"/>
              <a:gd name="connsiteY476" fmla="*/ 470674 h 1257266"/>
              <a:gd name="connsiteX477" fmla="*/ 669965 w 5227821"/>
              <a:gd name="connsiteY477" fmla="*/ 466909 h 1257266"/>
              <a:gd name="connsiteX478" fmla="*/ 715082 w 5227821"/>
              <a:gd name="connsiteY478" fmla="*/ 444317 h 1257266"/>
              <a:gd name="connsiteX479" fmla="*/ 696283 w 5227821"/>
              <a:gd name="connsiteY479" fmla="*/ 440551 h 1257266"/>
              <a:gd name="connsiteX480" fmla="*/ 594770 w 5227821"/>
              <a:gd name="connsiteY480" fmla="*/ 474440 h 1257266"/>
              <a:gd name="connsiteX481" fmla="*/ 523335 w 5227821"/>
              <a:gd name="connsiteY481" fmla="*/ 489501 h 1257266"/>
              <a:gd name="connsiteX482" fmla="*/ 545893 w 5227821"/>
              <a:gd name="connsiteY482" fmla="*/ 478205 h 1257266"/>
              <a:gd name="connsiteX483" fmla="*/ 538374 w 5227821"/>
              <a:gd name="connsiteY483" fmla="*/ 478205 h 1257266"/>
              <a:gd name="connsiteX484" fmla="*/ 613569 w 5227821"/>
              <a:gd name="connsiteY484" fmla="*/ 455613 h 1257266"/>
              <a:gd name="connsiteX485" fmla="*/ 636127 w 5227821"/>
              <a:gd name="connsiteY485" fmla="*/ 448082 h 1257266"/>
              <a:gd name="connsiteX486" fmla="*/ 643647 w 5227821"/>
              <a:gd name="connsiteY486" fmla="*/ 448082 h 1257266"/>
              <a:gd name="connsiteX487" fmla="*/ 658686 w 5227821"/>
              <a:gd name="connsiteY487" fmla="*/ 440551 h 1257266"/>
              <a:gd name="connsiteX488" fmla="*/ 654926 w 5227821"/>
              <a:gd name="connsiteY488" fmla="*/ 436786 h 1257266"/>
              <a:gd name="connsiteX489" fmla="*/ 688764 w 5227821"/>
              <a:gd name="connsiteY489" fmla="*/ 414193 h 1257266"/>
              <a:gd name="connsiteX490" fmla="*/ 598530 w 5227821"/>
              <a:gd name="connsiteY490" fmla="*/ 436786 h 1257266"/>
              <a:gd name="connsiteX491" fmla="*/ 560932 w 5227821"/>
              <a:gd name="connsiteY491" fmla="*/ 440551 h 1257266"/>
              <a:gd name="connsiteX492" fmla="*/ 692523 w 5227821"/>
              <a:gd name="connsiteY492" fmla="*/ 376539 h 1257266"/>
              <a:gd name="connsiteX493" fmla="*/ 718841 w 5227821"/>
              <a:gd name="connsiteY493" fmla="*/ 350182 h 1257266"/>
              <a:gd name="connsiteX494" fmla="*/ 726361 w 5227821"/>
              <a:gd name="connsiteY494" fmla="*/ 350182 h 1257266"/>
              <a:gd name="connsiteX495" fmla="*/ 726361 w 5227821"/>
              <a:gd name="connsiteY495" fmla="*/ 338886 h 1257266"/>
              <a:gd name="connsiteX496" fmla="*/ 763958 w 5227821"/>
              <a:gd name="connsiteY496" fmla="*/ 301232 h 1257266"/>
              <a:gd name="connsiteX497" fmla="*/ 872991 w 5227821"/>
              <a:gd name="connsiteY497" fmla="*/ 229689 h 1257266"/>
              <a:gd name="connsiteX498" fmla="*/ 970744 w 5227821"/>
              <a:gd name="connsiteY498" fmla="*/ 143085 h 1257266"/>
              <a:gd name="connsiteX499" fmla="*/ 993302 w 5227821"/>
              <a:gd name="connsiteY499" fmla="*/ 146851 h 1257266"/>
              <a:gd name="connsiteX500" fmla="*/ 1087296 w 5227821"/>
              <a:gd name="connsiteY500" fmla="*/ 124258 h 1257266"/>
              <a:gd name="connsiteX501" fmla="*/ 1109854 w 5227821"/>
              <a:gd name="connsiteY501" fmla="*/ 120493 h 1257266"/>
              <a:gd name="connsiteX502" fmla="*/ 1109854 w 5227821"/>
              <a:gd name="connsiteY502" fmla="*/ 112962 h 1257266"/>
              <a:gd name="connsiteX503" fmla="*/ 1173770 w 5227821"/>
              <a:gd name="connsiteY503" fmla="*/ 120493 h 1257266"/>
              <a:gd name="connsiteX504" fmla="*/ 1166250 w 5227821"/>
              <a:gd name="connsiteY504" fmla="*/ 131789 h 1257266"/>
              <a:gd name="connsiteX505" fmla="*/ 1290322 w 5227821"/>
              <a:gd name="connsiteY505" fmla="*/ 154381 h 1257266"/>
              <a:gd name="connsiteX506" fmla="*/ 1286562 w 5227821"/>
              <a:gd name="connsiteY506" fmla="*/ 158147 h 1257266"/>
              <a:gd name="connsiteX507" fmla="*/ 1316640 w 5227821"/>
              <a:gd name="connsiteY507" fmla="*/ 161912 h 1257266"/>
              <a:gd name="connsiteX508" fmla="*/ 1399354 w 5227821"/>
              <a:gd name="connsiteY508" fmla="*/ 101666 h 1257266"/>
              <a:gd name="connsiteX509" fmla="*/ 1380555 w 5227821"/>
              <a:gd name="connsiteY509" fmla="*/ 82839 h 1257266"/>
              <a:gd name="connsiteX510" fmla="*/ 1369276 w 5227821"/>
              <a:gd name="connsiteY510" fmla="*/ 90370 h 1257266"/>
              <a:gd name="connsiteX511" fmla="*/ 1369276 w 5227821"/>
              <a:gd name="connsiteY511" fmla="*/ 86604 h 1257266"/>
              <a:gd name="connsiteX512" fmla="*/ 1275283 w 5227821"/>
              <a:gd name="connsiteY512" fmla="*/ 86604 h 1257266"/>
              <a:gd name="connsiteX513" fmla="*/ 1252724 w 5227821"/>
              <a:gd name="connsiteY513" fmla="*/ 97900 h 1257266"/>
              <a:gd name="connsiteX514" fmla="*/ 1282802 w 5227821"/>
              <a:gd name="connsiteY514" fmla="*/ 71543 h 1257266"/>
              <a:gd name="connsiteX515" fmla="*/ 1309120 w 5227821"/>
              <a:gd name="connsiteY515" fmla="*/ 67777 h 1257266"/>
              <a:gd name="connsiteX516" fmla="*/ 1399354 w 5227821"/>
              <a:gd name="connsiteY516" fmla="*/ 82839 h 1257266"/>
              <a:gd name="connsiteX517" fmla="*/ 1455750 w 5227821"/>
              <a:gd name="connsiteY517" fmla="*/ 56481 h 1257266"/>
              <a:gd name="connsiteX518" fmla="*/ 1440711 w 5227821"/>
              <a:gd name="connsiteY518" fmla="*/ 52716 h 1257266"/>
              <a:gd name="connsiteX519" fmla="*/ 1508387 w 5227821"/>
              <a:gd name="connsiteY519" fmla="*/ 22593 h 1257266"/>
              <a:gd name="connsiteX520" fmla="*/ 1474549 w 5227821"/>
              <a:gd name="connsiteY520" fmla="*/ 18827 h 1257266"/>
              <a:gd name="connsiteX521" fmla="*/ 1594861 w 5227821"/>
              <a:gd name="connsiteY521" fmla="*/ 0 h 1257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</a:cxnLst>
            <a:rect l="l" t="t" r="r" b="b"/>
            <a:pathLst>
              <a:path w="5227821" h="1257266">
                <a:moveTo>
                  <a:pt x="883995" y="1158893"/>
                </a:moveTo>
                <a:lnTo>
                  <a:pt x="891058" y="1159121"/>
                </a:lnTo>
                <a:cubicBezTo>
                  <a:pt x="883539" y="1159121"/>
                  <a:pt x="883539" y="1159121"/>
                  <a:pt x="883539" y="1159121"/>
                </a:cubicBezTo>
                <a:close/>
                <a:moveTo>
                  <a:pt x="4615788" y="826594"/>
                </a:moveTo>
                <a:lnTo>
                  <a:pt x="4616959" y="827767"/>
                </a:lnTo>
                <a:lnTo>
                  <a:pt x="4617450" y="827029"/>
                </a:lnTo>
                <a:close/>
                <a:moveTo>
                  <a:pt x="4610559" y="825984"/>
                </a:moveTo>
                <a:lnTo>
                  <a:pt x="4591373" y="828386"/>
                </a:lnTo>
                <a:lnTo>
                  <a:pt x="4584680" y="830752"/>
                </a:lnTo>
                <a:lnTo>
                  <a:pt x="4583122" y="831532"/>
                </a:lnTo>
                <a:cubicBezTo>
                  <a:pt x="4583122" y="835298"/>
                  <a:pt x="4590641" y="835298"/>
                  <a:pt x="4598161" y="835298"/>
                </a:cubicBezTo>
                <a:cubicBezTo>
                  <a:pt x="4598161" y="835298"/>
                  <a:pt x="4598161" y="835298"/>
                  <a:pt x="4600041" y="833886"/>
                </a:cubicBezTo>
                <a:close/>
                <a:moveTo>
                  <a:pt x="4763331" y="809097"/>
                </a:moveTo>
                <a:lnTo>
                  <a:pt x="4764025" y="815097"/>
                </a:lnTo>
                <a:lnTo>
                  <a:pt x="4768080" y="809559"/>
                </a:lnTo>
                <a:close/>
                <a:moveTo>
                  <a:pt x="4653526" y="808089"/>
                </a:moveTo>
                <a:cubicBezTo>
                  <a:pt x="4649178" y="809559"/>
                  <a:pt x="4645889" y="813325"/>
                  <a:pt x="4644009" y="820856"/>
                </a:cubicBezTo>
                <a:cubicBezTo>
                  <a:pt x="4647769" y="824621"/>
                  <a:pt x="4655288" y="824621"/>
                  <a:pt x="4659047" y="828386"/>
                </a:cubicBezTo>
                <a:lnTo>
                  <a:pt x="4642634" y="833009"/>
                </a:lnTo>
                <a:lnTo>
                  <a:pt x="4658317" y="846594"/>
                </a:lnTo>
                <a:cubicBezTo>
                  <a:pt x="4680875" y="839063"/>
                  <a:pt x="4677115" y="827767"/>
                  <a:pt x="4684635" y="816471"/>
                </a:cubicBezTo>
                <a:lnTo>
                  <a:pt x="4683861" y="813370"/>
                </a:lnTo>
                <a:lnTo>
                  <a:pt x="4669387" y="809089"/>
                </a:lnTo>
                <a:cubicBezTo>
                  <a:pt x="4663277" y="807441"/>
                  <a:pt x="4657873" y="806618"/>
                  <a:pt x="4653526" y="808089"/>
                </a:cubicBezTo>
                <a:close/>
                <a:moveTo>
                  <a:pt x="4720496" y="800558"/>
                </a:moveTo>
                <a:cubicBezTo>
                  <a:pt x="4715209" y="801322"/>
                  <a:pt x="4709804" y="803911"/>
                  <a:pt x="4704165" y="809559"/>
                </a:cubicBezTo>
                <a:cubicBezTo>
                  <a:pt x="4704165" y="809559"/>
                  <a:pt x="4704165" y="809559"/>
                  <a:pt x="4711684" y="817090"/>
                </a:cubicBezTo>
                <a:lnTo>
                  <a:pt x="4703433" y="816325"/>
                </a:lnTo>
                <a:lnTo>
                  <a:pt x="4703433" y="824001"/>
                </a:lnTo>
                <a:cubicBezTo>
                  <a:pt x="4703433" y="824001"/>
                  <a:pt x="4703433" y="824001"/>
                  <a:pt x="4718473" y="820236"/>
                </a:cubicBezTo>
                <a:cubicBezTo>
                  <a:pt x="4725992" y="827767"/>
                  <a:pt x="4729751" y="839063"/>
                  <a:pt x="4733511" y="846594"/>
                </a:cubicBezTo>
                <a:cubicBezTo>
                  <a:pt x="4725992" y="842828"/>
                  <a:pt x="4718473" y="842828"/>
                  <a:pt x="4710953" y="850359"/>
                </a:cubicBezTo>
                <a:cubicBezTo>
                  <a:pt x="4710953" y="850359"/>
                  <a:pt x="4710953" y="850359"/>
                  <a:pt x="4692155" y="842828"/>
                </a:cubicBezTo>
                <a:cubicBezTo>
                  <a:pt x="4680875" y="846594"/>
                  <a:pt x="4665836" y="846594"/>
                  <a:pt x="4658317" y="854125"/>
                </a:cubicBezTo>
                <a:cubicBezTo>
                  <a:pt x="4658317" y="854125"/>
                  <a:pt x="4658317" y="854125"/>
                  <a:pt x="4677115" y="854125"/>
                </a:cubicBezTo>
                <a:cubicBezTo>
                  <a:pt x="4677115" y="854125"/>
                  <a:pt x="4677115" y="854125"/>
                  <a:pt x="4673355" y="857890"/>
                </a:cubicBezTo>
                <a:cubicBezTo>
                  <a:pt x="4707193" y="854125"/>
                  <a:pt x="4722232" y="861655"/>
                  <a:pt x="4741031" y="857890"/>
                </a:cubicBezTo>
                <a:cubicBezTo>
                  <a:pt x="4744791" y="861655"/>
                  <a:pt x="4744791" y="861655"/>
                  <a:pt x="4748551" y="861655"/>
                </a:cubicBezTo>
                <a:cubicBezTo>
                  <a:pt x="4752310" y="861655"/>
                  <a:pt x="4752310" y="857890"/>
                  <a:pt x="4752310" y="857890"/>
                </a:cubicBezTo>
                <a:cubicBezTo>
                  <a:pt x="4756070" y="854125"/>
                  <a:pt x="4759829" y="854125"/>
                  <a:pt x="4763589" y="854125"/>
                </a:cubicBezTo>
                <a:cubicBezTo>
                  <a:pt x="4763589" y="850359"/>
                  <a:pt x="4759829" y="854125"/>
                  <a:pt x="4752310" y="854125"/>
                </a:cubicBezTo>
                <a:cubicBezTo>
                  <a:pt x="4752310" y="846594"/>
                  <a:pt x="4748551" y="842828"/>
                  <a:pt x="4756070" y="835298"/>
                </a:cubicBezTo>
                <a:cubicBezTo>
                  <a:pt x="4750430" y="829650"/>
                  <a:pt x="4745731" y="824001"/>
                  <a:pt x="4744321" y="817412"/>
                </a:cubicBezTo>
                <a:lnTo>
                  <a:pt x="4747974" y="806649"/>
                </a:lnTo>
                <a:lnTo>
                  <a:pt x="4736122" y="802499"/>
                </a:lnTo>
                <a:cubicBezTo>
                  <a:pt x="4730953" y="800852"/>
                  <a:pt x="4725783" y="799793"/>
                  <a:pt x="4720496" y="800558"/>
                </a:cubicBezTo>
                <a:close/>
                <a:moveTo>
                  <a:pt x="1676438" y="90716"/>
                </a:moveTo>
                <a:lnTo>
                  <a:pt x="1850993" y="94135"/>
                </a:lnTo>
                <a:cubicBezTo>
                  <a:pt x="1918198" y="94135"/>
                  <a:pt x="1985874" y="94135"/>
                  <a:pt x="2046029" y="97900"/>
                </a:cubicBezTo>
                <a:cubicBezTo>
                  <a:pt x="2046029" y="97900"/>
                  <a:pt x="2046029" y="97900"/>
                  <a:pt x="2057308" y="101666"/>
                </a:cubicBezTo>
                <a:cubicBezTo>
                  <a:pt x="1997153" y="97900"/>
                  <a:pt x="1910679" y="112962"/>
                  <a:pt x="1850523" y="97900"/>
                </a:cubicBezTo>
                <a:cubicBezTo>
                  <a:pt x="1797886" y="101666"/>
                  <a:pt x="1737731" y="94135"/>
                  <a:pt x="1692614" y="94135"/>
                </a:cubicBezTo>
                <a:close/>
                <a:moveTo>
                  <a:pt x="1675636" y="90546"/>
                </a:moveTo>
                <a:lnTo>
                  <a:pt x="1676438" y="90716"/>
                </a:lnTo>
                <a:lnTo>
                  <a:pt x="1674865" y="90685"/>
                </a:lnTo>
                <a:close/>
                <a:moveTo>
                  <a:pt x="2005634" y="36919"/>
                </a:moveTo>
                <a:lnTo>
                  <a:pt x="2008432" y="37654"/>
                </a:lnTo>
                <a:cubicBezTo>
                  <a:pt x="2000912" y="37654"/>
                  <a:pt x="2000912" y="37654"/>
                  <a:pt x="2000912" y="37654"/>
                </a:cubicBezTo>
                <a:close/>
                <a:moveTo>
                  <a:pt x="1594861" y="0"/>
                </a:moveTo>
                <a:cubicBezTo>
                  <a:pt x="1621179" y="0"/>
                  <a:pt x="1651257" y="0"/>
                  <a:pt x="1655016" y="11296"/>
                </a:cubicBezTo>
                <a:cubicBezTo>
                  <a:pt x="1658776" y="15062"/>
                  <a:pt x="1655016" y="15062"/>
                  <a:pt x="1651257" y="18827"/>
                </a:cubicBezTo>
                <a:cubicBezTo>
                  <a:pt x="1685094" y="22593"/>
                  <a:pt x="1730211" y="22593"/>
                  <a:pt x="1767809" y="22593"/>
                </a:cubicBezTo>
                <a:cubicBezTo>
                  <a:pt x="1925718" y="26358"/>
                  <a:pt x="2079867" y="30123"/>
                  <a:pt x="2230256" y="26358"/>
                </a:cubicBezTo>
                <a:cubicBezTo>
                  <a:pt x="2241536" y="30123"/>
                  <a:pt x="2256575" y="33889"/>
                  <a:pt x="2275373" y="30123"/>
                </a:cubicBezTo>
                <a:cubicBezTo>
                  <a:pt x="2218977" y="41420"/>
                  <a:pt x="2117464" y="33889"/>
                  <a:pt x="2046029" y="33889"/>
                </a:cubicBezTo>
                <a:cubicBezTo>
                  <a:pt x="2036630" y="32006"/>
                  <a:pt x="2029111" y="32947"/>
                  <a:pt x="2022061" y="34359"/>
                </a:cubicBezTo>
                <a:lnTo>
                  <a:pt x="2005634" y="36919"/>
                </a:lnTo>
                <a:lnTo>
                  <a:pt x="1983817" y="31183"/>
                </a:lnTo>
                <a:cubicBezTo>
                  <a:pt x="1955091" y="28711"/>
                  <a:pt x="1916318" y="35772"/>
                  <a:pt x="1888120" y="30123"/>
                </a:cubicBezTo>
                <a:cubicBezTo>
                  <a:pt x="1805406" y="30123"/>
                  <a:pt x="1749010" y="22593"/>
                  <a:pt x="1662536" y="26358"/>
                </a:cubicBezTo>
                <a:cubicBezTo>
                  <a:pt x="1655016" y="30123"/>
                  <a:pt x="1655016" y="33889"/>
                  <a:pt x="1655016" y="37654"/>
                </a:cubicBezTo>
                <a:cubicBezTo>
                  <a:pt x="1636218" y="37654"/>
                  <a:pt x="1617419" y="37654"/>
                  <a:pt x="1609900" y="30123"/>
                </a:cubicBezTo>
                <a:cubicBezTo>
                  <a:pt x="1591101" y="41420"/>
                  <a:pt x="1572302" y="41420"/>
                  <a:pt x="1553503" y="52716"/>
                </a:cubicBezTo>
                <a:cubicBezTo>
                  <a:pt x="1553503" y="52716"/>
                  <a:pt x="1553503" y="52716"/>
                  <a:pt x="1587341" y="56481"/>
                </a:cubicBezTo>
                <a:cubicBezTo>
                  <a:pt x="1579822" y="64012"/>
                  <a:pt x="1557263" y="64012"/>
                  <a:pt x="1542224" y="56481"/>
                </a:cubicBezTo>
                <a:cubicBezTo>
                  <a:pt x="1515906" y="56481"/>
                  <a:pt x="1549744" y="67777"/>
                  <a:pt x="1527185" y="71543"/>
                </a:cubicBezTo>
                <a:cubicBezTo>
                  <a:pt x="1527185" y="71543"/>
                  <a:pt x="1527185" y="71543"/>
                  <a:pt x="1478309" y="79073"/>
                </a:cubicBezTo>
                <a:cubicBezTo>
                  <a:pt x="1527185" y="90370"/>
                  <a:pt x="1609900" y="82839"/>
                  <a:pt x="1658776" y="90370"/>
                </a:cubicBezTo>
                <a:lnTo>
                  <a:pt x="1674865" y="90685"/>
                </a:lnTo>
                <a:lnTo>
                  <a:pt x="1658306" y="93664"/>
                </a:lnTo>
                <a:cubicBezTo>
                  <a:pt x="1646557" y="96959"/>
                  <a:pt x="1634338" y="101666"/>
                  <a:pt x="1621179" y="101666"/>
                </a:cubicBezTo>
                <a:cubicBezTo>
                  <a:pt x="1613659" y="109197"/>
                  <a:pt x="1598620" y="116727"/>
                  <a:pt x="1579822" y="128024"/>
                </a:cubicBezTo>
                <a:cubicBezTo>
                  <a:pt x="1579822" y="128024"/>
                  <a:pt x="1579822" y="128024"/>
                  <a:pt x="1576062" y="120493"/>
                </a:cubicBezTo>
                <a:cubicBezTo>
                  <a:pt x="1579822" y="112962"/>
                  <a:pt x="1598620" y="124258"/>
                  <a:pt x="1598620" y="112962"/>
                </a:cubicBezTo>
                <a:cubicBezTo>
                  <a:pt x="1598620" y="112962"/>
                  <a:pt x="1598620" y="112962"/>
                  <a:pt x="1587341" y="109197"/>
                </a:cubicBezTo>
                <a:cubicBezTo>
                  <a:pt x="1583581" y="112962"/>
                  <a:pt x="1572302" y="109197"/>
                  <a:pt x="1564783" y="109197"/>
                </a:cubicBezTo>
                <a:cubicBezTo>
                  <a:pt x="1564783" y="109197"/>
                  <a:pt x="1564783" y="109197"/>
                  <a:pt x="1553503" y="105431"/>
                </a:cubicBezTo>
                <a:cubicBezTo>
                  <a:pt x="1583581" y="101666"/>
                  <a:pt x="1609900" y="109197"/>
                  <a:pt x="1621179" y="94135"/>
                </a:cubicBezTo>
                <a:cubicBezTo>
                  <a:pt x="1564783" y="82839"/>
                  <a:pt x="1508387" y="94135"/>
                  <a:pt x="1448231" y="86604"/>
                </a:cubicBezTo>
                <a:cubicBezTo>
                  <a:pt x="1433192" y="82839"/>
                  <a:pt x="1425672" y="94135"/>
                  <a:pt x="1410633" y="97900"/>
                </a:cubicBezTo>
                <a:cubicBezTo>
                  <a:pt x="1410633" y="97900"/>
                  <a:pt x="1410633" y="97900"/>
                  <a:pt x="1444471" y="101666"/>
                </a:cubicBezTo>
                <a:cubicBezTo>
                  <a:pt x="1440711" y="109197"/>
                  <a:pt x="1384315" y="116727"/>
                  <a:pt x="1380555" y="131789"/>
                </a:cubicBezTo>
                <a:cubicBezTo>
                  <a:pt x="1373036" y="124258"/>
                  <a:pt x="1399354" y="120493"/>
                  <a:pt x="1380555" y="112962"/>
                </a:cubicBezTo>
                <a:cubicBezTo>
                  <a:pt x="1380555" y="120493"/>
                  <a:pt x="1350478" y="124258"/>
                  <a:pt x="1369276" y="131789"/>
                </a:cubicBezTo>
                <a:cubicBezTo>
                  <a:pt x="1365517" y="128024"/>
                  <a:pt x="1361757" y="131789"/>
                  <a:pt x="1357997" y="131789"/>
                </a:cubicBezTo>
                <a:cubicBezTo>
                  <a:pt x="1365517" y="146851"/>
                  <a:pt x="1361757" y="143085"/>
                  <a:pt x="1354237" y="146851"/>
                </a:cubicBezTo>
                <a:cubicBezTo>
                  <a:pt x="1357997" y="143085"/>
                  <a:pt x="1357997" y="143085"/>
                  <a:pt x="1350478" y="139320"/>
                </a:cubicBezTo>
                <a:cubicBezTo>
                  <a:pt x="1350478" y="139320"/>
                  <a:pt x="1350478" y="139320"/>
                  <a:pt x="1327919" y="161912"/>
                </a:cubicBezTo>
                <a:cubicBezTo>
                  <a:pt x="1365517" y="161912"/>
                  <a:pt x="1391835" y="184504"/>
                  <a:pt x="1436952" y="173208"/>
                </a:cubicBezTo>
                <a:cubicBezTo>
                  <a:pt x="1455750" y="173208"/>
                  <a:pt x="1451990" y="184504"/>
                  <a:pt x="1459510" y="192035"/>
                </a:cubicBezTo>
                <a:cubicBezTo>
                  <a:pt x="1440711" y="192035"/>
                  <a:pt x="1436952" y="199566"/>
                  <a:pt x="1421913" y="207097"/>
                </a:cubicBezTo>
                <a:cubicBezTo>
                  <a:pt x="1429432" y="210862"/>
                  <a:pt x="1440711" y="207097"/>
                  <a:pt x="1451990" y="207097"/>
                </a:cubicBezTo>
                <a:cubicBezTo>
                  <a:pt x="1451990" y="207097"/>
                  <a:pt x="1451990" y="207097"/>
                  <a:pt x="1451990" y="210862"/>
                </a:cubicBezTo>
                <a:cubicBezTo>
                  <a:pt x="1474549" y="214628"/>
                  <a:pt x="1485828" y="210862"/>
                  <a:pt x="1512146" y="210862"/>
                </a:cubicBezTo>
                <a:cubicBezTo>
                  <a:pt x="1512146" y="210862"/>
                  <a:pt x="1512146" y="210862"/>
                  <a:pt x="1512146" y="214628"/>
                </a:cubicBezTo>
                <a:cubicBezTo>
                  <a:pt x="1512146" y="214628"/>
                  <a:pt x="1512146" y="214628"/>
                  <a:pt x="1534705" y="214628"/>
                </a:cubicBezTo>
                <a:cubicBezTo>
                  <a:pt x="1534705" y="210862"/>
                  <a:pt x="1538464" y="210862"/>
                  <a:pt x="1538464" y="210862"/>
                </a:cubicBezTo>
                <a:cubicBezTo>
                  <a:pt x="1534705" y="214628"/>
                  <a:pt x="1530945" y="218393"/>
                  <a:pt x="1538464" y="218393"/>
                </a:cubicBezTo>
                <a:cubicBezTo>
                  <a:pt x="1530945" y="222158"/>
                  <a:pt x="1523426" y="222158"/>
                  <a:pt x="1515906" y="225924"/>
                </a:cubicBezTo>
                <a:cubicBezTo>
                  <a:pt x="1523426" y="229689"/>
                  <a:pt x="1538464" y="225924"/>
                  <a:pt x="1549744" y="229689"/>
                </a:cubicBezTo>
                <a:cubicBezTo>
                  <a:pt x="1549744" y="229689"/>
                  <a:pt x="1549744" y="233455"/>
                  <a:pt x="1542224" y="237220"/>
                </a:cubicBezTo>
                <a:cubicBezTo>
                  <a:pt x="1609900" y="252282"/>
                  <a:pt x="1651257" y="222158"/>
                  <a:pt x="1722692" y="225924"/>
                </a:cubicBezTo>
                <a:cubicBezTo>
                  <a:pt x="1730211" y="222158"/>
                  <a:pt x="1745250" y="214628"/>
                  <a:pt x="1764049" y="218393"/>
                </a:cubicBezTo>
                <a:cubicBezTo>
                  <a:pt x="1767809" y="225924"/>
                  <a:pt x="1790367" y="218393"/>
                  <a:pt x="1801646" y="218393"/>
                </a:cubicBezTo>
                <a:cubicBezTo>
                  <a:pt x="1801646" y="218393"/>
                  <a:pt x="1801646" y="218393"/>
                  <a:pt x="1809166" y="214628"/>
                </a:cubicBezTo>
                <a:cubicBezTo>
                  <a:pt x="1846763" y="225924"/>
                  <a:pt x="1899399" y="214628"/>
                  <a:pt x="1940757" y="214628"/>
                </a:cubicBezTo>
                <a:cubicBezTo>
                  <a:pt x="1985873" y="188270"/>
                  <a:pt x="2030990" y="225924"/>
                  <a:pt x="2083627" y="203331"/>
                </a:cubicBezTo>
                <a:cubicBezTo>
                  <a:pt x="2091146" y="207097"/>
                  <a:pt x="2109945" y="203331"/>
                  <a:pt x="2124984" y="203331"/>
                </a:cubicBezTo>
                <a:cubicBezTo>
                  <a:pt x="2124984" y="203331"/>
                  <a:pt x="2124984" y="203331"/>
                  <a:pt x="2128744" y="199566"/>
                </a:cubicBezTo>
                <a:cubicBezTo>
                  <a:pt x="2128744" y="199566"/>
                  <a:pt x="2128744" y="199566"/>
                  <a:pt x="2117464" y="195801"/>
                </a:cubicBezTo>
                <a:cubicBezTo>
                  <a:pt x="2124984" y="195801"/>
                  <a:pt x="2128744" y="195801"/>
                  <a:pt x="2128744" y="192035"/>
                </a:cubicBezTo>
                <a:cubicBezTo>
                  <a:pt x="2128744" y="192035"/>
                  <a:pt x="2128744" y="192035"/>
                  <a:pt x="2121224" y="188270"/>
                </a:cubicBezTo>
                <a:cubicBezTo>
                  <a:pt x="2143782" y="195801"/>
                  <a:pt x="2170101" y="176974"/>
                  <a:pt x="2192659" y="184504"/>
                </a:cubicBezTo>
                <a:cubicBezTo>
                  <a:pt x="2196419" y="188270"/>
                  <a:pt x="2185140" y="195801"/>
                  <a:pt x="2196419" y="199566"/>
                </a:cubicBezTo>
                <a:cubicBezTo>
                  <a:pt x="2203938" y="199566"/>
                  <a:pt x="2207698" y="199566"/>
                  <a:pt x="2215218" y="195801"/>
                </a:cubicBezTo>
                <a:cubicBezTo>
                  <a:pt x="2215218" y="195801"/>
                  <a:pt x="2215218" y="195801"/>
                  <a:pt x="2203938" y="188270"/>
                </a:cubicBezTo>
                <a:cubicBezTo>
                  <a:pt x="2218977" y="184504"/>
                  <a:pt x="2245295" y="192035"/>
                  <a:pt x="2271614" y="188270"/>
                </a:cubicBezTo>
                <a:cubicBezTo>
                  <a:pt x="2309211" y="188270"/>
                  <a:pt x="2354328" y="176974"/>
                  <a:pt x="2395685" y="184504"/>
                </a:cubicBezTo>
                <a:cubicBezTo>
                  <a:pt x="2391925" y="180739"/>
                  <a:pt x="2406964" y="169443"/>
                  <a:pt x="2422003" y="169443"/>
                </a:cubicBezTo>
                <a:cubicBezTo>
                  <a:pt x="2478399" y="176974"/>
                  <a:pt x="2534795" y="150616"/>
                  <a:pt x="2564873" y="180739"/>
                </a:cubicBezTo>
                <a:cubicBezTo>
                  <a:pt x="2628789" y="180739"/>
                  <a:pt x="2673906" y="184504"/>
                  <a:pt x="2737821" y="176974"/>
                </a:cubicBezTo>
                <a:cubicBezTo>
                  <a:pt x="2737821" y="176974"/>
                  <a:pt x="2737821" y="176974"/>
                  <a:pt x="2737821" y="169443"/>
                </a:cubicBezTo>
                <a:cubicBezTo>
                  <a:pt x="2756620" y="173208"/>
                  <a:pt x="2775419" y="173208"/>
                  <a:pt x="2794217" y="176974"/>
                </a:cubicBezTo>
                <a:cubicBezTo>
                  <a:pt x="2794217" y="176974"/>
                  <a:pt x="2794217" y="176974"/>
                  <a:pt x="2805496" y="169443"/>
                </a:cubicBezTo>
                <a:cubicBezTo>
                  <a:pt x="3076198" y="161912"/>
                  <a:pt x="3290503" y="158147"/>
                  <a:pt x="3568723" y="165678"/>
                </a:cubicBezTo>
                <a:cubicBezTo>
                  <a:pt x="3568723" y="165678"/>
                  <a:pt x="3568723" y="165678"/>
                  <a:pt x="3673996" y="158147"/>
                </a:cubicBezTo>
                <a:cubicBezTo>
                  <a:pt x="3673996" y="169443"/>
                  <a:pt x="3707834" y="158147"/>
                  <a:pt x="3719113" y="161912"/>
                </a:cubicBezTo>
                <a:cubicBezTo>
                  <a:pt x="3786788" y="154381"/>
                  <a:pt x="3828145" y="176974"/>
                  <a:pt x="3880782" y="150616"/>
                </a:cubicBezTo>
                <a:cubicBezTo>
                  <a:pt x="3880782" y="150616"/>
                  <a:pt x="3880782" y="150616"/>
                  <a:pt x="3869503" y="161912"/>
                </a:cubicBezTo>
                <a:cubicBezTo>
                  <a:pt x="3884541" y="169443"/>
                  <a:pt x="3914619" y="158147"/>
                  <a:pt x="3922139" y="169443"/>
                </a:cubicBezTo>
                <a:cubicBezTo>
                  <a:pt x="3959736" y="154381"/>
                  <a:pt x="4001093" y="169443"/>
                  <a:pt x="4046210" y="165678"/>
                </a:cubicBezTo>
                <a:cubicBezTo>
                  <a:pt x="4046210" y="165678"/>
                  <a:pt x="4046210" y="165678"/>
                  <a:pt x="4083807" y="165678"/>
                </a:cubicBezTo>
                <a:cubicBezTo>
                  <a:pt x="4083807" y="165678"/>
                  <a:pt x="4083807" y="165678"/>
                  <a:pt x="4083807" y="169443"/>
                </a:cubicBezTo>
                <a:cubicBezTo>
                  <a:pt x="4102606" y="176974"/>
                  <a:pt x="4162762" y="165678"/>
                  <a:pt x="4181561" y="173208"/>
                </a:cubicBezTo>
                <a:cubicBezTo>
                  <a:pt x="4211639" y="161912"/>
                  <a:pt x="4234197" y="184504"/>
                  <a:pt x="4264275" y="173208"/>
                </a:cubicBezTo>
                <a:cubicBezTo>
                  <a:pt x="4275554" y="184504"/>
                  <a:pt x="4298113" y="176974"/>
                  <a:pt x="4316911" y="184504"/>
                </a:cubicBezTo>
                <a:cubicBezTo>
                  <a:pt x="4350749" y="184504"/>
                  <a:pt x="4399626" y="195801"/>
                  <a:pt x="4440983" y="184504"/>
                </a:cubicBezTo>
                <a:cubicBezTo>
                  <a:pt x="4433463" y="184504"/>
                  <a:pt x="4433463" y="188270"/>
                  <a:pt x="4433463" y="192035"/>
                </a:cubicBezTo>
                <a:cubicBezTo>
                  <a:pt x="4467301" y="195801"/>
                  <a:pt x="4493619" y="192035"/>
                  <a:pt x="4512418" y="199566"/>
                </a:cubicBezTo>
                <a:cubicBezTo>
                  <a:pt x="4508658" y="214628"/>
                  <a:pt x="4534976" y="203331"/>
                  <a:pt x="4550015" y="203331"/>
                </a:cubicBezTo>
                <a:cubicBezTo>
                  <a:pt x="4550015" y="203331"/>
                  <a:pt x="4550015" y="203331"/>
                  <a:pt x="4557535" y="199566"/>
                </a:cubicBezTo>
                <a:cubicBezTo>
                  <a:pt x="4550015" y="210862"/>
                  <a:pt x="4595132" y="199566"/>
                  <a:pt x="4568814" y="207097"/>
                </a:cubicBezTo>
                <a:cubicBezTo>
                  <a:pt x="4583853" y="225924"/>
                  <a:pt x="4640249" y="210862"/>
                  <a:pt x="4644009" y="233455"/>
                </a:cubicBezTo>
                <a:cubicBezTo>
                  <a:pt x="4700405" y="218393"/>
                  <a:pt x="4722963" y="248516"/>
                  <a:pt x="4775599" y="237220"/>
                </a:cubicBezTo>
                <a:cubicBezTo>
                  <a:pt x="4794399" y="214628"/>
                  <a:pt x="4790639" y="214628"/>
                  <a:pt x="4828236" y="199566"/>
                </a:cubicBezTo>
                <a:cubicBezTo>
                  <a:pt x="4816957" y="192035"/>
                  <a:pt x="4771840" y="207097"/>
                  <a:pt x="4783119" y="188270"/>
                </a:cubicBezTo>
                <a:cubicBezTo>
                  <a:pt x="4801918" y="192035"/>
                  <a:pt x="4835755" y="173208"/>
                  <a:pt x="4828236" y="195801"/>
                </a:cubicBezTo>
                <a:cubicBezTo>
                  <a:pt x="4835755" y="188270"/>
                  <a:pt x="4854554" y="188270"/>
                  <a:pt x="4850795" y="180739"/>
                </a:cubicBezTo>
                <a:cubicBezTo>
                  <a:pt x="4824476" y="173208"/>
                  <a:pt x="4847035" y="143085"/>
                  <a:pt x="4794399" y="150616"/>
                </a:cubicBezTo>
                <a:cubicBezTo>
                  <a:pt x="4794399" y="150616"/>
                  <a:pt x="4794399" y="150616"/>
                  <a:pt x="4813197" y="143085"/>
                </a:cubicBezTo>
                <a:cubicBezTo>
                  <a:pt x="4805677" y="128024"/>
                  <a:pt x="4764321" y="139320"/>
                  <a:pt x="4738002" y="135554"/>
                </a:cubicBezTo>
                <a:cubicBezTo>
                  <a:pt x="4722963" y="146851"/>
                  <a:pt x="4696645" y="131789"/>
                  <a:pt x="4677847" y="139320"/>
                </a:cubicBezTo>
                <a:cubicBezTo>
                  <a:pt x="4689125" y="128024"/>
                  <a:pt x="4659047" y="124258"/>
                  <a:pt x="4644009" y="116727"/>
                </a:cubicBezTo>
                <a:cubicBezTo>
                  <a:pt x="4591373" y="128024"/>
                  <a:pt x="4565054" y="105431"/>
                  <a:pt x="4516177" y="109197"/>
                </a:cubicBezTo>
                <a:cubicBezTo>
                  <a:pt x="4508658" y="101666"/>
                  <a:pt x="4452262" y="112962"/>
                  <a:pt x="4444743" y="90370"/>
                </a:cubicBezTo>
                <a:cubicBezTo>
                  <a:pt x="4418425" y="90370"/>
                  <a:pt x="4403385" y="90370"/>
                  <a:pt x="4380827" y="82839"/>
                </a:cubicBezTo>
                <a:cubicBezTo>
                  <a:pt x="4380827" y="82839"/>
                  <a:pt x="4380827" y="82839"/>
                  <a:pt x="4365788" y="90370"/>
                </a:cubicBezTo>
                <a:cubicBezTo>
                  <a:pt x="4365788" y="90370"/>
                  <a:pt x="4362028" y="86604"/>
                  <a:pt x="4354509" y="86604"/>
                </a:cubicBezTo>
                <a:cubicBezTo>
                  <a:pt x="4346989" y="86604"/>
                  <a:pt x="4343229" y="79073"/>
                  <a:pt x="4331951" y="82839"/>
                </a:cubicBezTo>
                <a:cubicBezTo>
                  <a:pt x="4331951" y="82839"/>
                  <a:pt x="4331951" y="82839"/>
                  <a:pt x="4335710" y="67777"/>
                </a:cubicBezTo>
                <a:cubicBezTo>
                  <a:pt x="4380827" y="71543"/>
                  <a:pt x="4429703" y="75308"/>
                  <a:pt x="4474821" y="79073"/>
                </a:cubicBezTo>
                <a:cubicBezTo>
                  <a:pt x="4474821" y="101666"/>
                  <a:pt x="4531217" y="86604"/>
                  <a:pt x="4561295" y="90370"/>
                </a:cubicBezTo>
                <a:cubicBezTo>
                  <a:pt x="4602651" y="97900"/>
                  <a:pt x="4655288" y="82839"/>
                  <a:pt x="4681606" y="94135"/>
                </a:cubicBezTo>
                <a:cubicBezTo>
                  <a:pt x="4681606" y="94135"/>
                  <a:pt x="4681606" y="94135"/>
                  <a:pt x="4685366" y="97900"/>
                </a:cubicBezTo>
                <a:cubicBezTo>
                  <a:pt x="4719203" y="101666"/>
                  <a:pt x="4749281" y="120493"/>
                  <a:pt x="4801918" y="109197"/>
                </a:cubicBezTo>
                <a:cubicBezTo>
                  <a:pt x="4801918" y="109197"/>
                  <a:pt x="4801918" y="109197"/>
                  <a:pt x="4809437" y="112962"/>
                </a:cubicBezTo>
                <a:cubicBezTo>
                  <a:pt x="4809437" y="112962"/>
                  <a:pt x="4809437" y="112962"/>
                  <a:pt x="4824476" y="105431"/>
                </a:cubicBezTo>
                <a:cubicBezTo>
                  <a:pt x="4824476" y="105431"/>
                  <a:pt x="4824476" y="105431"/>
                  <a:pt x="4828236" y="109197"/>
                </a:cubicBezTo>
                <a:cubicBezTo>
                  <a:pt x="4824476" y="112962"/>
                  <a:pt x="4801918" y="116727"/>
                  <a:pt x="4805677" y="124258"/>
                </a:cubicBezTo>
                <a:cubicBezTo>
                  <a:pt x="4839515" y="128024"/>
                  <a:pt x="4865833" y="128024"/>
                  <a:pt x="4903431" y="124258"/>
                </a:cubicBezTo>
                <a:cubicBezTo>
                  <a:pt x="4888392" y="131789"/>
                  <a:pt x="4899671" y="150616"/>
                  <a:pt x="4925989" y="143085"/>
                </a:cubicBezTo>
                <a:cubicBezTo>
                  <a:pt x="4925989" y="143085"/>
                  <a:pt x="4925989" y="143085"/>
                  <a:pt x="4941028" y="143085"/>
                </a:cubicBezTo>
                <a:cubicBezTo>
                  <a:pt x="4971106" y="120493"/>
                  <a:pt x="4914710" y="128024"/>
                  <a:pt x="4922229" y="109197"/>
                </a:cubicBezTo>
                <a:cubicBezTo>
                  <a:pt x="4933509" y="105431"/>
                  <a:pt x="4948547" y="105431"/>
                  <a:pt x="4956067" y="97900"/>
                </a:cubicBezTo>
                <a:cubicBezTo>
                  <a:pt x="4956067" y="97900"/>
                  <a:pt x="4956067" y="97900"/>
                  <a:pt x="4959827" y="94135"/>
                </a:cubicBezTo>
                <a:cubicBezTo>
                  <a:pt x="4952307" y="86604"/>
                  <a:pt x="4937269" y="97900"/>
                  <a:pt x="4922229" y="97900"/>
                </a:cubicBezTo>
                <a:cubicBezTo>
                  <a:pt x="4922229" y="90370"/>
                  <a:pt x="4914710" y="86604"/>
                  <a:pt x="4903431" y="86604"/>
                </a:cubicBezTo>
                <a:cubicBezTo>
                  <a:pt x="4910950" y="82839"/>
                  <a:pt x="4922229" y="79073"/>
                  <a:pt x="4933509" y="75308"/>
                </a:cubicBezTo>
                <a:cubicBezTo>
                  <a:pt x="4937269" y="75308"/>
                  <a:pt x="4933509" y="71543"/>
                  <a:pt x="4929749" y="71543"/>
                </a:cubicBezTo>
                <a:cubicBezTo>
                  <a:pt x="4989905" y="67777"/>
                  <a:pt x="5004943" y="97900"/>
                  <a:pt x="5068859" y="79073"/>
                </a:cubicBezTo>
                <a:cubicBezTo>
                  <a:pt x="5068859" y="79073"/>
                  <a:pt x="5068859" y="79073"/>
                  <a:pt x="5061339" y="75308"/>
                </a:cubicBezTo>
                <a:cubicBezTo>
                  <a:pt x="5068859" y="75308"/>
                  <a:pt x="5117736" y="79073"/>
                  <a:pt x="5132775" y="75308"/>
                </a:cubicBezTo>
                <a:cubicBezTo>
                  <a:pt x="5132775" y="75308"/>
                  <a:pt x="5132775" y="75308"/>
                  <a:pt x="5136535" y="71543"/>
                </a:cubicBezTo>
                <a:cubicBezTo>
                  <a:pt x="5125255" y="67777"/>
                  <a:pt x="5102697" y="71543"/>
                  <a:pt x="5087658" y="71543"/>
                </a:cubicBezTo>
                <a:cubicBezTo>
                  <a:pt x="5125255" y="60247"/>
                  <a:pt x="5147813" y="60247"/>
                  <a:pt x="5189171" y="52716"/>
                </a:cubicBezTo>
                <a:cubicBezTo>
                  <a:pt x="5189171" y="52716"/>
                  <a:pt x="5189171" y="52716"/>
                  <a:pt x="5095177" y="101666"/>
                </a:cubicBezTo>
                <a:cubicBezTo>
                  <a:pt x="5129015" y="112962"/>
                  <a:pt x="5083898" y="120493"/>
                  <a:pt x="5065099" y="131789"/>
                </a:cubicBezTo>
                <a:cubicBezTo>
                  <a:pt x="5042541" y="150616"/>
                  <a:pt x="4997424" y="135554"/>
                  <a:pt x="4971106" y="161912"/>
                </a:cubicBezTo>
                <a:cubicBezTo>
                  <a:pt x="5001184" y="158147"/>
                  <a:pt x="5004943" y="158147"/>
                  <a:pt x="5035021" y="165678"/>
                </a:cubicBezTo>
                <a:cubicBezTo>
                  <a:pt x="5035021" y="165678"/>
                  <a:pt x="5035021" y="165678"/>
                  <a:pt x="5023743" y="184504"/>
                </a:cubicBezTo>
                <a:cubicBezTo>
                  <a:pt x="4971106" y="207097"/>
                  <a:pt x="4910950" y="237220"/>
                  <a:pt x="4869593" y="263578"/>
                </a:cubicBezTo>
                <a:cubicBezTo>
                  <a:pt x="4873353" y="267343"/>
                  <a:pt x="4880873" y="267343"/>
                  <a:pt x="4884632" y="267343"/>
                </a:cubicBezTo>
                <a:cubicBezTo>
                  <a:pt x="4843275" y="278639"/>
                  <a:pt x="4839515" y="304997"/>
                  <a:pt x="4798158" y="312528"/>
                </a:cubicBezTo>
                <a:cubicBezTo>
                  <a:pt x="4801918" y="316293"/>
                  <a:pt x="4801918" y="320059"/>
                  <a:pt x="4809437" y="316293"/>
                </a:cubicBezTo>
                <a:cubicBezTo>
                  <a:pt x="4813197" y="327589"/>
                  <a:pt x="4790639" y="320059"/>
                  <a:pt x="4783119" y="327589"/>
                </a:cubicBezTo>
                <a:cubicBezTo>
                  <a:pt x="4783119" y="320059"/>
                  <a:pt x="4798158" y="308762"/>
                  <a:pt x="4783119" y="304997"/>
                </a:cubicBezTo>
                <a:cubicBezTo>
                  <a:pt x="4760561" y="312528"/>
                  <a:pt x="4756801" y="327589"/>
                  <a:pt x="4760561" y="335120"/>
                </a:cubicBezTo>
                <a:cubicBezTo>
                  <a:pt x="4768080" y="346416"/>
                  <a:pt x="4783119" y="346416"/>
                  <a:pt x="4801918" y="342651"/>
                </a:cubicBezTo>
                <a:cubicBezTo>
                  <a:pt x="4798158" y="346416"/>
                  <a:pt x="4801918" y="346416"/>
                  <a:pt x="4801918" y="350182"/>
                </a:cubicBezTo>
                <a:cubicBezTo>
                  <a:pt x="4809437" y="350182"/>
                  <a:pt x="4816957" y="350182"/>
                  <a:pt x="4820717" y="346416"/>
                </a:cubicBezTo>
                <a:cubicBezTo>
                  <a:pt x="4820717" y="346416"/>
                  <a:pt x="4820717" y="346416"/>
                  <a:pt x="4816957" y="342651"/>
                </a:cubicBezTo>
                <a:cubicBezTo>
                  <a:pt x="4816957" y="342651"/>
                  <a:pt x="4816957" y="342651"/>
                  <a:pt x="4850795" y="342651"/>
                </a:cubicBezTo>
                <a:cubicBezTo>
                  <a:pt x="4862073" y="338886"/>
                  <a:pt x="4854554" y="335120"/>
                  <a:pt x="4850795" y="331355"/>
                </a:cubicBezTo>
                <a:cubicBezTo>
                  <a:pt x="4862073" y="327589"/>
                  <a:pt x="4892151" y="335120"/>
                  <a:pt x="4910950" y="323824"/>
                </a:cubicBezTo>
                <a:cubicBezTo>
                  <a:pt x="4877113" y="312528"/>
                  <a:pt x="4937269" y="304997"/>
                  <a:pt x="4918469" y="293701"/>
                </a:cubicBezTo>
                <a:cubicBezTo>
                  <a:pt x="4910950" y="293701"/>
                  <a:pt x="4937269" y="289935"/>
                  <a:pt x="4937269" y="278639"/>
                </a:cubicBezTo>
                <a:cubicBezTo>
                  <a:pt x="4937269" y="278639"/>
                  <a:pt x="4937269" y="278639"/>
                  <a:pt x="4941028" y="278639"/>
                </a:cubicBezTo>
                <a:cubicBezTo>
                  <a:pt x="4959827" y="263578"/>
                  <a:pt x="4989905" y="274874"/>
                  <a:pt x="4997424" y="256047"/>
                </a:cubicBezTo>
                <a:cubicBezTo>
                  <a:pt x="5050061" y="244751"/>
                  <a:pt x="4993665" y="271108"/>
                  <a:pt x="5042541" y="263578"/>
                </a:cubicBezTo>
                <a:cubicBezTo>
                  <a:pt x="5038781" y="271108"/>
                  <a:pt x="5027502" y="271108"/>
                  <a:pt x="5027502" y="278639"/>
                </a:cubicBezTo>
                <a:cubicBezTo>
                  <a:pt x="5027502" y="278639"/>
                  <a:pt x="5027502" y="278639"/>
                  <a:pt x="5061339" y="278639"/>
                </a:cubicBezTo>
                <a:cubicBezTo>
                  <a:pt x="5068859" y="301232"/>
                  <a:pt x="4986145" y="308762"/>
                  <a:pt x="5019983" y="323824"/>
                </a:cubicBezTo>
                <a:cubicBezTo>
                  <a:pt x="5019983" y="323824"/>
                  <a:pt x="5019983" y="323824"/>
                  <a:pt x="5012463" y="342651"/>
                </a:cubicBezTo>
                <a:cubicBezTo>
                  <a:pt x="4997424" y="346416"/>
                  <a:pt x="5004943" y="338886"/>
                  <a:pt x="5001184" y="335120"/>
                </a:cubicBezTo>
                <a:cubicBezTo>
                  <a:pt x="5001184" y="331355"/>
                  <a:pt x="5004943" y="327589"/>
                  <a:pt x="5001184" y="327589"/>
                </a:cubicBezTo>
                <a:cubicBezTo>
                  <a:pt x="4993665" y="327589"/>
                  <a:pt x="4982385" y="331355"/>
                  <a:pt x="4986145" y="335120"/>
                </a:cubicBezTo>
                <a:cubicBezTo>
                  <a:pt x="4986145" y="335120"/>
                  <a:pt x="4986145" y="335120"/>
                  <a:pt x="4978625" y="335120"/>
                </a:cubicBezTo>
                <a:cubicBezTo>
                  <a:pt x="4978625" y="335120"/>
                  <a:pt x="4978625" y="335120"/>
                  <a:pt x="4993665" y="301232"/>
                </a:cubicBezTo>
                <a:cubicBezTo>
                  <a:pt x="5001184" y="304997"/>
                  <a:pt x="5008703" y="301232"/>
                  <a:pt x="5008703" y="297466"/>
                </a:cubicBezTo>
                <a:cubicBezTo>
                  <a:pt x="5008703" y="297466"/>
                  <a:pt x="5008703" y="297466"/>
                  <a:pt x="5012463" y="286170"/>
                </a:cubicBezTo>
                <a:cubicBezTo>
                  <a:pt x="5019983" y="286170"/>
                  <a:pt x="5019983" y="286170"/>
                  <a:pt x="5027502" y="282405"/>
                </a:cubicBezTo>
                <a:cubicBezTo>
                  <a:pt x="5023743" y="271108"/>
                  <a:pt x="4989905" y="274874"/>
                  <a:pt x="4982385" y="286170"/>
                </a:cubicBezTo>
                <a:cubicBezTo>
                  <a:pt x="4963587" y="308762"/>
                  <a:pt x="4925989" y="335120"/>
                  <a:pt x="4888392" y="353947"/>
                </a:cubicBezTo>
                <a:cubicBezTo>
                  <a:pt x="4888392" y="353947"/>
                  <a:pt x="4888392" y="353947"/>
                  <a:pt x="4884632" y="365243"/>
                </a:cubicBezTo>
                <a:cubicBezTo>
                  <a:pt x="4877113" y="365243"/>
                  <a:pt x="4873353" y="365243"/>
                  <a:pt x="4869593" y="369009"/>
                </a:cubicBezTo>
                <a:cubicBezTo>
                  <a:pt x="4865833" y="376539"/>
                  <a:pt x="4880873" y="372774"/>
                  <a:pt x="4880873" y="380305"/>
                </a:cubicBezTo>
                <a:cubicBezTo>
                  <a:pt x="4877113" y="384070"/>
                  <a:pt x="4865833" y="384070"/>
                  <a:pt x="4865833" y="387836"/>
                </a:cubicBezTo>
                <a:cubicBezTo>
                  <a:pt x="4880873" y="395366"/>
                  <a:pt x="4888392" y="380305"/>
                  <a:pt x="4903431" y="391601"/>
                </a:cubicBezTo>
                <a:cubicBezTo>
                  <a:pt x="4910950" y="391601"/>
                  <a:pt x="4918469" y="387836"/>
                  <a:pt x="4929749" y="384070"/>
                </a:cubicBezTo>
                <a:cubicBezTo>
                  <a:pt x="4925989" y="387836"/>
                  <a:pt x="4925989" y="391601"/>
                  <a:pt x="4918469" y="395366"/>
                </a:cubicBezTo>
                <a:cubicBezTo>
                  <a:pt x="4918469" y="395366"/>
                  <a:pt x="4918469" y="395366"/>
                  <a:pt x="4925989" y="399132"/>
                </a:cubicBezTo>
                <a:cubicBezTo>
                  <a:pt x="4925989" y="399132"/>
                  <a:pt x="4925989" y="399132"/>
                  <a:pt x="4971106" y="380305"/>
                </a:cubicBezTo>
                <a:cubicBezTo>
                  <a:pt x="4982385" y="395366"/>
                  <a:pt x="4941028" y="421724"/>
                  <a:pt x="4967347" y="429255"/>
                </a:cubicBezTo>
                <a:cubicBezTo>
                  <a:pt x="4989905" y="414193"/>
                  <a:pt x="4982385" y="406663"/>
                  <a:pt x="5001184" y="391601"/>
                </a:cubicBezTo>
                <a:cubicBezTo>
                  <a:pt x="5001184" y="391601"/>
                  <a:pt x="5001184" y="391601"/>
                  <a:pt x="5012463" y="391601"/>
                </a:cubicBezTo>
                <a:cubicBezTo>
                  <a:pt x="4989905" y="414193"/>
                  <a:pt x="4974865" y="448082"/>
                  <a:pt x="4974865" y="466909"/>
                </a:cubicBezTo>
                <a:cubicBezTo>
                  <a:pt x="4974865" y="466909"/>
                  <a:pt x="4974865" y="466909"/>
                  <a:pt x="4971106" y="466909"/>
                </a:cubicBezTo>
                <a:cubicBezTo>
                  <a:pt x="4971106" y="466909"/>
                  <a:pt x="4971106" y="466909"/>
                  <a:pt x="4963587" y="470674"/>
                </a:cubicBezTo>
                <a:cubicBezTo>
                  <a:pt x="4959827" y="466909"/>
                  <a:pt x="4956067" y="470674"/>
                  <a:pt x="4952307" y="470674"/>
                </a:cubicBezTo>
                <a:cubicBezTo>
                  <a:pt x="4944788" y="470674"/>
                  <a:pt x="4937269" y="474440"/>
                  <a:pt x="4929749" y="474440"/>
                </a:cubicBezTo>
                <a:cubicBezTo>
                  <a:pt x="4952307" y="470674"/>
                  <a:pt x="4952307" y="470674"/>
                  <a:pt x="4952307" y="470674"/>
                </a:cubicBezTo>
                <a:cubicBezTo>
                  <a:pt x="4952307" y="470674"/>
                  <a:pt x="4952307" y="470674"/>
                  <a:pt x="4963587" y="470674"/>
                </a:cubicBezTo>
                <a:cubicBezTo>
                  <a:pt x="4963587" y="470674"/>
                  <a:pt x="4963587" y="470674"/>
                  <a:pt x="4967347" y="470674"/>
                </a:cubicBezTo>
                <a:cubicBezTo>
                  <a:pt x="4967347" y="470674"/>
                  <a:pt x="4967347" y="470674"/>
                  <a:pt x="4944788" y="481970"/>
                </a:cubicBezTo>
                <a:cubicBezTo>
                  <a:pt x="4944788" y="485736"/>
                  <a:pt x="4952307" y="485736"/>
                  <a:pt x="4959827" y="485736"/>
                </a:cubicBezTo>
                <a:cubicBezTo>
                  <a:pt x="4959827" y="485736"/>
                  <a:pt x="4959827" y="485736"/>
                  <a:pt x="4974865" y="474440"/>
                </a:cubicBezTo>
                <a:cubicBezTo>
                  <a:pt x="4974865" y="474440"/>
                  <a:pt x="4974865" y="474440"/>
                  <a:pt x="4978625" y="478205"/>
                </a:cubicBezTo>
                <a:cubicBezTo>
                  <a:pt x="4997424" y="470674"/>
                  <a:pt x="4974865" y="463144"/>
                  <a:pt x="4993665" y="455613"/>
                </a:cubicBezTo>
                <a:cubicBezTo>
                  <a:pt x="4993665" y="455613"/>
                  <a:pt x="4993665" y="455613"/>
                  <a:pt x="5004943" y="455613"/>
                </a:cubicBezTo>
                <a:cubicBezTo>
                  <a:pt x="5001184" y="474440"/>
                  <a:pt x="4997424" y="493267"/>
                  <a:pt x="5019983" y="497032"/>
                </a:cubicBezTo>
                <a:cubicBezTo>
                  <a:pt x="5042541" y="489501"/>
                  <a:pt x="5038781" y="478205"/>
                  <a:pt x="5046301" y="466909"/>
                </a:cubicBezTo>
                <a:cubicBezTo>
                  <a:pt x="5038781" y="463144"/>
                  <a:pt x="5038781" y="459378"/>
                  <a:pt x="5042541" y="451847"/>
                </a:cubicBezTo>
                <a:cubicBezTo>
                  <a:pt x="5053821" y="451847"/>
                  <a:pt x="5061339" y="455613"/>
                  <a:pt x="5065099" y="448082"/>
                </a:cubicBezTo>
                <a:cubicBezTo>
                  <a:pt x="5065099" y="448082"/>
                  <a:pt x="5065099" y="448082"/>
                  <a:pt x="5065099" y="474440"/>
                </a:cubicBezTo>
                <a:cubicBezTo>
                  <a:pt x="5065099" y="474440"/>
                  <a:pt x="5065099" y="474440"/>
                  <a:pt x="5080139" y="470674"/>
                </a:cubicBezTo>
                <a:cubicBezTo>
                  <a:pt x="5087658" y="478205"/>
                  <a:pt x="5091417" y="489501"/>
                  <a:pt x="5095177" y="497032"/>
                </a:cubicBezTo>
                <a:cubicBezTo>
                  <a:pt x="5087658" y="493267"/>
                  <a:pt x="5080139" y="493267"/>
                  <a:pt x="5072619" y="500797"/>
                </a:cubicBezTo>
                <a:cubicBezTo>
                  <a:pt x="5072619" y="500797"/>
                  <a:pt x="5072619" y="500797"/>
                  <a:pt x="5053821" y="493267"/>
                </a:cubicBezTo>
                <a:cubicBezTo>
                  <a:pt x="5042541" y="497032"/>
                  <a:pt x="5027502" y="497032"/>
                  <a:pt x="5019983" y="504563"/>
                </a:cubicBezTo>
                <a:cubicBezTo>
                  <a:pt x="5019983" y="504563"/>
                  <a:pt x="5019983" y="504563"/>
                  <a:pt x="5038781" y="504563"/>
                </a:cubicBezTo>
                <a:cubicBezTo>
                  <a:pt x="5038781" y="504563"/>
                  <a:pt x="5038781" y="504563"/>
                  <a:pt x="5035021" y="508328"/>
                </a:cubicBezTo>
                <a:cubicBezTo>
                  <a:pt x="5068859" y="504563"/>
                  <a:pt x="5083898" y="512094"/>
                  <a:pt x="5102697" y="508328"/>
                </a:cubicBezTo>
                <a:cubicBezTo>
                  <a:pt x="5106457" y="512094"/>
                  <a:pt x="5106457" y="512094"/>
                  <a:pt x="5110217" y="512094"/>
                </a:cubicBezTo>
                <a:cubicBezTo>
                  <a:pt x="5113976" y="512094"/>
                  <a:pt x="5113976" y="508328"/>
                  <a:pt x="5113976" y="508328"/>
                </a:cubicBezTo>
                <a:cubicBezTo>
                  <a:pt x="5117736" y="504563"/>
                  <a:pt x="5121495" y="504563"/>
                  <a:pt x="5125255" y="504563"/>
                </a:cubicBezTo>
                <a:cubicBezTo>
                  <a:pt x="5125255" y="500797"/>
                  <a:pt x="5121495" y="504563"/>
                  <a:pt x="5113976" y="504563"/>
                </a:cubicBezTo>
                <a:cubicBezTo>
                  <a:pt x="5113976" y="497032"/>
                  <a:pt x="5110217" y="493267"/>
                  <a:pt x="5117736" y="485736"/>
                </a:cubicBezTo>
                <a:cubicBezTo>
                  <a:pt x="5106457" y="474440"/>
                  <a:pt x="5098937" y="463144"/>
                  <a:pt x="5113976" y="444317"/>
                </a:cubicBezTo>
                <a:cubicBezTo>
                  <a:pt x="5140295" y="455613"/>
                  <a:pt x="5106457" y="497032"/>
                  <a:pt x="5159093" y="489501"/>
                </a:cubicBezTo>
                <a:cubicBezTo>
                  <a:pt x="5159093" y="489501"/>
                  <a:pt x="5159093" y="489501"/>
                  <a:pt x="5162853" y="485736"/>
                </a:cubicBezTo>
                <a:cubicBezTo>
                  <a:pt x="5162853" y="485736"/>
                  <a:pt x="5166613" y="489501"/>
                  <a:pt x="5170372" y="489501"/>
                </a:cubicBezTo>
                <a:cubicBezTo>
                  <a:pt x="5177891" y="497032"/>
                  <a:pt x="5181651" y="508328"/>
                  <a:pt x="5170372" y="519624"/>
                </a:cubicBezTo>
                <a:cubicBezTo>
                  <a:pt x="5170372" y="519624"/>
                  <a:pt x="5170372" y="519624"/>
                  <a:pt x="5162853" y="508328"/>
                </a:cubicBezTo>
                <a:cubicBezTo>
                  <a:pt x="5155333" y="519624"/>
                  <a:pt x="5132775" y="534686"/>
                  <a:pt x="5144054" y="549748"/>
                </a:cubicBezTo>
                <a:cubicBezTo>
                  <a:pt x="5136535" y="545982"/>
                  <a:pt x="5121495" y="557278"/>
                  <a:pt x="5110217" y="564809"/>
                </a:cubicBezTo>
                <a:cubicBezTo>
                  <a:pt x="5113976" y="579870"/>
                  <a:pt x="5113976" y="594932"/>
                  <a:pt x="5129015" y="606228"/>
                </a:cubicBezTo>
                <a:cubicBezTo>
                  <a:pt x="5129015" y="606228"/>
                  <a:pt x="5129015" y="606228"/>
                  <a:pt x="5159093" y="591167"/>
                </a:cubicBezTo>
                <a:cubicBezTo>
                  <a:pt x="5174132" y="602463"/>
                  <a:pt x="5129015" y="606228"/>
                  <a:pt x="5129015" y="617524"/>
                </a:cubicBezTo>
                <a:cubicBezTo>
                  <a:pt x="5129015" y="640117"/>
                  <a:pt x="5147813" y="662709"/>
                  <a:pt x="5136535" y="681536"/>
                </a:cubicBezTo>
                <a:cubicBezTo>
                  <a:pt x="5151573" y="685301"/>
                  <a:pt x="5147813" y="689067"/>
                  <a:pt x="5159093" y="692832"/>
                </a:cubicBezTo>
                <a:cubicBezTo>
                  <a:pt x="5159093" y="692832"/>
                  <a:pt x="5159093" y="692832"/>
                  <a:pt x="5207969" y="670240"/>
                </a:cubicBezTo>
                <a:cubicBezTo>
                  <a:pt x="5207969" y="670240"/>
                  <a:pt x="5207969" y="670240"/>
                  <a:pt x="5215489" y="674005"/>
                </a:cubicBezTo>
                <a:cubicBezTo>
                  <a:pt x="5215489" y="674005"/>
                  <a:pt x="5215489" y="674005"/>
                  <a:pt x="5223009" y="670240"/>
                </a:cubicBezTo>
                <a:cubicBezTo>
                  <a:pt x="5223009" y="681536"/>
                  <a:pt x="5230528" y="692832"/>
                  <a:pt x="5226769" y="704128"/>
                </a:cubicBezTo>
                <a:cubicBezTo>
                  <a:pt x="5200450" y="722955"/>
                  <a:pt x="5162853" y="730486"/>
                  <a:pt x="5129015" y="745548"/>
                </a:cubicBezTo>
                <a:cubicBezTo>
                  <a:pt x="5129015" y="745548"/>
                  <a:pt x="5129015" y="745548"/>
                  <a:pt x="5113976" y="745548"/>
                </a:cubicBezTo>
                <a:cubicBezTo>
                  <a:pt x="5113976" y="745548"/>
                  <a:pt x="5113976" y="745548"/>
                  <a:pt x="5117736" y="741782"/>
                </a:cubicBezTo>
                <a:cubicBezTo>
                  <a:pt x="5117736" y="734252"/>
                  <a:pt x="5102697" y="741782"/>
                  <a:pt x="5095177" y="741782"/>
                </a:cubicBezTo>
                <a:cubicBezTo>
                  <a:pt x="5095177" y="741782"/>
                  <a:pt x="5095177" y="741782"/>
                  <a:pt x="5038781" y="749313"/>
                </a:cubicBezTo>
                <a:cubicBezTo>
                  <a:pt x="5061339" y="756844"/>
                  <a:pt x="5102697" y="753079"/>
                  <a:pt x="5117736" y="756844"/>
                </a:cubicBezTo>
                <a:cubicBezTo>
                  <a:pt x="5087658" y="771905"/>
                  <a:pt x="5046301" y="756844"/>
                  <a:pt x="5016223" y="775671"/>
                </a:cubicBezTo>
                <a:cubicBezTo>
                  <a:pt x="5008703" y="760609"/>
                  <a:pt x="4959827" y="771905"/>
                  <a:pt x="4933509" y="768140"/>
                </a:cubicBezTo>
                <a:cubicBezTo>
                  <a:pt x="4918469" y="775671"/>
                  <a:pt x="4910950" y="786967"/>
                  <a:pt x="4892151" y="790732"/>
                </a:cubicBezTo>
                <a:cubicBezTo>
                  <a:pt x="4892151" y="790732"/>
                  <a:pt x="4892151" y="790732"/>
                  <a:pt x="4888392" y="786967"/>
                </a:cubicBezTo>
                <a:cubicBezTo>
                  <a:pt x="4873353" y="790732"/>
                  <a:pt x="4862073" y="805794"/>
                  <a:pt x="4869593" y="809559"/>
                </a:cubicBezTo>
                <a:cubicBezTo>
                  <a:pt x="4869593" y="809559"/>
                  <a:pt x="4869593" y="809559"/>
                  <a:pt x="4873353" y="813325"/>
                </a:cubicBezTo>
                <a:cubicBezTo>
                  <a:pt x="4858314" y="813325"/>
                  <a:pt x="4839515" y="813325"/>
                  <a:pt x="4831995" y="805794"/>
                </a:cubicBezTo>
                <a:cubicBezTo>
                  <a:pt x="4809437" y="809559"/>
                  <a:pt x="4786879" y="813325"/>
                  <a:pt x="4771840" y="820856"/>
                </a:cubicBezTo>
                <a:lnTo>
                  <a:pt x="4764275" y="817267"/>
                </a:lnTo>
                <a:lnTo>
                  <a:pt x="4765000" y="823531"/>
                </a:lnTo>
                <a:cubicBezTo>
                  <a:pt x="4766410" y="834357"/>
                  <a:pt x="4771109" y="842828"/>
                  <a:pt x="4797427" y="839063"/>
                </a:cubicBezTo>
                <a:cubicBezTo>
                  <a:pt x="4797427" y="839063"/>
                  <a:pt x="4797427" y="839063"/>
                  <a:pt x="4801187" y="835298"/>
                </a:cubicBezTo>
                <a:cubicBezTo>
                  <a:pt x="4801187" y="835298"/>
                  <a:pt x="4804947" y="839063"/>
                  <a:pt x="4808706" y="839063"/>
                </a:cubicBezTo>
                <a:cubicBezTo>
                  <a:pt x="4816225" y="846594"/>
                  <a:pt x="4819985" y="857890"/>
                  <a:pt x="4808706" y="869186"/>
                </a:cubicBezTo>
                <a:cubicBezTo>
                  <a:pt x="4808706" y="869186"/>
                  <a:pt x="4808706" y="869186"/>
                  <a:pt x="4801187" y="857890"/>
                </a:cubicBezTo>
                <a:cubicBezTo>
                  <a:pt x="4793667" y="869186"/>
                  <a:pt x="4771109" y="884248"/>
                  <a:pt x="4782388" y="899309"/>
                </a:cubicBezTo>
                <a:cubicBezTo>
                  <a:pt x="4774869" y="895544"/>
                  <a:pt x="4759829" y="906840"/>
                  <a:pt x="4748551" y="914371"/>
                </a:cubicBezTo>
                <a:cubicBezTo>
                  <a:pt x="4752310" y="929432"/>
                  <a:pt x="4752310" y="944494"/>
                  <a:pt x="4767349" y="955790"/>
                </a:cubicBezTo>
                <a:cubicBezTo>
                  <a:pt x="4767349" y="955790"/>
                  <a:pt x="4767349" y="955790"/>
                  <a:pt x="4797427" y="940729"/>
                </a:cubicBezTo>
                <a:cubicBezTo>
                  <a:pt x="4812466" y="952025"/>
                  <a:pt x="4767349" y="955790"/>
                  <a:pt x="4767349" y="967086"/>
                </a:cubicBezTo>
                <a:cubicBezTo>
                  <a:pt x="4767349" y="989679"/>
                  <a:pt x="4786147" y="1012271"/>
                  <a:pt x="4774869" y="1031098"/>
                </a:cubicBezTo>
                <a:cubicBezTo>
                  <a:pt x="4789907" y="1034863"/>
                  <a:pt x="4786147" y="1038629"/>
                  <a:pt x="4797427" y="1042394"/>
                </a:cubicBezTo>
                <a:cubicBezTo>
                  <a:pt x="4797427" y="1042394"/>
                  <a:pt x="4797427" y="1042394"/>
                  <a:pt x="4846303" y="1019802"/>
                </a:cubicBezTo>
                <a:cubicBezTo>
                  <a:pt x="4846303" y="1019802"/>
                  <a:pt x="4846303" y="1019802"/>
                  <a:pt x="4853823" y="1023567"/>
                </a:cubicBezTo>
                <a:cubicBezTo>
                  <a:pt x="4853823" y="1023567"/>
                  <a:pt x="4853823" y="1023567"/>
                  <a:pt x="4861343" y="1019802"/>
                </a:cubicBezTo>
                <a:cubicBezTo>
                  <a:pt x="4861343" y="1031098"/>
                  <a:pt x="4868862" y="1042394"/>
                  <a:pt x="4865103" y="1053690"/>
                </a:cubicBezTo>
                <a:cubicBezTo>
                  <a:pt x="4838784" y="1072517"/>
                  <a:pt x="4801187" y="1080048"/>
                  <a:pt x="4767349" y="1095110"/>
                </a:cubicBezTo>
                <a:cubicBezTo>
                  <a:pt x="4767349" y="1095110"/>
                  <a:pt x="4767349" y="1095110"/>
                  <a:pt x="4752310" y="1095110"/>
                </a:cubicBezTo>
                <a:cubicBezTo>
                  <a:pt x="4752310" y="1095110"/>
                  <a:pt x="4752310" y="1095110"/>
                  <a:pt x="4756070" y="1091344"/>
                </a:cubicBezTo>
                <a:cubicBezTo>
                  <a:pt x="4756070" y="1083814"/>
                  <a:pt x="4741031" y="1091344"/>
                  <a:pt x="4733511" y="1091344"/>
                </a:cubicBezTo>
                <a:cubicBezTo>
                  <a:pt x="4733511" y="1091344"/>
                  <a:pt x="4733511" y="1091344"/>
                  <a:pt x="4677115" y="1098875"/>
                </a:cubicBezTo>
                <a:cubicBezTo>
                  <a:pt x="4699673" y="1106406"/>
                  <a:pt x="4741031" y="1102641"/>
                  <a:pt x="4756070" y="1106406"/>
                </a:cubicBezTo>
                <a:cubicBezTo>
                  <a:pt x="4725992" y="1121467"/>
                  <a:pt x="4684635" y="1106406"/>
                  <a:pt x="4654557" y="1125233"/>
                </a:cubicBezTo>
                <a:cubicBezTo>
                  <a:pt x="4647037" y="1110171"/>
                  <a:pt x="4598161" y="1121467"/>
                  <a:pt x="4571843" y="1117702"/>
                </a:cubicBezTo>
                <a:cubicBezTo>
                  <a:pt x="4556803" y="1125233"/>
                  <a:pt x="4549284" y="1136529"/>
                  <a:pt x="4530485" y="1140294"/>
                </a:cubicBezTo>
                <a:cubicBezTo>
                  <a:pt x="4530485" y="1140294"/>
                  <a:pt x="4530485" y="1140294"/>
                  <a:pt x="4526726" y="1136529"/>
                </a:cubicBezTo>
                <a:cubicBezTo>
                  <a:pt x="4511687" y="1140294"/>
                  <a:pt x="4500407" y="1155356"/>
                  <a:pt x="4507927" y="1159121"/>
                </a:cubicBezTo>
                <a:cubicBezTo>
                  <a:pt x="4507927" y="1159121"/>
                  <a:pt x="4507927" y="1159121"/>
                  <a:pt x="4511687" y="1162887"/>
                </a:cubicBezTo>
                <a:cubicBezTo>
                  <a:pt x="4496648" y="1162887"/>
                  <a:pt x="4477849" y="1162887"/>
                  <a:pt x="4470329" y="1155356"/>
                </a:cubicBezTo>
                <a:cubicBezTo>
                  <a:pt x="4447771" y="1159121"/>
                  <a:pt x="4425213" y="1162887"/>
                  <a:pt x="4410174" y="1170418"/>
                </a:cubicBezTo>
                <a:cubicBezTo>
                  <a:pt x="4413933" y="1166652"/>
                  <a:pt x="4383855" y="1166652"/>
                  <a:pt x="4406414" y="1159121"/>
                </a:cubicBezTo>
                <a:cubicBezTo>
                  <a:pt x="4383855" y="1162887"/>
                  <a:pt x="4365057" y="1136529"/>
                  <a:pt x="4342499" y="1159121"/>
                </a:cubicBezTo>
                <a:cubicBezTo>
                  <a:pt x="4342499" y="1159121"/>
                  <a:pt x="4342499" y="1159121"/>
                  <a:pt x="4350018" y="1166652"/>
                </a:cubicBezTo>
                <a:cubicBezTo>
                  <a:pt x="4319940" y="1170418"/>
                  <a:pt x="4289862" y="1140294"/>
                  <a:pt x="4282343" y="1170418"/>
                </a:cubicBezTo>
                <a:cubicBezTo>
                  <a:pt x="4286103" y="1174183"/>
                  <a:pt x="4293622" y="1174183"/>
                  <a:pt x="4297381" y="1177948"/>
                </a:cubicBezTo>
                <a:cubicBezTo>
                  <a:pt x="4271063" y="1193010"/>
                  <a:pt x="4263544" y="1166652"/>
                  <a:pt x="4229707" y="1177948"/>
                </a:cubicBezTo>
                <a:cubicBezTo>
                  <a:pt x="4203388" y="1185479"/>
                  <a:pt x="4177070" y="1200541"/>
                  <a:pt x="4146992" y="1200541"/>
                </a:cubicBezTo>
                <a:cubicBezTo>
                  <a:pt x="4109395" y="1208071"/>
                  <a:pt x="4079317" y="1208071"/>
                  <a:pt x="4041719" y="1215602"/>
                </a:cubicBezTo>
                <a:cubicBezTo>
                  <a:pt x="3913888" y="1238195"/>
                  <a:pt x="3782297" y="1245725"/>
                  <a:pt x="3665745" y="1249491"/>
                </a:cubicBezTo>
                <a:cubicBezTo>
                  <a:pt x="3669505" y="1249491"/>
                  <a:pt x="3669505" y="1249491"/>
                  <a:pt x="3673265" y="1245725"/>
                </a:cubicBezTo>
                <a:cubicBezTo>
                  <a:pt x="3583031" y="1219368"/>
                  <a:pt x="3447681" y="1260787"/>
                  <a:pt x="3349927" y="1257022"/>
                </a:cubicBezTo>
                <a:cubicBezTo>
                  <a:pt x="3402564" y="1253256"/>
                  <a:pt x="3447681" y="1245725"/>
                  <a:pt x="3500317" y="1234429"/>
                </a:cubicBezTo>
                <a:cubicBezTo>
                  <a:pt x="3417603" y="1226898"/>
                  <a:pt x="3327369" y="1238195"/>
                  <a:pt x="3244655" y="1241960"/>
                </a:cubicBezTo>
                <a:cubicBezTo>
                  <a:pt x="3267213" y="1230664"/>
                  <a:pt x="3297291" y="1234429"/>
                  <a:pt x="3316090" y="1226898"/>
                </a:cubicBezTo>
                <a:cubicBezTo>
                  <a:pt x="3316090" y="1226898"/>
                  <a:pt x="3316090" y="1226898"/>
                  <a:pt x="3327369" y="1234429"/>
                </a:cubicBezTo>
                <a:cubicBezTo>
                  <a:pt x="3353687" y="1230664"/>
                  <a:pt x="3380005" y="1211837"/>
                  <a:pt x="3410083" y="1215602"/>
                </a:cubicBezTo>
                <a:cubicBezTo>
                  <a:pt x="3410083" y="1215602"/>
                  <a:pt x="3410083" y="1215602"/>
                  <a:pt x="3410083" y="1208071"/>
                </a:cubicBezTo>
                <a:cubicBezTo>
                  <a:pt x="3598070" y="1193010"/>
                  <a:pt x="3804856" y="1185479"/>
                  <a:pt x="3996603" y="1147825"/>
                </a:cubicBezTo>
                <a:cubicBezTo>
                  <a:pt x="4015401" y="1144060"/>
                  <a:pt x="4045479" y="1151591"/>
                  <a:pt x="4056759" y="1136529"/>
                </a:cubicBezTo>
                <a:cubicBezTo>
                  <a:pt x="4056759" y="1136529"/>
                  <a:pt x="4056759" y="1136529"/>
                  <a:pt x="4037960" y="1132764"/>
                </a:cubicBezTo>
                <a:cubicBezTo>
                  <a:pt x="4045479" y="1125233"/>
                  <a:pt x="4060518" y="1128998"/>
                  <a:pt x="4064278" y="1132764"/>
                </a:cubicBezTo>
                <a:cubicBezTo>
                  <a:pt x="4064278" y="1132764"/>
                  <a:pt x="4064278" y="1132764"/>
                  <a:pt x="4068037" y="1132764"/>
                </a:cubicBezTo>
                <a:cubicBezTo>
                  <a:pt x="4075557" y="1121467"/>
                  <a:pt x="4094356" y="1136529"/>
                  <a:pt x="4105635" y="1121467"/>
                </a:cubicBezTo>
                <a:cubicBezTo>
                  <a:pt x="4101875" y="1110171"/>
                  <a:pt x="4079317" y="1121467"/>
                  <a:pt x="4064278" y="1121467"/>
                </a:cubicBezTo>
                <a:cubicBezTo>
                  <a:pt x="4049239" y="1117702"/>
                  <a:pt x="4022921" y="1106406"/>
                  <a:pt x="3985323" y="1121467"/>
                </a:cubicBezTo>
                <a:cubicBezTo>
                  <a:pt x="3868771" y="1106406"/>
                  <a:pt x="3748460" y="1147825"/>
                  <a:pt x="3631908" y="1132764"/>
                </a:cubicBezTo>
                <a:cubicBezTo>
                  <a:pt x="3594311" y="1117702"/>
                  <a:pt x="3526635" y="1140294"/>
                  <a:pt x="3470239" y="1140294"/>
                </a:cubicBezTo>
                <a:cubicBezTo>
                  <a:pt x="3308570" y="1159121"/>
                  <a:pt x="3146901" y="1147825"/>
                  <a:pt x="2981473" y="1170418"/>
                </a:cubicBezTo>
                <a:cubicBezTo>
                  <a:pt x="2913798" y="1159121"/>
                  <a:pt x="2846123" y="1181714"/>
                  <a:pt x="2789726" y="1166652"/>
                </a:cubicBezTo>
                <a:cubicBezTo>
                  <a:pt x="2691973" y="1159121"/>
                  <a:pt x="2601740" y="1174183"/>
                  <a:pt x="2519025" y="1159121"/>
                </a:cubicBezTo>
                <a:cubicBezTo>
                  <a:pt x="2519025" y="1159121"/>
                  <a:pt x="2519025" y="1159121"/>
                  <a:pt x="2511506" y="1162887"/>
                </a:cubicBezTo>
                <a:cubicBezTo>
                  <a:pt x="2503986" y="1155356"/>
                  <a:pt x="2492707" y="1166652"/>
                  <a:pt x="2488947" y="1166652"/>
                </a:cubicBezTo>
                <a:cubicBezTo>
                  <a:pt x="2451350" y="1177948"/>
                  <a:pt x="2406233" y="1177948"/>
                  <a:pt x="2368636" y="1177948"/>
                </a:cubicBezTo>
                <a:cubicBezTo>
                  <a:pt x="2323519" y="1196775"/>
                  <a:pt x="2274642" y="1193010"/>
                  <a:pt x="2225766" y="1196775"/>
                </a:cubicBezTo>
                <a:cubicBezTo>
                  <a:pt x="2000181" y="1196775"/>
                  <a:pt x="1706922" y="1193010"/>
                  <a:pt x="1466298" y="1189245"/>
                </a:cubicBezTo>
                <a:cubicBezTo>
                  <a:pt x="1402383" y="1174183"/>
                  <a:pt x="1327188" y="1189245"/>
                  <a:pt x="1259513" y="1177948"/>
                </a:cubicBezTo>
                <a:cubicBezTo>
                  <a:pt x="1165519" y="1174183"/>
                  <a:pt x="1086565" y="1162887"/>
                  <a:pt x="992571" y="1162887"/>
                </a:cubicBezTo>
                <a:cubicBezTo>
                  <a:pt x="966253" y="1162887"/>
                  <a:pt x="917377" y="1162887"/>
                  <a:pt x="891058" y="1155356"/>
                </a:cubicBezTo>
                <a:lnTo>
                  <a:pt x="883995" y="1158893"/>
                </a:lnTo>
                <a:lnTo>
                  <a:pt x="876489" y="1158650"/>
                </a:lnTo>
                <a:cubicBezTo>
                  <a:pt x="861920" y="1158180"/>
                  <a:pt x="832782" y="1157239"/>
                  <a:pt x="774506" y="1155356"/>
                </a:cubicBezTo>
                <a:cubicBezTo>
                  <a:pt x="755708" y="1166652"/>
                  <a:pt x="733149" y="1155356"/>
                  <a:pt x="710591" y="1166652"/>
                </a:cubicBezTo>
                <a:cubicBezTo>
                  <a:pt x="661714" y="1162887"/>
                  <a:pt x="590279" y="1166652"/>
                  <a:pt x="530123" y="1166652"/>
                </a:cubicBezTo>
                <a:cubicBezTo>
                  <a:pt x="522604" y="1166652"/>
                  <a:pt x="522604" y="1174183"/>
                  <a:pt x="511325" y="1170418"/>
                </a:cubicBezTo>
                <a:cubicBezTo>
                  <a:pt x="511325" y="1170418"/>
                  <a:pt x="511325" y="1170418"/>
                  <a:pt x="507565" y="1170418"/>
                </a:cubicBezTo>
                <a:cubicBezTo>
                  <a:pt x="500046" y="1174183"/>
                  <a:pt x="496286" y="1177948"/>
                  <a:pt x="488766" y="1174183"/>
                </a:cubicBezTo>
                <a:cubicBezTo>
                  <a:pt x="469968" y="1170418"/>
                  <a:pt x="443649" y="1166652"/>
                  <a:pt x="424851" y="1170418"/>
                </a:cubicBezTo>
                <a:cubicBezTo>
                  <a:pt x="424851" y="1170418"/>
                  <a:pt x="424851" y="1170418"/>
                  <a:pt x="421091" y="1162887"/>
                </a:cubicBezTo>
                <a:cubicBezTo>
                  <a:pt x="413572" y="1166652"/>
                  <a:pt x="409812" y="1170418"/>
                  <a:pt x="398533" y="1170418"/>
                </a:cubicBezTo>
                <a:cubicBezTo>
                  <a:pt x="406052" y="1151591"/>
                  <a:pt x="368455" y="1166652"/>
                  <a:pt x="357175" y="1159121"/>
                </a:cubicBezTo>
                <a:cubicBezTo>
                  <a:pt x="349655" y="1162887"/>
                  <a:pt x="342136" y="1159121"/>
                  <a:pt x="334617" y="1162887"/>
                </a:cubicBezTo>
                <a:cubicBezTo>
                  <a:pt x="338376" y="1159121"/>
                  <a:pt x="334617" y="1159121"/>
                  <a:pt x="338376" y="1155356"/>
                </a:cubicBezTo>
                <a:cubicBezTo>
                  <a:pt x="323337" y="1155356"/>
                  <a:pt x="315818" y="1151591"/>
                  <a:pt x="300779" y="1155356"/>
                </a:cubicBezTo>
                <a:cubicBezTo>
                  <a:pt x="289500" y="1140294"/>
                  <a:pt x="263181" y="1140294"/>
                  <a:pt x="233104" y="1140294"/>
                </a:cubicBezTo>
                <a:cubicBezTo>
                  <a:pt x="266941" y="1136529"/>
                  <a:pt x="323337" y="1136529"/>
                  <a:pt x="353415" y="1125233"/>
                </a:cubicBezTo>
                <a:cubicBezTo>
                  <a:pt x="345896" y="1121467"/>
                  <a:pt x="330857" y="1125233"/>
                  <a:pt x="315818" y="1125233"/>
                </a:cubicBezTo>
                <a:cubicBezTo>
                  <a:pt x="312058" y="1117702"/>
                  <a:pt x="323337" y="1113937"/>
                  <a:pt x="327097" y="1110171"/>
                </a:cubicBezTo>
                <a:cubicBezTo>
                  <a:pt x="327097" y="1110171"/>
                  <a:pt x="327097" y="1110171"/>
                  <a:pt x="274461" y="1102641"/>
                </a:cubicBezTo>
                <a:cubicBezTo>
                  <a:pt x="297019" y="1102641"/>
                  <a:pt x="360935" y="1106406"/>
                  <a:pt x="387253" y="1095110"/>
                </a:cubicBezTo>
                <a:cubicBezTo>
                  <a:pt x="364695" y="1091344"/>
                  <a:pt x="349655" y="1095110"/>
                  <a:pt x="334617" y="1095110"/>
                </a:cubicBezTo>
                <a:cubicBezTo>
                  <a:pt x="338376" y="1087579"/>
                  <a:pt x="319578" y="1083814"/>
                  <a:pt x="312058" y="1083814"/>
                </a:cubicBezTo>
                <a:cubicBezTo>
                  <a:pt x="308298" y="1080048"/>
                  <a:pt x="353415" y="1083814"/>
                  <a:pt x="338376" y="1072517"/>
                </a:cubicBezTo>
                <a:cubicBezTo>
                  <a:pt x="360935" y="1068752"/>
                  <a:pt x="342136" y="1049925"/>
                  <a:pt x="372214" y="1046160"/>
                </a:cubicBezTo>
                <a:cubicBezTo>
                  <a:pt x="338376" y="1042394"/>
                  <a:pt x="323337" y="1080048"/>
                  <a:pt x="293259" y="1064987"/>
                </a:cubicBezTo>
                <a:cubicBezTo>
                  <a:pt x="281980" y="1057456"/>
                  <a:pt x="315818" y="1031098"/>
                  <a:pt x="281980" y="1034863"/>
                </a:cubicBezTo>
                <a:cubicBezTo>
                  <a:pt x="236863" y="1016037"/>
                  <a:pt x="334617" y="1012271"/>
                  <a:pt x="308298" y="985913"/>
                </a:cubicBezTo>
                <a:cubicBezTo>
                  <a:pt x="315818" y="982148"/>
                  <a:pt x="315818" y="978383"/>
                  <a:pt x="323337" y="978383"/>
                </a:cubicBezTo>
                <a:cubicBezTo>
                  <a:pt x="300779" y="978383"/>
                  <a:pt x="289500" y="963321"/>
                  <a:pt x="263181" y="970852"/>
                </a:cubicBezTo>
                <a:cubicBezTo>
                  <a:pt x="206785" y="948259"/>
                  <a:pt x="289500" y="940729"/>
                  <a:pt x="300779" y="918136"/>
                </a:cubicBezTo>
                <a:cubicBezTo>
                  <a:pt x="312058" y="918136"/>
                  <a:pt x="327097" y="918136"/>
                  <a:pt x="330857" y="914371"/>
                </a:cubicBezTo>
                <a:cubicBezTo>
                  <a:pt x="251902" y="880482"/>
                  <a:pt x="139110" y="872952"/>
                  <a:pt x="67675" y="831532"/>
                </a:cubicBezTo>
                <a:cubicBezTo>
                  <a:pt x="52636" y="827767"/>
                  <a:pt x="33837" y="824001"/>
                  <a:pt x="11279" y="824001"/>
                </a:cubicBezTo>
                <a:cubicBezTo>
                  <a:pt x="11279" y="824001"/>
                  <a:pt x="11279" y="824001"/>
                  <a:pt x="0" y="820236"/>
                </a:cubicBezTo>
                <a:cubicBezTo>
                  <a:pt x="0" y="820236"/>
                  <a:pt x="0" y="820236"/>
                  <a:pt x="30078" y="820236"/>
                </a:cubicBezTo>
                <a:cubicBezTo>
                  <a:pt x="26318" y="820236"/>
                  <a:pt x="33837" y="824001"/>
                  <a:pt x="33837" y="824001"/>
                </a:cubicBezTo>
                <a:cubicBezTo>
                  <a:pt x="41357" y="824001"/>
                  <a:pt x="41357" y="820236"/>
                  <a:pt x="45117" y="820236"/>
                </a:cubicBezTo>
                <a:cubicBezTo>
                  <a:pt x="45117" y="820236"/>
                  <a:pt x="45117" y="820236"/>
                  <a:pt x="45117" y="812705"/>
                </a:cubicBezTo>
                <a:cubicBezTo>
                  <a:pt x="101513" y="831532"/>
                  <a:pt x="161669" y="857890"/>
                  <a:pt x="236863" y="865421"/>
                </a:cubicBezTo>
                <a:cubicBezTo>
                  <a:pt x="236863" y="865421"/>
                  <a:pt x="236863" y="865421"/>
                  <a:pt x="240623" y="861655"/>
                </a:cubicBezTo>
                <a:cubicBezTo>
                  <a:pt x="236863" y="872952"/>
                  <a:pt x="251902" y="869186"/>
                  <a:pt x="259422" y="869186"/>
                </a:cubicBezTo>
                <a:cubicBezTo>
                  <a:pt x="259422" y="869186"/>
                  <a:pt x="259422" y="869186"/>
                  <a:pt x="270701" y="861655"/>
                </a:cubicBezTo>
                <a:cubicBezTo>
                  <a:pt x="270701" y="861655"/>
                  <a:pt x="270701" y="861655"/>
                  <a:pt x="274461" y="865421"/>
                </a:cubicBezTo>
                <a:cubicBezTo>
                  <a:pt x="274461" y="865421"/>
                  <a:pt x="274461" y="865421"/>
                  <a:pt x="278220" y="861655"/>
                </a:cubicBezTo>
                <a:cubicBezTo>
                  <a:pt x="274461" y="854125"/>
                  <a:pt x="251902" y="854125"/>
                  <a:pt x="233104" y="857890"/>
                </a:cubicBezTo>
                <a:cubicBezTo>
                  <a:pt x="233104" y="839063"/>
                  <a:pt x="270701" y="850359"/>
                  <a:pt x="278220" y="842828"/>
                </a:cubicBezTo>
                <a:cubicBezTo>
                  <a:pt x="278220" y="842828"/>
                  <a:pt x="278220" y="842828"/>
                  <a:pt x="293259" y="842828"/>
                </a:cubicBezTo>
                <a:cubicBezTo>
                  <a:pt x="297019" y="846594"/>
                  <a:pt x="281980" y="850359"/>
                  <a:pt x="278220" y="854125"/>
                </a:cubicBezTo>
                <a:cubicBezTo>
                  <a:pt x="289500" y="854125"/>
                  <a:pt x="300779" y="865421"/>
                  <a:pt x="312058" y="857890"/>
                </a:cubicBezTo>
                <a:cubicBezTo>
                  <a:pt x="297019" y="850359"/>
                  <a:pt x="315818" y="850359"/>
                  <a:pt x="312058" y="842828"/>
                </a:cubicBezTo>
                <a:cubicBezTo>
                  <a:pt x="312058" y="842828"/>
                  <a:pt x="312058" y="842828"/>
                  <a:pt x="308298" y="839063"/>
                </a:cubicBezTo>
                <a:cubicBezTo>
                  <a:pt x="308298" y="839063"/>
                  <a:pt x="308298" y="839063"/>
                  <a:pt x="304539" y="839063"/>
                </a:cubicBezTo>
                <a:cubicBezTo>
                  <a:pt x="308298" y="839063"/>
                  <a:pt x="308298" y="839063"/>
                  <a:pt x="308298" y="835298"/>
                </a:cubicBezTo>
                <a:cubicBezTo>
                  <a:pt x="308298" y="835298"/>
                  <a:pt x="308298" y="835298"/>
                  <a:pt x="297019" y="831532"/>
                </a:cubicBezTo>
                <a:cubicBezTo>
                  <a:pt x="289500" y="835298"/>
                  <a:pt x="278220" y="839063"/>
                  <a:pt x="270701" y="835298"/>
                </a:cubicBezTo>
                <a:cubicBezTo>
                  <a:pt x="274461" y="827767"/>
                  <a:pt x="300779" y="827767"/>
                  <a:pt x="312058" y="820236"/>
                </a:cubicBezTo>
                <a:cubicBezTo>
                  <a:pt x="312058" y="820236"/>
                  <a:pt x="312058" y="820236"/>
                  <a:pt x="308298" y="816471"/>
                </a:cubicBezTo>
                <a:cubicBezTo>
                  <a:pt x="319578" y="808940"/>
                  <a:pt x="383494" y="812705"/>
                  <a:pt x="353415" y="793878"/>
                </a:cubicBezTo>
                <a:cubicBezTo>
                  <a:pt x="349655" y="790113"/>
                  <a:pt x="342136" y="790113"/>
                  <a:pt x="334617" y="790113"/>
                </a:cubicBezTo>
                <a:cubicBezTo>
                  <a:pt x="304539" y="801409"/>
                  <a:pt x="270701" y="835298"/>
                  <a:pt x="233104" y="824001"/>
                </a:cubicBezTo>
                <a:cubicBezTo>
                  <a:pt x="210545" y="839063"/>
                  <a:pt x="191746" y="835298"/>
                  <a:pt x="161669" y="839063"/>
                </a:cubicBezTo>
                <a:cubicBezTo>
                  <a:pt x="161669" y="839063"/>
                  <a:pt x="161669" y="839063"/>
                  <a:pt x="184227" y="827767"/>
                </a:cubicBezTo>
                <a:cubicBezTo>
                  <a:pt x="184227" y="827767"/>
                  <a:pt x="184227" y="827767"/>
                  <a:pt x="176707" y="827767"/>
                </a:cubicBezTo>
                <a:cubicBezTo>
                  <a:pt x="199266" y="827767"/>
                  <a:pt x="214305" y="805175"/>
                  <a:pt x="251902" y="805175"/>
                </a:cubicBezTo>
                <a:cubicBezTo>
                  <a:pt x="259422" y="801409"/>
                  <a:pt x="259422" y="793878"/>
                  <a:pt x="274461" y="797644"/>
                </a:cubicBezTo>
                <a:cubicBezTo>
                  <a:pt x="274461" y="797644"/>
                  <a:pt x="274461" y="797644"/>
                  <a:pt x="281980" y="797644"/>
                </a:cubicBezTo>
                <a:cubicBezTo>
                  <a:pt x="281980" y="797644"/>
                  <a:pt x="281980" y="797644"/>
                  <a:pt x="297019" y="790113"/>
                </a:cubicBezTo>
                <a:cubicBezTo>
                  <a:pt x="297019" y="790113"/>
                  <a:pt x="297019" y="790113"/>
                  <a:pt x="293259" y="786348"/>
                </a:cubicBezTo>
                <a:cubicBezTo>
                  <a:pt x="281980" y="778817"/>
                  <a:pt x="372214" y="782582"/>
                  <a:pt x="327097" y="763755"/>
                </a:cubicBezTo>
                <a:cubicBezTo>
                  <a:pt x="300779" y="778817"/>
                  <a:pt x="255662" y="771286"/>
                  <a:pt x="236863" y="786348"/>
                </a:cubicBezTo>
                <a:cubicBezTo>
                  <a:pt x="236863" y="786348"/>
                  <a:pt x="236863" y="786348"/>
                  <a:pt x="199266" y="790113"/>
                </a:cubicBezTo>
                <a:cubicBezTo>
                  <a:pt x="244383" y="771286"/>
                  <a:pt x="330857" y="763755"/>
                  <a:pt x="330857" y="726101"/>
                </a:cubicBezTo>
                <a:cubicBezTo>
                  <a:pt x="345896" y="718570"/>
                  <a:pt x="353415" y="711040"/>
                  <a:pt x="357175" y="699743"/>
                </a:cubicBezTo>
                <a:cubicBezTo>
                  <a:pt x="360935" y="703509"/>
                  <a:pt x="360935" y="699743"/>
                  <a:pt x="364695" y="699743"/>
                </a:cubicBezTo>
                <a:cubicBezTo>
                  <a:pt x="364695" y="699743"/>
                  <a:pt x="364695" y="699743"/>
                  <a:pt x="364695" y="688447"/>
                </a:cubicBezTo>
                <a:cubicBezTo>
                  <a:pt x="387253" y="680917"/>
                  <a:pt x="398533" y="665855"/>
                  <a:pt x="402292" y="650793"/>
                </a:cubicBezTo>
                <a:cubicBezTo>
                  <a:pt x="439890" y="628201"/>
                  <a:pt x="417331" y="575486"/>
                  <a:pt x="511325" y="579251"/>
                </a:cubicBezTo>
                <a:cubicBezTo>
                  <a:pt x="526364" y="564190"/>
                  <a:pt x="537643" y="549128"/>
                  <a:pt x="551742" y="534537"/>
                </a:cubicBezTo>
                <a:lnTo>
                  <a:pt x="561872" y="527136"/>
                </a:lnTo>
                <a:lnTo>
                  <a:pt x="558113" y="526214"/>
                </a:lnTo>
                <a:cubicBezTo>
                  <a:pt x="511116" y="514918"/>
                  <a:pt x="465059" y="502680"/>
                  <a:pt x="429342" y="481970"/>
                </a:cubicBezTo>
                <a:cubicBezTo>
                  <a:pt x="414303" y="478205"/>
                  <a:pt x="395504" y="474440"/>
                  <a:pt x="372945" y="474440"/>
                </a:cubicBezTo>
                <a:cubicBezTo>
                  <a:pt x="372945" y="474440"/>
                  <a:pt x="372945" y="474440"/>
                  <a:pt x="361666" y="470674"/>
                </a:cubicBezTo>
                <a:cubicBezTo>
                  <a:pt x="361666" y="470674"/>
                  <a:pt x="361666" y="470674"/>
                  <a:pt x="391744" y="470674"/>
                </a:cubicBezTo>
                <a:cubicBezTo>
                  <a:pt x="387984" y="470674"/>
                  <a:pt x="395504" y="474440"/>
                  <a:pt x="395504" y="474440"/>
                </a:cubicBezTo>
                <a:cubicBezTo>
                  <a:pt x="403023" y="474440"/>
                  <a:pt x="403023" y="470674"/>
                  <a:pt x="406783" y="470674"/>
                </a:cubicBezTo>
                <a:cubicBezTo>
                  <a:pt x="406783" y="470674"/>
                  <a:pt x="406783" y="470674"/>
                  <a:pt x="406783" y="463144"/>
                </a:cubicBezTo>
                <a:cubicBezTo>
                  <a:pt x="434981" y="472557"/>
                  <a:pt x="464119" y="483853"/>
                  <a:pt x="495607" y="493737"/>
                </a:cubicBezTo>
                <a:lnTo>
                  <a:pt x="582131" y="512335"/>
                </a:lnTo>
                <a:lnTo>
                  <a:pt x="609078" y="492647"/>
                </a:lnTo>
                <a:cubicBezTo>
                  <a:pt x="610958" y="494530"/>
                  <a:pt x="614718" y="494530"/>
                  <a:pt x="618947" y="494530"/>
                </a:cubicBezTo>
                <a:lnTo>
                  <a:pt x="624178" y="495306"/>
                </a:lnTo>
                <a:lnTo>
                  <a:pt x="639060" y="493374"/>
                </a:lnTo>
                <a:lnTo>
                  <a:pt x="653196" y="487588"/>
                </a:lnTo>
                <a:lnTo>
                  <a:pt x="661962" y="483064"/>
                </a:lnTo>
                <a:lnTo>
                  <a:pt x="658686" y="481970"/>
                </a:lnTo>
                <a:cubicBezTo>
                  <a:pt x="651166" y="485736"/>
                  <a:pt x="639887" y="489501"/>
                  <a:pt x="632367" y="485736"/>
                </a:cubicBezTo>
                <a:cubicBezTo>
                  <a:pt x="636127" y="478205"/>
                  <a:pt x="662445" y="478205"/>
                  <a:pt x="673725" y="470674"/>
                </a:cubicBezTo>
                <a:cubicBezTo>
                  <a:pt x="673725" y="470674"/>
                  <a:pt x="673725" y="470674"/>
                  <a:pt x="669965" y="466909"/>
                </a:cubicBezTo>
                <a:cubicBezTo>
                  <a:pt x="681244" y="459378"/>
                  <a:pt x="745160" y="463144"/>
                  <a:pt x="715082" y="444317"/>
                </a:cubicBezTo>
                <a:cubicBezTo>
                  <a:pt x="711322" y="440551"/>
                  <a:pt x="703802" y="440551"/>
                  <a:pt x="696283" y="440551"/>
                </a:cubicBezTo>
                <a:cubicBezTo>
                  <a:pt x="666205" y="451847"/>
                  <a:pt x="632367" y="485736"/>
                  <a:pt x="594770" y="474440"/>
                </a:cubicBezTo>
                <a:cubicBezTo>
                  <a:pt x="572212" y="489501"/>
                  <a:pt x="553413" y="485736"/>
                  <a:pt x="523335" y="489501"/>
                </a:cubicBezTo>
                <a:cubicBezTo>
                  <a:pt x="523335" y="489501"/>
                  <a:pt x="523335" y="489501"/>
                  <a:pt x="545893" y="478205"/>
                </a:cubicBezTo>
                <a:cubicBezTo>
                  <a:pt x="545893" y="478205"/>
                  <a:pt x="545893" y="478205"/>
                  <a:pt x="538374" y="478205"/>
                </a:cubicBezTo>
                <a:cubicBezTo>
                  <a:pt x="560932" y="478205"/>
                  <a:pt x="575971" y="455613"/>
                  <a:pt x="613569" y="455613"/>
                </a:cubicBezTo>
                <a:cubicBezTo>
                  <a:pt x="621088" y="451847"/>
                  <a:pt x="621088" y="444317"/>
                  <a:pt x="636127" y="448082"/>
                </a:cubicBezTo>
                <a:cubicBezTo>
                  <a:pt x="636127" y="448082"/>
                  <a:pt x="636127" y="448082"/>
                  <a:pt x="643647" y="448082"/>
                </a:cubicBezTo>
                <a:cubicBezTo>
                  <a:pt x="643647" y="448082"/>
                  <a:pt x="643647" y="448082"/>
                  <a:pt x="658686" y="440551"/>
                </a:cubicBezTo>
                <a:cubicBezTo>
                  <a:pt x="658686" y="440551"/>
                  <a:pt x="658686" y="440551"/>
                  <a:pt x="654926" y="436786"/>
                </a:cubicBezTo>
                <a:cubicBezTo>
                  <a:pt x="643647" y="429255"/>
                  <a:pt x="733880" y="433020"/>
                  <a:pt x="688764" y="414193"/>
                </a:cubicBezTo>
                <a:cubicBezTo>
                  <a:pt x="662445" y="429255"/>
                  <a:pt x="617328" y="421724"/>
                  <a:pt x="598530" y="436786"/>
                </a:cubicBezTo>
                <a:cubicBezTo>
                  <a:pt x="598530" y="436786"/>
                  <a:pt x="598530" y="436786"/>
                  <a:pt x="560932" y="440551"/>
                </a:cubicBezTo>
                <a:cubicBezTo>
                  <a:pt x="606049" y="421724"/>
                  <a:pt x="692523" y="414193"/>
                  <a:pt x="692523" y="376539"/>
                </a:cubicBezTo>
                <a:cubicBezTo>
                  <a:pt x="707562" y="369009"/>
                  <a:pt x="715082" y="361478"/>
                  <a:pt x="718841" y="350182"/>
                </a:cubicBezTo>
                <a:cubicBezTo>
                  <a:pt x="722601" y="353947"/>
                  <a:pt x="722601" y="350182"/>
                  <a:pt x="726361" y="350182"/>
                </a:cubicBezTo>
                <a:cubicBezTo>
                  <a:pt x="726361" y="350182"/>
                  <a:pt x="726361" y="350182"/>
                  <a:pt x="726361" y="338886"/>
                </a:cubicBezTo>
                <a:cubicBezTo>
                  <a:pt x="748919" y="331355"/>
                  <a:pt x="760199" y="316293"/>
                  <a:pt x="763958" y="301232"/>
                </a:cubicBezTo>
                <a:cubicBezTo>
                  <a:pt x="801556" y="278639"/>
                  <a:pt x="778997" y="225924"/>
                  <a:pt x="872991" y="229689"/>
                </a:cubicBezTo>
                <a:cubicBezTo>
                  <a:pt x="903069" y="199566"/>
                  <a:pt x="918108" y="169443"/>
                  <a:pt x="970744" y="143085"/>
                </a:cubicBezTo>
                <a:cubicBezTo>
                  <a:pt x="974504" y="146851"/>
                  <a:pt x="985783" y="143085"/>
                  <a:pt x="993302" y="146851"/>
                </a:cubicBezTo>
                <a:cubicBezTo>
                  <a:pt x="1023380" y="139320"/>
                  <a:pt x="1045939" y="109197"/>
                  <a:pt x="1087296" y="124258"/>
                </a:cubicBezTo>
                <a:cubicBezTo>
                  <a:pt x="1098575" y="128024"/>
                  <a:pt x="1102335" y="124258"/>
                  <a:pt x="1109854" y="120493"/>
                </a:cubicBezTo>
                <a:cubicBezTo>
                  <a:pt x="1109854" y="120493"/>
                  <a:pt x="1109854" y="120493"/>
                  <a:pt x="1109854" y="112962"/>
                </a:cubicBezTo>
                <a:cubicBezTo>
                  <a:pt x="1113614" y="128024"/>
                  <a:pt x="1154971" y="124258"/>
                  <a:pt x="1173770" y="120493"/>
                </a:cubicBezTo>
                <a:cubicBezTo>
                  <a:pt x="1170010" y="124258"/>
                  <a:pt x="1177530" y="128024"/>
                  <a:pt x="1166250" y="131789"/>
                </a:cubicBezTo>
                <a:cubicBezTo>
                  <a:pt x="1211367" y="139320"/>
                  <a:pt x="1233926" y="161912"/>
                  <a:pt x="1290322" y="154381"/>
                </a:cubicBezTo>
                <a:cubicBezTo>
                  <a:pt x="1290322" y="154381"/>
                  <a:pt x="1290322" y="154381"/>
                  <a:pt x="1286562" y="158147"/>
                </a:cubicBezTo>
                <a:cubicBezTo>
                  <a:pt x="1297841" y="158147"/>
                  <a:pt x="1301601" y="165678"/>
                  <a:pt x="1316640" y="161912"/>
                </a:cubicBezTo>
                <a:cubicBezTo>
                  <a:pt x="1350478" y="143085"/>
                  <a:pt x="1339198" y="109197"/>
                  <a:pt x="1399354" y="101666"/>
                </a:cubicBezTo>
                <a:cubicBezTo>
                  <a:pt x="1399354" y="94135"/>
                  <a:pt x="1406874" y="79073"/>
                  <a:pt x="1380555" y="82839"/>
                </a:cubicBezTo>
                <a:cubicBezTo>
                  <a:pt x="1376796" y="82839"/>
                  <a:pt x="1369276" y="86604"/>
                  <a:pt x="1369276" y="90370"/>
                </a:cubicBezTo>
                <a:cubicBezTo>
                  <a:pt x="1369276" y="86604"/>
                  <a:pt x="1369276" y="86604"/>
                  <a:pt x="1369276" y="86604"/>
                </a:cubicBezTo>
                <a:cubicBezTo>
                  <a:pt x="1339198" y="79073"/>
                  <a:pt x="1309120" y="79073"/>
                  <a:pt x="1275283" y="86604"/>
                </a:cubicBezTo>
                <a:cubicBezTo>
                  <a:pt x="1275283" y="86604"/>
                  <a:pt x="1275283" y="86604"/>
                  <a:pt x="1252724" y="97900"/>
                </a:cubicBezTo>
                <a:cubicBezTo>
                  <a:pt x="1248965" y="86604"/>
                  <a:pt x="1301601" y="86604"/>
                  <a:pt x="1282802" y="71543"/>
                </a:cubicBezTo>
                <a:cubicBezTo>
                  <a:pt x="1282802" y="71543"/>
                  <a:pt x="1282802" y="71543"/>
                  <a:pt x="1309120" y="67777"/>
                </a:cubicBezTo>
                <a:cubicBezTo>
                  <a:pt x="1327919" y="79073"/>
                  <a:pt x="1373036" y="79073"/>
                  <a:pt x="1399354" y="82839"/>
                </a:cubicBezTo>
                <a:cubicBezTo>
                  <a:pt x="1425672" y="82839"/>
                  <a:pt x="1433192" y="60247"/>
                  <a:pt x="1455750" y="56481"/>
                </a:cubicBezTo>
                <a:cubicBezTo>
                  <a:pt x="1455750" y="52716"/>
                  <a:pt x="1448231" y="52716"/>
                  <a:pt x="1440711" y="52716"/>
                </a:cubicBezTo>
                <a:cubicBezTo>
                  <a:pt x="1444471" y="33889"/>
                  <a:pt x="1485828" y="33889"/>
                  <a:pt x="1508387" y="22593"/>
                </a:cubicBezTo>
                <a:cubicBezTo>
                  <a:pt x="1497107" y="18827"/>
                  <a:pt x="1485828" y="15062"/>
                  <a:pt x="1474549" y="18827"/>
                </a:cubicBezTo>
                <a:cubicBezTo>
                  <a:pt x="1512146" y="7531"/>
                  <a:pt x="1557263" y="18827"/>
                  <a:pt x="1594861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                   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sz="2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             </a:t>
            </a:r>
            <a:r>
              <a:rPr lang="zh-CN" altLang="en-US" sz="2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学以致用</a:t>
            </a:r>
            <a:r>
              <a:rPr lang="en-US" altLang="zh-CN" sz="2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——</a:t>
            </a:r>
            <a:r>
              <a:rPr lang="zh-CN" altLang="en-US" sz="2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请你来当小老师</a:t>
            </a:r>
          </a:p>
          <a:p>
            <a:endParaRPr lang="en-US" altLang="zh-CN" sz="1800" b="1" dirty="0">
              <a:solidFill>
                <a:srgbClr val="C00000"/>
              </a:solidFill>
              <a:latin typeface="汉仪雁翎体简" panose="02010609000101010101" pitchFamily="49" charset="-122"/>
              <a:ea typeface="汉仪雁翎体简" panose="02010609000101010101" pitchFamily="49" charset="-122"/>
            </a:endParaRPr>
          </a:p>
          <a:p>
            <a:endParaRPr lang="zh-CN" altLang="en-US" sz="2800" b="1" dirty="0">
              <a:solidFill>
                <a:srgbClr val="C00000"/>
              </a:solidFill>
              <a:latin typeface="汉仪雁翎体简" panose="02010609000101010101" pitchFamily="49" charset="-122"/>
              <a:ea typeface="汉仪雁翎体简" panose="02010609000101010101" pitchFamily="49" charset="-12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70D2A37A-8E2D-CA9A-BD67-EBFC083BD5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419" y="1487677"/>
            <a:ext cx="9521371" cy="4824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0923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任意多边形: 形状 67">
            <a:extLst>
              <a:ext uri="{FF2B5EF4-FFF2-40B4-BE49-F238E27FC236}">
                <a16:creationId xmlns:a16="http://schemas.microsoft.com/office/drawing/2014/main" id="{847D2AC0-FEB2-49C9-9E45-286DCED32B08}"/>
              </a:ext>
            </a:extLst>
          </p:cNvPr>
          <p:cNvSpPr/>
          <p:nvPr/>
        </p:nvSpPr>
        <p:spPr>
          <a:xfrm>
            <a:off x="2209800" y="1529017"/>
            <a:ext cx="8196942" cy="3630549"/>
          </a:xfrm>
          <a:custGeom>
            <a:avLst/>
            <a:gdLst>
              <a:gd name="connsiteX0" fmla="*/ 6003471 w 8196942"/>
              <a:gd name="connsiteY0" fmla="*/ 0 h 3630549"/>
              <a:gd name="connsiteX1" fmla="*/ 8196942 w 8196942"/>
              <a:gd name="connsiteY1" fmla="*/ 0 h 3630549"/>
              <a:gd name="connsiteX2" fmla="*/ 8196942 w 8196942"/>
              <a:gd name="connsiteY2" fmla="*/ 560778 h 3630549"/>
              <a:gd name="connsiteX3" fmla="*/ 8196942 w 8196942"/>
              <a:gd name="connsiteY3" fmla="*/ 816429 h 3630549"/>
              <a:gd name="connsiteX4" fmla="*/ 8196942 w 8196942"/>
              <a:gd name="connsiteY4" fmla="*/ 3630549 h 3630549"/>
              <a:gd name="connsiteX5" fmla="*/ 0 w 8196942"/>
              <a:gd name="connsiteY5" fmla="*/ 3630549 h 3630549"/>
              <a:gd name="connsiteX6" fmla="*/ 0 w 8196942"/>
              <a:gd name="connsiteY6" fmla="*/ 560778 h 3630549"/>
              <a:gd name="connsiteX7" fmla="*/ 6003471 w 8196942"/>
              <a:gd name="connsiteY7" fmla="*/ 560778 h 3630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96942" h="3630549">
                <a:moveTo>
                  <a:pt x="6003471" y="0"/>
                </a:moveTo>
                <a:lnTo>
                  <a:pt x="8196942" y="0"/>
                </a:lnTo>
                <a:lnTo>
                  <a:pt x="8196942" y="560778"/>
                </a:lnTo>
                <a:lnTo>
                  <a:pt x="8196942" y="816429"/>
                </a:lnTo>
                <a:lnTo>
                  <a:pt x="8196942" y="3630549"/>
                </a:lnTo>
                <a:lnTo>
                  <a:pt x="0" y="3630549"/>
                </a:lnTo>
                <a:lnTo>
                  <a:pt x="0" y="560778"/>
                </a:lnTo>
                <a:lnTo>
                  <a:pt x="6003471" y="560778"/>
                </a:lnTo>
                <a:close/>
              </a:path>
            </a:pathLst>
          </a:custGeom>
          <a:solidFill>
            <a:srgbClr val="AA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AA000B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7" name="任意多边形: 形状 66">
            <a:extLst>
              <a:ext uri="{FF2B5EF4-FFF2-40B4-BE49-F238E27FC236}">
                <a16:creationId xmlns:a16="http://schemas.microsoft.com/office/drawing/2014/main" id="{9B6E30B8-7076-44B7-B5C1-7AA385591766}"/>
              </a:ext>
            </a:extLst>
          </p:cNvPr>
          <p:cNvSpPr/>
          <p:nvPr/>
        </p:nvSpPr>
        <p:spPr>
          <a:xfrm>
            <a:off x="1997528" y="1333336"/>
            <a:ext cx="8196942" cy="3630549"/>
          </a:xfrm>
          <a:custGeom>
            <a:avLst/>
            <a:gdLst>
              <a:gd name="connsiteX0" fmla="*/ 6003471 w 8196942"/>
              <a:gd name="connsiteY0" fmla="*/ 0 h 3630549"/>
              <a:gd name="connsiteX1" fmla="*/ 8196942 w 8196942"/>
              <a:gd name="connsiteY1" fmla="*/ 0 h 3630549"/>
              <a:gd name="connsiteX2" fmla="*/ 8196942 w 8196942"/>
              <a:gd name="connsiteY2" fmla="*/ 560778 h 3630549"/>
              <a:gd name="connsiteX3" fmla="*/ 8196942 w 8196942"/>
              <a:gd name="connsiteY3" fmla="*/ 816429 h 3630549"/>
              <a:gd name="connsiteX4" fmla="*/ 8196942 w 8196942"/>
              <a:gd name="connsiteY4" fmla="*/ 3630549 h 3630549"/>
              <a:gd name="connsiteX5" fmla="*/ 0 w 8196942"/>
              <a:gd name="connsiteY5" fmla="*/ 3630549 h 3630549"/>
              <a:gd name="connsiteX6" fmla="*/ 0 w 8196942"/>
              <a:gd name="connsiteY6" fmla="*/ 560778 h 3630549"/>
              <a:gd name="connsiteX7" fmla="*/ 6003471 w 8196942"/>
              <a:gd name="connsiteY7" fmla="*/ 560778 h 3630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96942" h="3630549">
                <a:moveTo>
                  <a:pt x="6003471" y="0"/>
                </a:moveTo>
                <a:lnTo>
                  <a:pt x="8196942" y="0"/>
                </a:lnTo>
                <a:lnTo>
                  <a:pt x="8196942" y="560778"/>
                </a:lnTo>
                <a:lnTo>
                  <a:pt x="8196942" y="816429"/>
                </a:lnTo>
                <a:lnTo>
                  <a:pt x="8196942" y="3630549"/>
                </a:lnTo>
                <a:lnTo>
                  <a:pt x="0" y="3630549"/>
                </a:lnTo>
                <a:lnTo>
                  <a:pt x="0" y="560778"/>
                </a:lnTo>
                <a:lnTo>
                  <a:pt x="6003471" y="560778"/>
                </a:lnTo>
                <a:close/>
              </a:path>
            </a:pathLst>
          </a:custGeom>
          <a:solidFill>
            <a:srgbClr val="AA000B"/>
          </a:solidFill>
          <a:ln>
            <a:noFill/>
          </a:ln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AA000B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pic>
        <p:nvPicPr>
          <p:cNvPr id="70" name="图片 69">
            <a:extLst>
              <a:ext uri="{FF2B5EF4-FFF2-40B4-BE49-F238E27FC236}">
                <a16:creationId xmlns:a16="http://schemas.microsoft.com/office/drawing/2014/main" id="{C31ED9EA-3761-4E1E-AFE7-0FA870ACF73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257" b="48500"/>
          <a:stretch/>
        </p:blipFill>
        <p:spPr>
          <a:xfrm rot="1089086">
            <a:off x="-408753" y="839429"/>
            <a:ext cx="6064704" cy="2537728"/>
          </a:xfrm>
          <a:prstGeom prst="rect">
            <a:avLst/>
          </a:prstGeom>
          <a:effectLst>
            <a:outerShdw blurRad="241300" dist="25400" dir="2700000" algn="tl" rotWithShape="0">
              <a:prstClr val="black">
                <a:alpha val="30000"/>
              </a:prstClr>
            </a:outerShdw>
          </a:effectLst>
        </p:spPr>
      </p:pic>
      <p:sp>
        <p:nvSpPr>
          <p:cNvPr id="71" name="文本框 70">
            <a:extLst>
              <a:ext uri="{FF2B5EF4-FFF2-40B4-BE49-F238E27FC236}">
                <a16:creationId xmlns:a16="http://schemas.microsoft.com/office/drawing/2014/main" id="{FD0996DA-9824-47C9-91F5-F67B1D695A44}"/>
              </a:ext>
            </a:extLst>
          </p:cNvPr>
          <p:cNvSpPr txBox="1"/>
          <p:nvPr/>
        </p:nvSpPr>
        <p:spPr>
          <a:xfrm>
            <a:off x="3289628" y="2499169"/>
            <a:ext cx="826219" cy="1862048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perspectiveLeft">
                <a:rot lat="0" lon="600000" rev="0"/>
              </a:camera>
              <a:lightRig rig="threePt" dir="t"/>
            </a:scene3d>
            <a:sp3d extrusionH="57150" contourW="12700" prstMaterial="matte">
              <a:bevelT w="38100" h="38100"/>
              <a:contourClr>
                <a:srgbClr val="FEE979"/>
              </a:contourClr>
            </a:sp3d>
          </a:bodyPr>
          <a:lstStyle>
            <a:defPPr>
              <a:defRPr lang="zh-CN"/>
            </a:defPPr>
            <a:lvl1pPr algn="dist">
              <a:defRPr sz="8800" b="1">
                <a:solidFill>
                  <a:srgbClr val="FEE979"/>
                </a:solidFill>
                <a:effectLst>
                  <a:outerShdw blurRad="165100" dist="203200" dir="1800000" sx="101000" sy="101000" algn="ctr" rotWithShape="0">
                    <a:srgbClr val="000000">
                      <a:alpha val="52000"/>
                    </a:srgbClr>
                  </a:outerShdw>
                </a:effectLst>
                <a:latin typeface="汉仪尚巍手书W" panose="00020600040101010101" pitchFamily="18" charset="-122"/>
                <a:ea typeface="汉仪尚巍手书W" panose="00020600040101010101" pitchFamily="18" charset="-122"/>
              </a:defRPr>
            </a:lvl1pPr>
          </a:lstStyle>
          <a:p>
            <a:pPr marL="0" marR="0" lvl="0" indent="0" algn="di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500" b="1" i="0" u="none" strike="noStrike" kern="1200" cap="none" spc="0" normalizeH="0" baseline="0" noProof="0" dirty="0">
                <a:ln>
                  <a:noFill/>
                </a:ln>
                <a:solidFill>
                  <a:srgbClr val="FEE979"/>
                </a:solidFill>
                <a:effectLst>
                  <a:outerShdw blurRad="165100" dist="203200" dir="1800000" sx="101000" sy="101000" algn="ctr" rotWithShape="0">
                    <a:srgbClr val="000000">
                      <a:alpha val="52000"/>
                    </a:srgbClr>
                  </a:outerShdw>
                </a:effectLst>
                <a:uLnTx/>
                <a:uFillTx/>
                <a:ea typeface="汉仪尚巍手书W" panose="00020600040101010101" pitchFamily="18" charset="-122"/>
                <a:cs typeface="+mn-cs"/>
              </a:rPr>
              <a:t>贰</a:t>
            </a:r>
          </a:p>
        </p:txBody>
      </p:sp>
      <p:cxnSp>
        <p:nvCxnSpPr>
          <p:cNvPr id="76" name="直接连接符 75">
            <a:extLst>
              <a:ext uri="{FF2B5EF4-FFF2-40B4-BE49-F238E27FC236}">
                <a16:creationId xmlns:a16="http://schemas.microsoft.com/office/drawing/2014/main" id="{6468E4D8-2016-4E32-8329-F5F1242A911A}"/>
              </a:ext>
            </a:extLst>
          </p:cNvPr>
          <p:cNvCxnSpPr>
            <a:cxnSpLocks/>
          </p:cNvCxnSpPr>
          <p:nvPr/>
        </p:nvCxnSpPr>
        <p:spPr>
          <a:xfrm>
            <a:off x="5121317" y="3201096"/>
            <a:ext cx="2679658" cy="0"/>
          </a:xfrm>
          <a:prstGeom prst="line">
            <a:avLst/>
          </a:prstGeom>
          <a:ln>
            <a:solidFill>
              <a:srgbClr val="FEE9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文本框 77">
            <a:extLst>
              <a:ext uri="{FF2B5EF4-FFF2-40B4-BE49-F238E27FC236}">
                <a16:creationId xmlns:a16="http://schemas.microsoft.com/office/drawing/2014/main" id="{396F053D-E7D2-403D-87E7-847A6DCF56C6}"/>
              </a:ext>
            </a:extLst>
          </p:cNvPr>
          <p:cNvSpPr txBox="1"/>
          <p:nvPr/>
        </p:nvSpPr>
        <p:spPr>
          <a:xfrm>
            <a:off x="8224298" y="1398792"/>
            <a:ext cx="1844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FEE979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经典粗宋简" panose="02010609000101010101" pitchFamily="49" charset="-122"/>
              </a:rPr>
              <a:t>PART TWO</a:t>
            </a:r>
          </a:p>
        </p:txBody>
      </p:sp>
      <p:cxnSp>
        <p:nvCxnSpPr>
          <p:cNvPr id="80" name="直接连接符 79">
            <a:extLst>
              <a:ext uri="{FF2B5EF4-FFF2-40B4-BE49-F238E27FC236}">
                <a16:creationId xmlns:a16="http://schemas.microsoft.com/office/drawing/2014/main" id="{53F097C5-5600-48F4-959F-12B31798D024}"/>
              </a:ext>
            </a:extLst>
          </p:cNvPr>
          <p:cNvCxnSpPr>
            <a:cxnSpLocks/>
            <a:stCxn id="67" idx="7"/>
            <a:endCxn id="67" idx="2"/>
          </p:cNvCxnSpPr>
          <p:nvPr/>
        </p:nvCxnSpPr>
        <p:spPr>
          <a:xfrm>
            <a:off x="8000999" y="1894114"/>
            <a:ext cx="2193471" cy="0"/>
          </a:xfrm>
          <a:prstGeom prst="line">
            <a:avLst/>
          </a:prstGeom>
          <a:ln w="9525">
            <a:solidFill>
              <a:srgbClr val="86000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01698920-ACA6-FF97-CB83-A48A3385FAB9}"/>
              </a:ext>
            </a:extLst>
          </p:cNvPr>
          <p:cNvSpPr txBox="1"/>
          <p:nvPr/>
        </p:nvSpPr>
        <p:spPr>
          <a:xfrm>
            <a:off x="5072431" y="2748500"/>
            <a:ext cx="33770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EE979"/>
                </a:solidFill>
                <a:effectLst/>
                <a:uLnTx/>
                <a:uFillTx/>
                <a:latin typeface="经典粗宋简" panose="02010609000101010101" pitchFamily="49" charset="-122"/>
                <a:ea typeface="经典粗宋简" panose="02010609000101010101" pitchFamily="49" charset="-122"/>
                <a:cs typeface="经典粗宋简" panose="02010609000101010101" pitchFamily="49" charset="-122"/>
              </a:rPr>
              <a:t>跟着郑洞国一起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C005258-27BB-0F65-DBB9-9699DED62EEA}"/>
              </a:ext>
            </a:extLst>
          </p:cNvPr>
          <p:cNvSpPr txBox="1"/>
          <p:nvPr/>
        </p:nvSpPr>
        <p:spPr>
          <a:xfrm>
            <a:off x="4953042" y="3160949"/>
            <a:ext cx="44042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FEE979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经典粗宋简" panose="02010609000101010101" pitchFamily="49" charset="-122"/>
              </a:rPr>
              <a:t>再踏抗战征程</a:t>
            </a:r>
          </a:p>
        </p:txBody>
      </p:sp>
    </p:spTree>
    <p:extLst>
      <p:ext uri="{BB962C8B-B14F-4D97-AF65-F5344CB8AC3E}">
        <p14:creationId xmlns:p14="http://schemas.microsoft.com/office/powerpoint/2010/main" val="2857383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0">
        <p:blinds dir="vert"/>
      </p:transition>
    </mc:Choice>
    <mc:Fallback xmlns="">
      <p:transition spd="slow" advClick="0" advTm="0">
        <p:blinds dir="vert"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3914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4.xml><?xml version="1.0" encoding="utf-8"?>
<a:theme xmlns:a="http://schemas.openxmlformats.org/drawingml/2006/main" name="3_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5.xml><?xml version="1.0" encoding="utf-8"?>
<a:theme xmlns:a="http://schemas.openxmlformats.org/drawingml/2006/main" name="2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6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47</TotalTime>
  <Words>2400</Words>
  <Application>Microsoft Office PowerPoint</Application>
  <PresentationFormat>宽屏</PresentationFormat>
  <Paragraphs>179</Paragraphs>
  <Slides>19</Slides>
  <Notes>12</Notes>
  <HiddenSlides>0</HiddenSlides>
  <MMClips>1</MMClips>
  <ScaleCrop>false</ScaleCrop>
  <HeadingPairs>
    <vt:vector size="8" baseType="variant">
      <vt:variant>
        <vt:lpstr>已用的字体</vt:lpstr>
      </vt:variant>
      <vt:variant>
        <vt:i4>19</vt:i4>
      </vt:variant>
      <vt:variant>
        <vt:lpstr>主题</vt:lpstr>
      </vt:variant>
      <vt:variant>
        <vt:i4>5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44" baseType="lpstr">
      <vt:lpstr>PingFang SC</vt:lpstr>
      <vt:lpstr>等线</vt:lpstr>
      <vt:lpstr>等线 Light</vt:lpstr>
      <vt:lpstr>仿宋</vt:lpstr>
      <vt:lpstr>汉仪尚巍手书W</vt:lpstr>
      <vt:lpstr>汉仪雁翎体简</vt:lpstr>
      <vt:lpstr>汉仪中宋简</vt:lpstr>
      <vt:lpstr>黑体</vt:lpstr>
      <vt:lpstr>经典粗宋简</vt:lpstr>
      <vt:lpstr>宋体</vt:lpstr>
      <vt:lpstr>微软雅黑 Light</vt:lpstr>
      <vt:lpstr>Arial</vt:lpstr>
      <vt:lpstr>Calibri</vt:lpstr>
      <vt:lpstr>Consolas</vt:lpstr>
      <vt:lpstr>Segoe UI</vt:lpstr>
      <vt:lpstr>Segoe UI Light</vt:lpstr>
      <vt:lpstr>Segoe UI Semibold</vt:lpstr>
      <vt:lpstr>Segoe UI Semilight</vt:lpstr>
      <vt:lpstr>Wingdings</vt:lpstr>
      <vt:lpstr>Office 主题​​</vt:lpstr>
      <vt:lpstr>1_Office 主题​​</vt:lpstr>
      <vt:lpstr>1_5-50203_Microsoft_Ignite_Template</vt:lpstr>
      <vt:lpstr>3_5-50203_Microsoft_Ignite_Template</vt:lpstr>
      <vt:lpstr>2_LIGHT COLOR TEMPLATE</vt:lpstr>
      <vt:lpstr>think-cell Slide</vt:lpstr>
      <vt:lpstr>PowerPoint 演示文稿</vt:lpstr>
      <vt:lpstr>PowerPoint 演示文稿</vt:lpstr>
      <vt:lpstr>PowerPoint 演示文稿</vt:lpstr>
      <vt:lpstr>第六单元 中华民族的抗日战争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窈 冯</dc:creator>
  <cp:lastModifiedBy>窈 冯</cp:lastModifiedBy>
  <cp:revision>40</cp:revision>
  <dcterms:created xsi:type="dcterms:W3CDTF">2025-03-03T17:11:01Z</dcterms:created>
  <dcterms:modified xsi:type="dcterms:W3CDTF">2025-03-13T02:43:22Z</dcterms:modified>
</cp:coreProperties>
</file>